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charts/chartEx1.xml" ContentType="application/vnd.ms-office.chartex+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notesSlides/notesSlide6.xml" ContentType="application/vnd.openxmlformats-officedocument.presentationml.notesSlid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7.xml" ContentType="application/vnd.openxmlformats-officedocument.presentationml.notesSlide+xml"/>
  <Override PartName="/ppt/charts/chartEx2.xml" ContentType="application/vnd.ms-office.chartex+xml"/>
  <Override PartName="/ppt/charts/style10.xml" ContentType="application/vnd.ms-office.chartstyle+xml"/>
  <Override PartName="/ppt/charts/colors10.xml" ContentType="application/vnd.ms-office.chartcolorstyle+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2.xml" ContentType="application/vnd.openxmlformats-officedocument.drawingml.chartshapes+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4.xml" ContentType="application/vnd.openxmlformats-officedocument.themeOverride+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5.xml" ContentType="application/vnd.openxmlformats-officedocument.themeOverride+xml"/>
  <Override PartName="/ppt/notesSlides/notesSlide8.xml" ContentType="application/vnd.openxmlformats-officedocument.presentationml.notesSlide+xml"/>
  <Override PartName="/ppt/charts/chartEx3.xml" ContentType="application/vnd.ms-office.chartex+xml"/>
  <Override PartName="/ppt/charts/style14.xml" ContentType="application/vnd.ms-office.chartstyle+xml"/>
  <Override PartName="/ppt/charts/colors14.xml" ContentType="application/vnd.ms-office.chartcolorstyle+xml"/>
  <Override PartName="/ppt/theme/themeOverride6.xml" ContentType="application/vnd.openxmlformats-officedocument.themeOverride+xml"/>
  <Override PartName="/ppt/charts/chartEx4.xml" ContentType="application/vnd.ms-office.chartex+xml"/>
  <Override PartName="/ppt/charts/style15.xml" ContentType="application/vnd.ms-office.chartstyle+xml"/>
  <Override PartName="/ppt/charts/colors15.xml" ContentType="application/vnd.ms-office.chartcolorstyle+xml"/>
  <Override PartName="/ppt/theme/themeOverride7.xml" ContentType="application/vnd.openxmlformats-officedocument.themeOverride+xml"/>
  <Override PartName="/ppt/charts/chart12.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3.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4.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5.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16.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17.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8.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13.xml" ContentType="application/vnd.openxmlformats-officedocument.presentationml.notesSlide+xml"/>
  <Override PartName="/ppt/charts/chart19.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0.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1.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22.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3.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4.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5.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16.xml" ContentType="application/vnd.openxmlformats-officedocument.presentationml.notesSlide+xml"/>
  <Override PartName="/ppt/charts/chart26.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27.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4"/>
  </p:sldMasterIdLst>
  <p:notesMasterIdLst>
    <p:notesMasterId r:id="rId67"/>
  </p:notesMasterIdLst>
  <p:handoutMasterIdLst>
    <p:handoutMasterId r:id="rId68"/>
  </p:handoutMasterIdLst>
  <p:sldIdLst>
    <p:sldId id="2221" r:id="rId5"/>
    <p:sldId id="262" r:id="rId6"/>
    <p:sldId id="258" r:id="rId7"/>
    <p:sldId id="2203" r:id="rId8"/>
    <p:sldId id="2201" r:id="rId9"/>
    <p:sldId id="2202" r:id="rId10"/>
    <p:sldId id="2159" r:id="rId11"/>
    <p:sldId id="2262" r:id="rId12"/>
    <p:sldId id="2278" r:id="rId13"/>
    <p:sldId id="2215" r:id="rId14"/>
    <p:sldId id="2224" r:id="rId15"/>
    <p:sldId id="2212" r:id="rId16"/>
    <p:sldId id="2210" r:id="rId17"/>
    <p:sldId id="309" r:id="rId18"/>
    <p:sldId id="2239" r:id="rId19"/>
    <p:sldId id="2255" r:id="rId20"/>
    <p:sldId id="2200" r:id="rId21"/>
    <p:sldId id="299" r:id="rId22"/>
    <p:sldId id="2169" r:id="rId23"/>
    <p:sldId id="297" r:id="rId24"/>
    <p:sldId id="277" r:id="rId25"/>
    <p:sldId id="2242" r:id="rId26"/>
    <p:sldId id="2233" r:id="rId27"/>
    <p:sldId id="266" r:id="rId28"/>
    <p:sldId id="300" r:id="rId29"/>
    <p:sldId id="306" r:id="rId30"/>
    <p:sldId id="2272" r:id="rId31"/>
    <p:sldId id="2257" r:id="rId32"/>
    <p:sldId id="2276" r:id="rId33"/>
    <p:sldId id="2252" r:id="rId34"/>
    <p:sldId id="2251" r:id="rId35"/>
    <p:sldId id="257" r:id="rId36"/>
    <p:sldId id="2229" r:id="rId37"/>
    <p:sldId id="2213" r:id="rId38"/>
    <p:sldId id="2261" r:id="rId39"/>
    <p:sldId id="2171" r:id="rId40"/>
    <p:sldId id="2172" r:id="rId41"/>
    <p:sldId id="2209" r:id="rId42"/>
    <p:sldId id="2260" r:id="rId43"/>
    <p:sldId id="2263" r:id="rId44"/>
    <p:sldId id="2280" r:id="rId45"/>
    <p:sldId id="2174" r:id="rId46"/>
    <p:sldId id="2230" r:id="rId47"/>
    <p:sldId id="2253" r:id="rId48"/>
    <p:sldId id="2254" r:id="rId49"/>
    <p:sldId id="2250" r:id="rId50"/>
    <p:sldId id="2267" r:id="rId51"/>
    <p:sldId id="2279" r:id="rId52"/>
    <p:sldId id="2259" r:id="rId53"/>
    <p:sldId id="273" r:id="rId54"/>
    <p:sldId id="2222" r:id="rId55"/>
    <p:sldId id="268" r:id="rId56"/>
    <p:sldId id="2238" r:id="rId57"/>
    <p:sldId id="265" r:id="rId58"/>
    <p:sldId id="263" r:id="rId59"/>
    <p:sldId id="264" r:id="rId60"/>
    <p:sldId id="2274" r:id="rId61"/>
    <p:sldId id="286" r:id="rId62"/>
    <p:sldId id="287" r:id="rId63"/>
    <p:sldId id="2240" r:id="rId64"/>
    <p:sldId id="2277" r:id="rId65"/>
    <p:sldId id="2181" r:id="rId66"/>
  </p:sldIdLst>
  <p:sldSz cx="9144000" cy="6858000" type="screen4x3"/>
  <p:notesSz cx="6858000" cy="9144000"/>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C7E890F-B3EE-BF58-8DE3-0E54C4BCDD14}" name="Carlo Abi-Raad" initials="CA" userId="S::cabir097@uottawa.ca::08fc5628-31e7-49b7-aa1d-2f25a1b05d33" providerId="AD"/>
  <p188:author id="{8CC7E41F-4CED-CF8D-9EC8-7C63DFC2F6A5}" name="Joey Ray Zahr" initials="JZ" userId="S::jzahr092@uottawa.ca::9150008f-b0d5-4c48-a0fe-8b032f63645f" providerId="AD"/>
  <p188:author id="{7E605533-EF5E-2827-EB12-3DCA35CD48E6}" name="Armaan Kumar" initials="AK" userId="S::akuma045@uottawa.ca::a351e95c-5450-4e5f-a2d5-0f74c8f92915" providerId="AD"/>
  <p188:author id="{45F9695A-C739-1FBC-568A-799A0B612E55}" name="Thomas Giroux" initials="TG" userId="S::tgiro082@uottawa.ca::a5e6b51b-05f9-4411-bff2-2d0750f3d155" providerId="AD"/>
  <p188:author id="{6FB501F1-EFE8-8565-2529-2557EEB13BF2}" name="Corey Yuan-Zhen Cao" initials="CC" userId="S::ccao051@uottawa.ca::894c8f18-9551-4354-8c83-83a52876c78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avid MacNeill" initials="DM" lastIdx="5" clrIdx="0">
    <p:extLst>
      <p:ext uri="{19B8F6BF-5375-455C-9EA6-DF929625EA0E}">
        <p15:presenceInfo xmlns:p15="http://schemas.microsoft.com/office/powerpoint/2012/main" userId="David MacNeil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3459"/>
    <a:srgbClr val="3C5768"/>
    <a:srgbClr val="FBF7ED"/>
    <a:srgbClr val="D8FBE5"/>
    <a:srgbClr val="FDF7ED"/>
    <a:srgbClr val="102C23"/>
    <a:srgbClr val="008864"/>
    <a:srgbClr val="000000"/>
    <a:srgbClr val="FFD3D3"/>
    <a:srgbClr val="3F68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880C7B-BEDA-4ECB-BB9C-300DDF054D79}" v="3237" dt="2025-04-02T04:34:51.548"/>
    <p1510:client id="{168FE2C6-A561-4C00-8270-E1D83101A49A}" v="9536" dt="2025-04-02T13:48:23.488"/>
    <p1510:client id="{24B91A36-9EEC-40D9-2E9C-7FA7BACB41F2}" v="2506" dt="2025-04-02T17:14:31.323"/>
    <p1510:client id="{50A082DE-DB43-AB88-9A36-1006C200B193}" v="605" dt="2025-04-02T17:27:02.844"/>
    <p1510:client id="{5B7C161C-7E2A-B0C0-E286-6036AA319CC5}" v="53" dt="2025-04-02T17:33:38.590"/>
    <p1510:client id="{5C20EACE-63ED-4F04-8D93-67A70AD2AE1B}" v="1308" dt="2025-04-02T05:09:30.374"/>
    <p1510:client id="{74470E2C-8369-7945-865F-A43BB419584A}" v="11949" dt="2025-04-02T17:03:07.603"/>
    <p1510:client id="{91DF428D-10D1-344C-A879-47C8A34A3BDD}" v="4613" dt="2025-04-02T18:29:47.871"/>
    <p1510:client id="{AA3A3E8E-B46F-6F8C-FF89-112C301FDF03}" v="141" dt="2025-04-02T17:57:23.391"/>
    <p1510:client id="{BDE088BF-494E-8479-7AF3-5CE6C6D375A1}" v="11" dt="2025-04-02T17:34:05.555"/>
    <p1510:client id="{EBB572A9-1747-4998-863E-E40C21D844B2}" v="139" dt="2025-04-02T19:15:32.079"/>
    <p1510:client id="{FF1E03BA-828D-744E-BD88-2072860D0321}" v="2570" dt="2025-04-02T17:22:24.5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handoutMaster" Target="handoutMasters/handoutMaster1.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ags" Target="tags/tag1.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commentAuthors" Target="commentAuthors.xml"/><Relationship Id="rId7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Penney" userId="S::mpenn030@uottawa.ca::4f9b80c6-1a49-4d2e-92c5-79759f092c89" providerId="AD" clId="Web-{F99B9983-8532-E365-9AE3-094B4747D96C}"/>
    <pc:docChg chg="modSld">
      <pc:chgData name="Michael Penney" userId="S::mpenn030@uottawa.ca::4f9b80c6-1a49-4d2e-92c5-79759f092c89" providerId="AD" clId="Web-{F99B9983-8532-E365-9AE3-094B4747D96C}" dt="2025-03-30T19:20:51.660" v="8"/>
      <pc:docMkLst>
        <pc:docMk/>
      </pc:docMkLst>
      <pc:sldChg chg="modSp">
        <pc:chgData name="Michael Penney" userId="S::mpenn030@uottawa.ca::4f9b80c6-1a49-4d2e-92c5-79759f092c89" providerId="AD" clId="Web-{F99B9983-8532-E365-9AE3-094B4747D96C}" dt="2025-03-30T19:10:20.643" v="7" actId="1076"/>
        <pc:sldMkLst>
          <pc:docMk/>
          <pc:sldMk cId="2614155028" sldId="257"/>
        </pc:sldMkLst>
        <pc:spChg chg="mod">
          <ac:chgData name="Michael Penney" userId="S::mpenn030@uottawa.ca::4f9b80c6-1a49-4d2e-92c5-79759f092c89" providerId="AD" clId="Web-{F99B9983-8532-E365-9AE3-094B4747D96C}" dt="2025-03-30T19:10:14.362" v="6" actId="1076"/>
          <ac:spMkLst>
            <pc:docMk/>
            <pc:sldMk cId="2614155028" sldId="257"/>
            <ac:spMk id="5" creationId="{C3F41A0C-102A-7682-0427-B7B7ECFF45B7}"/>
          </ac:spMkLst>
        </pc:spChg>
        <pc:spChg chg="mod">
          <ac:chgData name="Michael Penney" userId="S::mpenn030@uottawa.ca::4f9b80c6-1a49-4d2e-92c5-79759f092c89" providerId="AD" clId="Web-{F99B9983-8532-E365-9AE3-094B4747D96C}" dt="2025-03-30T19:10:20.643" v="7" actId="1076"/>
          <ac:spMkLst>
            <pc:docMk/>
            <pc:sldMk cId="2614155028" sldId="257"/>
            <ac:spMk id="10" creationId="{DDE4AB3E-A90C-BFF8-11D7-37B240102C32}"/>
          </ac:spMkLst>
        </pc:spChg>
        <pc:spChg chg="mod">
          <ac:chgData name="Michael Penney" userId="S::mpenn030@uottawa.ca::4f9b80c6-1a49-4d2e-92c5-79759f092c89" providerId="AD" clId="Web-{F99B9983-8532-E365-9AE3-094B4747D96C}" dt="2025-03-30T19:10:11.237" v="5" actId="1076"/>
          <ac:spMkLst>
            <pc:docMk/>
            <pc:sldMk cId="2614155028" sldId="257"/>
            <ac:spMk id="11" creationId="{8429902E-B6CE-0D63-9051-87DED422F3F0}"/>
          </ac:spMkLst>
        </pc:spChg>
        <pc:spChg chg="mod">
          <ac:chgData name="Michael Penney" userId="S::mpenn030@uottawa.ca::4f9b80c6-1a49-4d2e-92c5-79759f092c89" providerId="AD" clId="Web-{F99B9983-8532-E365-9AE3-094B4747D96C}" dt="2025-03-30T19:10:02.143" v="3" actId="1076"/>
          <ac:spMkLst>
            <pc:docMk/>
            <pc:sldMk cId="2614155028" sldId="257"/>
            <ac:spMk id="12" creationId="{5A10E537-03B2-8D88-316A-6F29440DE4D4}"/>
          </ac:spMkLst>
        </pc:spChg>
        <pc:spChg chg="mod">
          <ac:chgData name="Michael Penney" userId="S::mpenn030@uottawa.ca::4f9b80c6-1a49-4d2e-92c5-79759f092c89" providerId="AD" clId="Web-{F99B9983-8532-E365-9AE3-094B4747D96C}" dt="2025-03-30T19:09:54.830" v="2" actId="1076"/>
          <ac:spMkLst>
            <pc:docMk/>
            <pc:sldMk cId="2614155028" sldId="257"/>
            <ac:spMk id="14" creationId="{7F9DAA14-1F4A-60DE-BBBB-92FF0A6C65A6}"/>
          </ac:spMkLst>
        </pc:spChg>
        <pc:spChg chg="mod">
          <ac:chgData name="Michael Penney" userId="S::mpenn030@uottawa.ca::4f9b80c6-1a49-4d2e-92c5-79759f092c89" providerId="AD" clId="Web-{F99B9983-8532-E365-9AE3-094B4747D96C}" dt="2025-03-30T19:10:07.440" v="4" actId="1076"/>
          <ac:spMkLst>
            <pc:docMk/>
            <pc:sldMk cId="2614155028" sldId="257"/>
            <ac:spMk id="15" creationId="{F365C415-0520-2DAB-47B4-0460BAAC964E}"/>
          </ac:spMkLst>
        </pc:spChg>
      </pc:sldChg>
      <pc:sldChg chg="mod modShow">
        <pc:chgData name="Michael Penney" userId="S::mpenn030@uottawa.ca::4f9b80c6-1a49-4d2e-92c5-79759f092c89" providerId="AD" clId="Web-{F99B9983-8532-E365-9AE3-094B4747D96C}" dt="2025-03-30T19:20:51.660" v="8"/>
        <pc:sldMkLst>
          <pc:docMk/>
          <pc:sldMk cId="229152731" sldId="315"/>
        </pc:sldMkLst>
      </pc:sldChg>
    </pc:docChg>
  </pc:docChgLst>
  <pc:docChgLst>
    <pc:chgData name="Christian Gillam" userId="178737ef-0014-4dd8-b439-bc02dd9433a1" providerId="ADAL" clId="{EBB572A9-1747-4998-863E-E40C21D844B2}"/>
    <pc:docChg chg="undo custSel modSld">
      <pc:chgData name="Christian Gillam" userId="178737ef-0014-4dd8-b439-bc02dd9433a1" providerId="ADAL" clId="{EBB572A9-1747-4998-863E-E40C21D844B2}" dt="2025-04-02T19:15:32.079" v="138" actId="20577"/>
      <pc:docMkLst>
        <pc:docMk/>
      </pc:docMkLst>
      <pc:sldChg chg="modSp mod">
        <pc:chgData name="Christian Gillam" userId="178737ef-0014-4dd8-b439-bc02dd9433a1" providerId="ADAL" clId="{EBB572A9-1747-4998-863E-E40C21D844B2}" dt="2025-04-02T19:15:32.079" v="138" actId="20577"/>
        <pc:sldMkLst>
          <pc:docMk/>
          <pc:sldMk cId="540644153" sldId="2252"/>
        </pc:sldMkLst>
        <pc:spChg chg="mod">
          <ac:chgData name="Christian Gillam" userId="178737ef-0014-4dd8-b439-bc02dd9433a1" providerId="ADAL" clId="{EBB572A9-1747-4998-863E-E40C21D844B2}" dt="2025-04-02T19:15:32.079" v="138" actId="20577"/>
          <ac:spMkLst>
            <pc:docMk/>
            <pc:sldMk cId="540644153" sldId="2252"/>
            <ac:spMk id="68" creationId="{51BF1A7D-743A-D0E6-2387-D67EA51CCD24}"/>
          </ac:spMkLst>
        </pc:spChg>
      </pc:sldChg>
      <pc:sldChg chg="modSp mod">
        <pc:chgData name="Christian Gillam" userId="178737ef-0014-4dd8-b439-bc02dd9433a1" providerId="ADAL" clId="{EBB572A9-1747-4998-863E-E40C21D844B2}" dt="2025-04-02T17:50:52.489" v="101" actId="1076"/>
        <pc:sldMkLst>
          <pc:docMk/>
          <pc:sldMk cId="1608766413" sldId="2280"/>
        </pc:sldMkLst>
        <pc:spChg chg="mod">
          <ac:chgData name="Christian Gillam" userId="178737ef-0014-4dd8-b439-bc02dd9433a1" providerId="ADAL" clId="{EBB572A9-1747-4998-863E-E40C21D844B2}" dt="2025-04-02T17:50:39.911" v="99" actId="1076"/>
          <ac:spMkLst>
            <pc:docMk/>
            <pc:sldMk cId="1608766413" sldId="2280"/>
            <ac:spMk id="10" creationId="{F37AC5D5-32BF-C535-7AE2-52D94CB4F2AC}"/>
          </ac:spMkLst>
        </pc:spChg>
        <pc:spChg chg="mod">
          <ac:chgData name="Christian Gillam" userId="178737ef-0014-4dd8-b439-bc02dd9433a1" providerId="ADAL" clId="{EBB572A9-1747-4998-863E-E40C21D844B2}" dt="2025-04-02T17:50:52.489" v="101" actId="1076"/>
          <ac:spMkLst>
            <pc:docMk/>
            <pc:sldMk cId="1608766413" sldId="2280"/>
            <ac:spMk id="15" creationId="{642896CE-3588-1E33-3A44-86A1839A6F3D}"/>
          </ac:spMkLst>
        </pc:spChg>
        <pc:spChg chg="mod">
          <ac:chgData name="Christian Gillam" userId="178737ef-0014-4dd8-b439-bc02dd9433a1" providerId="ADAL" clId="{EBB572A9-1747-4998-863E-E40C21D844B2}" dt="2025-04-02T17:50:47.953" v="100" actId="1076"/>
          <ac:spMkLst>
            <pc:docMk/>
            <pc:sldMk cId="1608766413" sldId="2280"/>
            <ac:spMk id="16" creationId="{E5F95313-C29A-5E90-5853-71AB000C2400}"/>
          </ac:spMkLst>
        </pc:spChg>
        <pc:spChg chg="mod">
          <ac:chgData name="Christian Gillam" userId="178737ef-0014-4dd8-b439-bc02dd9433a1" providerId="ADAL" clId="{EBB572A9-1747-4998-863E-E40C21D844B2}" dt="2025-04-02T17:46:34.677" v="67" actId="20577"/>
          <ac:spMkLst>
            <pc:docMk/>
            <pc:sldMk cId="1608766413" sldId="2280"/>
            <ac:spMk id="27" creationId="{005E1469-FF6A-C8E8-A707-DDB8D2247547}"/>
          </ac:spMkLst>
        </pc:spChg>
        <pc:spChg chg="mod">
          <ac:chgData name="Christian Gillam" userId="178737ef-0014-4dd8-b439-bc02dd9433a1" providerId="ADAL" clId="{EBB572A9-1747-4998-863E-E40C21D844B2}" dt="2025-04-02T17:46:29.834" v="54"/>
          <ac:spMkLst>
            <pc:docMk/>
            <pc:sldMk cId="1608766413" sldId="2280"/>
            <ac:spMk id="28" creationId="{FA79AFFE-7ECD-0A5A-F689-93AA4942093B}"/>
          </ac:spMkLst>
        </pc:spChg>
        <pc:spChg chg="mod">
          <ac:chgData name="Christian Gillam" userId="178737ef-0014-4dd8-b439-bc02dd9433a1" providerId="ADAL" clId="{EBB572A9-1747-4998-863E-E40C21D844B2}" dt="2025-04-02T17:46:00.169" v="41" actId="20577"/>
          <ac:spMkLst>
            <pc:docMk/>
            <pc:sldMk cId="1608766413" sldId="2280"/>
            <ac:spMk id="35" creationId="{E560CC23-FE03-BD2C-311A-C5274020C605}"/>
          </ac:spMkLst>
        </pc:spChg>
        <pc:spChg chg="mod">
          <ac:chgData name="Christian Gillam" userId="178737ef-0014-4dd8-b439-bc02dd9433a1" providerId="ADAL" clId="{EBB572A9-1747-4998-863E-E40C21D844B2}" dt="2025-04-02T17:45:47.887" v="29"/>
          <ac:spMkLst>
            <pc:docMk/>
            <pc:sldMk cId="1608766413" sldId="2280"/>
            <ac:spMk id="36" creationId="{5B7AD90A-6FF4-8834-7204-9DFCDA331EF3}"/>
          </ac:spMkLst>
        </pc:spChg>
        <pc:spChg chg="mod">
          <ac:chgData name="Christian Gillam" userId="178737ef-0014-4dd8-b439-bc02dd9433a1" providerId="ADAL" clId="{EBB572A9-1747-4998-863E-E40C21D844B2}" dt="2025-04-02T17:47:24.306" v="77" actId="1076"/>
          <ac:spMkLst>
            <pc:docMk/>
            <pc:sldMk cId="1608766413" sldId="2280"/>
            <ac:spMk id="37" creationId="{72E82B11-3CB7-08BE-7C9F-B8DC72E5341C}"/>
          </ac:spMkLst>
        </pc:spChg>
      </pc:sldChg>
    </pc:docChg>
  </pc:docChgLst>
  <pc:docChgLst>
    <pc:chgData name="Joey Ray Zahr" userId="9150008f-b0d5-4c48-a0fe-8b032f63645f" providerId="ADAL" clId="{07880C7B-BEDA-4ECB-BB9C-300DDF054D79}"/>
    <pc:docChg chg="undo redo custSel addSld delSld modSld sldOrd modMainMaster">
      <pc:chgData name="Joey Ray Zahr" userId="9150008f-b0d5-4c48-a0fe-8b032f63645f" providerId="ADAL" clId="{07880C7B-BEDA-4ECB-BB9C-300DDF054D79}" dt="2025-04-02T04:03:00.814" v="5299" actId="478"/>
      <pc:docMkLst>
        <pc:docMk/>
      </pc:docMkLst>
      <pc:sldChg chg="addSp delSp mod">
        <pc:chgData name="Joey Ray Zahr" userId="9150008f-b0d5-4c48-a0fe-8b032f63645f" providerId="ADAL" clId="{07880C7B-BEDA-4ECB-BB9C-300DDF054D79}" dt="2025-03-25T17:33:51.315" v="1033" actId="21"/>
        <pc:sldMkLst>
          <pc:docMk/>
          <pc:sldMk cId="2078426827" sldId="256"/>
        </pc:sldMkLst>
      </pc:sldChg>
      <pc:sldChg chg="addSp modSp mod">
        <pc:chgData name="Joey Ray Zahr" userId="9150008f-b0d5-4c48-a0fe-8b032f63645f" providerId="ADAL" clId="{07880C7B-BEDA-4ECB-BB9C-300DDF054D79}" dt="2025-03-25T17:34:23.742" v="1098" actId="14100"/>
        <pc:sldMkLst>
          <pc:docMk/>
          <pc:sldMk cId="1568165937" sldId="257"/>
        </pc:sldMkLst>
      </pc:sldChg>
      <pc:sldChg chg="modSp mod">
        <pc:chgData name="Joey Ray Zahr" userId="9150008f-b0d5-4c48-a0fe-8b032f63645f" providerId="ADAL" clId="{07880C7B-BEDA-4ECB-BB9C-300DDF054D79}" dt="2025-04-02T02:25:05.181" v="4050" actId="20577"/>
        <pc:sldMkLst>
          <pc:docMk/>
          <pc:sldMk cId="2614155028" sldId="257"/>
        </pc:sldMkLst>
        <pc:graphicFrameChg chg="modGraphic">
          <ac:chgData name="Joey Ray Zahr" userId="9150008f-b0d5-4c48-a0fe-8b032f63645f" providerId="ADAL" clId="{07880C7B-BEDA-4ECB-BB9C-300DDF054D79}" dt="2025-04-02T02:25:05.181" v="4050" actId="20577"/>
          <ac:graphicFrameMkLst>
            <pc:docMk/>
            <pc:sldMk cId="2614155028" sldId="257"/>
            <ac:graphicFrameMk id="13" creationId="{3AE01B04-D30D-0543-8971-49EB375687B8}"/>
          </ac:graphicFrameMkLst>
        </pc:graphicFrameChg>
      </pc:sldChg>
      <pc:sldChg chg="delSp modSp mod">
        <pc:chgData name="Joey Ray Zahr" userId="9150008f-b0d5-4c48-a0fe-8b032f63645f" providerId="ADAL" clId="{07880C7B-BEDA-4ECB-BB9C-300DDF054D79}" dt="2025-04-02T03:53:43.520" v="5297" actId="1076"/>
        <pc:sldMkLst>
          <pc:docMk/>
          <pc:sldMk cId="754574687" sldId="258"/>
        </pc:sldMkLst>
        <pc:picChg chg="mod">
          <ac:chgData name="Joey Ray Zahr" userId="9150008f-b0d5-4c48-a0fe-8b032f63645f" providerId="ADAL" clId="{07880C7B-BEDA-4ECB-BB9C-300DDF054D79}" dt="2025-04-02T03:53:24.351" v="5294" actId="1076"/>
          <ac:picMkLst>
            <pc:docMk/>
            <pc:sldMk cId="754574687" sldId="258"/>
            <ac:picMk id="4" creationId="{A248DF0B-8EC9-A062-6EE6-F5B0DF012347}"/>
          </ac:picMkLst>
        </pc:picChg>
        <pc:picChg chg="mod">
          <ac:chgData name="Joey Ray Zahr" userId="9150008f-b0d5-4c48-a0fe-8b032f63645f" providerId="ADAL" clId="{07880C7B-BEDA-4ECB-BB9C-300DDF054D79}" dt="2025-04-02T03:53:23.328" v="5293" actId="1076"/>
          <ac:picMkLst>
            <pc:docMk/>
            <pc:sldMk cId="754574687" sldId="258"/>
            <ac:picMk id="5" creationId="{6523A857-0BEC-FF0C-E6F0-B9EB948B416A}"/>
          </ac:picMkLst>
        </pc:picChg>
        <pc:picChg chg="del">
          <ac:chgData name="Joey Ray Zahr" userId="9150008f-b0d5-4c48-a0fe-8b032f63645f" providerId="ADAL" clId="{07880C7B-BEDA-4ECB-BB9C-300DDF054D79}" dt="2025-04-02T03:52:55.547" v="5276" actId="478"/>
          <ac:picMkLst>
            <pc:docMk/>
            <pc:sldMk cId="754574687" sldId="258"/>
            <ac:picMk id="10" creationId="{ED52979B-E804-3D8D-4484-C342BD7E578F}"/>
          </ac:picMkLst>
        </pc:picChg>
        <pc:picChg chg="del">
          <ac:chgData name="Joey Ray Zahr" userId="9150008f-b0d5-4c48-a0fe-8b032f63645f" providerId="ADAL" clId="{07880C7B-BEDA-4ECB-BB9C-300DDF054D79}" dt="2025-04-02T03:52:53.083" v="5274" actId="478"/>
          <ac:picMkLst>
            <pc:docMk/>
            <pc:sldMk cId="754574687" sldId="258"/>
            <ac:picMk id="12" creationId="{C3BA1A91-D597-31D6-50F0-59D56F45FD30}"/>
          </ac:picMkLst>
        </pc:picChg>
        <pc:picChg chg="mod">
          <ac:chgData name="Joey Ray Zahr" userId="9150008f-b0d5-4c48-a0fe-8b032f63645f" providerId="ADAL" clId="{07880C7B-BEDA-4ECB-BB9C-300DDF054D79}" dt="2025-04-02T03:53:25.703" v="5295" actId="1076"/>
          <ac:picMkLst>
            <pc:docMk/>
            <pc:sldMk cId="754574687" sldId="258"/>
            <ac:picMk id="27" creationId="{1D103E7C-FD0A-000F-EC74-115383B69314}"/>
          </ac:picMkLst>
        </pc:picChg>
        <pc:picChg chg="mod">
          <ac:chgData name="Joey Ray Zahr" userId="9150008f-b0d5-4c48-a0fe-8b032f63645f" providerId="ADAL" clId="{07880C7B-BEDA-4ECB-BB9C-300DDF054D79}" dt="2025-04-02T03:53:08.428" v="5285" actId="14100"/>
          <ac:picMkLst>
            <pc:docMk/>
            <pc:sldMk cId="754574687" sldId="258"/>
            <ac:picMk id="3074" creationId="{D1EF41E3-7525-6C3D-F6B2-6110EB51B3AB}"/>
          </ac:picMkLst>
        </pc:picChg>
        <pc:picChg chg="mod">
          <ac:chgData name="Joey Ray Zahr" userId="9150008f-b0d5-4c48-a0fe-8b032f63645f" providerId="ADAL" clId="{07880C7B-BEDA-4ECB-BB9C-300DDF054D79}" dt="2025-04-02T03:53:09.234" v="5286" actId="1076"/>
          <ac:picMkLst>
            <pc:docMk/>
            <pc:sldMk cId="754574687" sldId="258"/>
            <ac:picMk id="3076" creationId="{AC758F23-43D4-26FD-8F70-BFBF4CBEA312}"/>
          </ac:picMkLst>
        </pc:picChg>
        <pc:picChg chg="mod">
          <ac:chgData name="Joey Ray Zahr" userId="9150008f-b0d5-4c48-a0fe-8b032f63645f" providerId="ADAL" clId="{07880C7B-BEDA-4ECB-BB9C-300DDF054D79}" dt="2025-04-02T03:53:06.278" v="5284" actId="1076"/>
          <ac:picMkLst>
            <pc:docMk/>
            <pc:sldMk cId="754574687" sldId="258"/>
            <ac:picMk id="3078" creationId="{EC63494C-03F9-4E43-378A-ADF6A90E8EAB}"/>
          </ac:picMkLst>
        </pc:picChg>
        <pc:picChg chg="mod">
          <ac:chgData name="Joey Ray Zahr" userId="9150008f-b0d5-4c48-a0fe-8b032f63645f" providerId="ADAL" clId="{07880C7B-BEDA-4ECB-BB9C-300DDF054D79}" dt="2025-04-02T03:53:01.729" v="5279" actId="1076"/>
          <ac:picMkLst>
            <pc:docMk/>
            <pc:sldMk cId="754574687" sldId="258"/>
            <ac:picMk id="3082" creationId="{7B25E931-2B4F-DF70-CA59-69D7B4C44E9F}"/>
          </ac:picMkLst>
        </pc:picChg>
        <pc:picChg chg="del">
          <ac:chgData name="Joey Ray Zahr" userId="9150008f-b0d5-4c48-a0fe-8b032f63645f" providerId="ADAL" clId="{07880C7B-BEDA-4ECB-BB9C-300DDF054D79}" dt="2025-04-02T03:52:52.384" v="5273" actId="478"/>
          <ac:picMkLst>
            <pc:docMk/>
            <pc:sldMk cId="754574687" sldId="258"/>
            <ac:picMk id="3084" creationId="{C4CC5710-9F7A-2B5C-FE89-E7F55ABA2F7C}"/>
          </ac:picMkLst>
        </pc:picChg>
        <pc:picChg chg="del">
          <ac:chgData name="Joey Ray Zahr" userId="9150008f-b0d5-4c48-a0fe-8b032f63645f" providerId="ADAL" clId="{07880C7B-BEDA-4ECB-BB9C-300DDF054D79}" dt="2025-04-02T03:52:53.474" v="5275" actId="478"/>
          <ac:picMkLst>
            <pc:docMk/>
            <pc:sldMk cId="754574687" sldId="258"/>
            <ac:picMk id="3090" creationId="{C01968AB-036F-9B9B-E200-10F80FEEC7E7}"/>
          </ac:picMkLst>
        </pc:picChg>
        <pc:picChg chg="mod">
          <ac:chgData name="Joey Ray Zahr" userId="9150008f-b0d5-4c48-a0fe-8b032f63645f" providerId="ADAL" clId="{07880C7B-BEDA-4ECB-BB9C-300DDF054D79}" dt="2025-04-02T03:53:40.585" v="5296" actId="1076"/>
          <ac:picMkLst>
            <pc:docMk/>
            <pc:sldMk cId="754574687" sldId="258"/>
            <ac:picMk id="3112" creationId="{6D03DE96-8BD2-8E89-E463-5625DC77DB22}"/>
          </ac:picMkLst>
        </pc:picChg>
        <pc:picChg chg="mod">
          <ac:chgData name="Joey Ray Zahr" userId="9150008f-b0d5-4c48-a0fe-8b032f63645f" providerId="ADAL" clId="{07880C7B-BEDA-4ECB-BB9C-300DDF054D79}" dt="2025-04-02T03:53:43.520" v="5297" actId="1076"/>
          <ac:picMkLst>
            <pc:docMk/>
            <pc:sldMk cId="754574687" sldId="258"/>
            <ac:picMk id="3122" creationId="{C980AAC9-99AC-269B-73F9-A8F96218AA4A}"/>
          </ac:picMkLst>
        </pc:picChg>
      </pc:sldChg>
      <pc:sldChg chg="addSp delSp modSp mod ord">
        <pc:chgData name="Joey Ray Zahr" userId="9150008f-b0d5-4c48-a0fe-8b032f63645f" providerId="ADAL" clId="{07880C7B-BEDA-4ECB-BB9C-300DDF054D79}" dt="2025-04-02T03:39:58.568" v="5207"/>
        <pc:sldMkLst>
          <pc:docMk/>
          <pc:sldMk cId="692225315" sldId="263"/>
        </pc:sldMkLst>
        <pc:spChg chg="add del mod">
          <ac:chgData name="Joey Ray Zahr" userId="9150008f-b0d5-4c48-a0fe-8b032f63645f" providerId="ADAL" clId="{07880C7B-BEDA-4ECB-BB9C-300DDF054D79}" dt="2025-04-02T03:05:10.923" v="4582" actId="478"/>
          <ac:spMkLst>
            <pc:docMk/>
            <pc:sldMk cId="692225315" sldId="263"/>
            <ac:spMk id="3" creationId="{3CFE9DF7-8DE1-1BF0-6868-FCE624383A57}"/>
          </ac:spMkLst>
        </pc:spChg>
      </pc:sldChg>
      <pc:sldChg chg="modSp mod ord">
        <pc:chgData name="Joey Ray Zahr" userId="9150008f-b0d5-4c48-a0fe-8b032f63645f" providerId="ADAL" clId="{07880C7B-BEDA-4ECB-BB9C-300DDF054D79}" dt="2025-04-02T03:40:14.260" v="5209"/>
        <pc:sldMkLst>
          <pc:docMk/>
          <pc:sldMk cId="166744532" sldId="264"/>
        </pc:sldMkLst>
        <pc:spChg chg="mod">
          <ac:chgData name="Joey Ray Zahr" userId="9150008f-b0d5-4c48-a0fe-8b032f63645f" providerId="ADAL" clId="{07880C7B-BEDA-4ECB-BB9C-300DDF054D79}" dt="2025-03-26T02:27:45.013" v="1328" actId="1076"/>
          <ac:spMkLst>
            <pc:docMk/>
            <pc:sldMk cId="166744532" sldId="264"/>
            <ac:spMk id="55" creationId="{E9FC0F9D-9F4E-AE0E-B531-1A06314ACB48}"/>
          </ac:spMkLst>
        </pc:spChg>
        <pc:spChg chg="mod">
          <ac:chgData name="Joey Ray Zahr" userId="9150008f-b0d5-4c48-a0fe-8b032f63645f" providerId="ADAL" clId="{07880C7B-BEDA-4ECB-BB9C-300DDF054D79}" dt="2025-04-01T04:18:26.395" v="2303" actId="693"/>
          <ac:spMkLst>
            <pc:docMk/>
            <pc:sldMk cId="166744532" sldId="264"/>
            <ac:spMk id="91" creationId="{AE3FA78C-4910-BFDF-D3E6-D5929349FE61}"/>
          </ac:spMkLst>
        </pc:spChg>
        <pc:cxnChg chg="mod">
          <ac:chgData name="Joey Ray Zahr" userId="9150008f-b0d5-4c48-a0fe-8b032f63645f" providerId="ADAL" clId="{07880C7B-BEDA-4ECB-BB9C-300DDF054D79}" dt="2025-03-24T03:43:45.478" v="8" actId="1038"/>
          <ac:cxnSpMkLst>
            <pc:docMk/>
            <pc:sldMk cId="166744532" sldId="264"/>
            <ac:cxnSpMk id="59" creationId="{BB11C7C3-BE70-A1AB-48C9-62D5B7EE97A3}"/>
          </ac:cxnSpMkLst>
        </pc:cxnChg>
        <pc:cxnChg chg="mod">
          <ac:chgData name="Joey Ray Zahr" userId="9150008f-b0d5-4c48-a0fe-8b032f63645f" providerId="ADAL" clId="{07880C7B-BEDA-4ECB-BB9C-300DDF054D79}" dt="2025-03-24T03:43:37.553" v="3" actId="14100"/>
          <ac:cxnSpMkLst>
            <pc:docMk/>
            <pc:sldMk cId="166744532" sldId="264"/>
            <ac:cxnSpMk id="61" creationId="{53BABA9B-2807-329F-5C0D-2844198E27B8}"/>
          </ac:cxnSpMkLst>
        </pc:cxnChg>
      </pc:sldChg>
      <pc:sldChg chg="ord">
        <pc:chgData name="Joey Ray Zahr" userId="9150008f-b0d5-4c48-a0fe-8b032f63645f" providerId="ADAL" clId="{07880C7B-BEDA-4ECB-BB9C-300DDF054D79}" dt="2025-04-02T02:45:31.528" v="4087"/>
        <pc:sldMkLst>
          <pc:docMk/>
          <pc:sldMk cId="3941336180" sldId="265"/>
        </pc:sldMkLst>
      </pc:sldChg>
      <pc:sldChg chg="addSp modSp">
        <pc:chgData name="Joey Ray Zahr" userId="9150008f-b0d5-4c48-a0fe-8b032f63645f" providerId="ADAL" clId="{07880C7B-BEDA-4ECB-BB9C-300DDF054D79}" dt="2025-04-01T15:32:35.823" v="2513"/>
        <pc:sldMkLst>
          <pc:docMk/>
          <pc:sldMk cId="3214686972" sldId="266"/>
        </pc:sldMkLst>
        <pc:spChg chg="add mod">
          <ac:chgData name="Joey Ray Zahr" userId="9150008f-b0d5-4c48-a0fe-8b032f63645f" providerId="ADAL" clId="{07880C7B-BEDA-4ECB-BB9C-300DDF054D79}" dt="2025-04-01T15:32:35.823" v="2513"/>
          <ac:spMkLst>
            <pc:docMk/>
            <pc:sldMk cId="3214686972" sldId="266"/>
            <ac:spMk id="5" creationId="{D470C094-372E-7F91-46F8-3FBFA7A387FB}"/>
          </ac:spMkLst>
        </pc:spChg>
      </pc:sldChg>
      <pc:sldChg chg="addSp modSp ord">
        <pc:chgData name="Joey Ray Zahr" userId="9150008f-b0d5-4c48-a0fe-8b032f63645f" providerId="ADAL" clId="{07880C7B-BEDA-4ECB-BB9C-300DDF054D79}" dt="2025-04-02T03:41:53.760" v="5216"/>
        <pc:sldMkLst>
          <pc:docMk/>
          <pc:sldMk cId="3431454537" sldId="268"/>
        </pc:sldMkLst>
        <pc:spChg chg="add mod">
          <ac:chgData name="Joey Ray Zahr" userId="9150008f-b0d5-4c48-a0fe-8b032f63645f" providerId="ADAL" clId="{07880C7B-BEDA-4ECB-BB9C-300DDF054D79}" dt="2025-04-01T15:31:56.880" v="2501"/>
          <ac:spMkLst>
            <pc:docMk/>
            <pc:sldMk cId="3431454537" sldId="268"/>
            <ac:spMk id="2" creationId="{9177506A-69EE-0C6A-E25F-8F4B137376EC}"/>
          </ac:spMkLst>
        </pc:spChg>
      </pc:sldChg>
      <pc:sldChg chg="addSp modSp del mod">
        <pc:chgData name="Joey Ray Zahr" userId="9150008f-b0d5-4c48-a0fe-8b032f63645f" providerId="ADAL" clId="{07880C7B-BEDA-4ECB-BB9C-300DDF054D79}" dt="2025-04-02T03:42:24.323" v="5217" actId="47"/>
        <pc:sldMkLst>
          <pc:docMk/>
          <pc:sldMk cId="2140223057" sldId="269"/>
        </pc:sldMkLst>
        <pc:spChg chg="add mod">
          <ac:chgData name="Joey Ray Zahr" userId="9150008f-b0d5-4c48-a0fe-8b032f63645f" providerId="ADAL" clId="{07880C7B-BEDA-4ECB-BB9C-300DDF054D79}" dt="2025-04-01T20:29:15.806" v="3927" actId="21"/>
          <ac:spMkLst>
            <pc:docMk/>
            <pc:sldMk cId="2140223057" sldId="269"/>
            <ac:spMk id="3" creationId="{911A53D2-EEF6-DEE7-F28F-FA0F15244BBD}"/>
          </ac:spMkLst>
        </pc:spChg>
      </pc:sldChg>
      <pc:sldChg chg="modSp mod">
        <pc:chgData name="Joey Ray Zahr" userId="9150008f-b0d5-4c48-a0fe-8b032f63645f" providerId="ADAL" clId="{07880C7B-BEDA-4ECB-BB9C-300DDF054D79}" dt="2025-04-01T15:43:59.702" v="3705" actId="20577"/>
        <pc:sldMkLst>
          <pc:docMk/>
          <pc:sldMk cId="3658756422" sldId="271"/>
        </pc:sldMkLst>
        <pc:spChg chg="mod">
          <ac:chgData name="Joey Ray Zahr" userId="9150008f-b0d5-4c48-a0fe-8b032f63645f" providerId="ADAL" clId="{07880C7B-BEDA-4ECB-BB9C-300DDF054D79}" dt="2025-04-01T15:43:59.702" v="3705" actId="20577"/>
          <ac:spMkLst>
            <pc:docMk/>
            <pc:sldMk cId="3658756422" sldId="271"/>
            <ac:spMk id="11" creationId="{E76673B5-CA90-EF72-67E7-E4FAEE2C7902}"/>
          </ac:spMkLst>
        </pc:spChg>
      </pc:sldChg>
      <pc:sldChg chg="addSp delSp modSp mod ord">
        <pc:chgData name="Joey Ray Zahr" userId="9150008f-b0d5-4c48-a0fe-8b032f63645f" providerId="ADAL" clId="{07880C7B-BEDA-4ECB-BB9C-300DDF054D79}" dt="2025-04-02T03:41:53.760" v="5216"/>
        <pc:sldMkLst>
          <pc:docMk/>
          <pc:sldMk cId="277559060" sldId="273"/>
        </pc:sldMkLst>
        <pc:spChg chg="add del mod">
          <ac:chgData name="Joey Ray Zahr" userId="9150008f-b0d5-4c48-a0fe-8b032f63645f" providerId="ADAL" clId="{07880C7B-BEDA-4ECB-BB9C-300DDF054D79}" dt="2025-04-02T02:42:37.854" v="4076" actId="478"/>
          <ac:spMkLst>
            <pc:docMk/>
            <pc:sldMk cId="277559060" sldId="273"/>
            <ac:spMk id="2" creationId="{206854D7-F3BF-FFCE-AD08-34A73444BF2D}"/>
          </ac:spMkLst>
        </pc:spChg>
        <pc:graphicFrameChg chg="mod">
          <ac:chgData name="Joey Ray Zahr" userId="9150008f-b0d5-4c48-a0fe-8b032f63645f" providerId="ADAL" clId="{07880C7B-BEDA-4ECB-BB9C-300DDF054D79}" dt="2025-04-02T02:42:28.923" v="4074"/>
          <ac:graphicFrameMkLst>
            <pc:docMk/>
            <pc:sldMk cId="277559060" sldId="273"/>
            <ac:graphicFrameMk id="4" creationId="{15760B7E-F382-EE64-EB80-5E858E6BA063}"/>
          </ac:graphicFrameMkLst>
        </pc:graphicFrameChg>
        <pc:graphicFrameChg chg="mod modGraphic">
          <ac:chgData name="Joey Ray Zahr" userId="9150008f-b0d5-4c48-a0fe-8b032f63645f" providerId="ADAL" clId="{07880C7B-BEDA-4ECB-BB9C-300DDF054D79}" dt="2025-04-02T02:42:31.652" v="4075"/>
          <ac:graphicFrameMkLst>
            <pc:docMk/>
            <pc:sldMk cId="277559060" sldId="273"/>
            <ac:graphicFrameMk id="6" creationId="{0E2F5715-B9DD-735F-B05F-89D7634A141E}"/>
          </ac:graphicFrameMkLst>
        </pc:graphicFrameChg>
      </pc:sldChg>
      <pc:sldChg chg="addSp modSp mod">
        <pc:chgData name="Joey Ray Zahr" userId="9150008f-b0d5-4c48-a0fe-8b032f63645f" providerId="ADAL" clId="{07880C7B-BEDA-4ECB-BB9C-300DDF054D79}" dt="2025-03-28T04:42:48.829" v="1333" actId="1076"/>
        <pc:sldMkLst>
          <pc:docMk/>
          <pc:sldMk cId="597480458" sldId="277"/>
        </pc:sldMkLst>
      </pc:sldChg>
      <pc:sldChg chg="modSp mod ord">
        <pc:chgData name="Joey Ray Zahr" userId="9150008f-b0d5-4c48-a0fe-8b032f63645f" providerId="ADAL" clId="{07880C7B-BEDA-4ECB-BB9C-300DDF054D79}" dt="2025-04-02T02:45:06.994" v="4084"/>
        <pc:sldMkLst>
          <pc:docMk/>
          <pc:sldMk cId="4223677651" sldId="286"/>
        </pc:sldMkLst>
        <pc:spChg chg="mod">
          <ac:chgData name="Joey Ray Zahr" userId="9150008f-b0d5-4c48-a0fe-8b032f63645f" providerId="ADAL" clId="{07880C7B-BEDA-4ECB-BB9C-300DDF054D79}" dt="2025-04-01T05:28:01.334" v="2363" actId="693"/>
          <ac:spMkLst>
            <pc:docMk/>
            <pc:sldMk cId="4223677651" sldId="286"/>
            <ac:spMk id="91" creationId="{4458A4B2-E013-FF3C-2D75-8B13F3F6D899}"/>
          </ac:spMkLst>
        </pc:spChg>
        <pc:cxnChg chg="mod">
          <ac:chgData name="Joey Ray Zahr" userId="9150008f-b0d5-4c48-a0fe-8b032f63645f" providerId="ADAL" clId="{07880C7B-BEDA-4ECB-BB9C-300DDF054D79}" dt="2025-03-24T03:44:09.855" v="9" actId="12789"/>
          <ac:cxnSpMkLst>
            <pc:docMk/>
            <pc:sldMk cId="4223677651" sldId="286"/>
            <ac:cxnSpMk id="9" creationId="{F47502BF-57AC-9558-2547-1345C57994E2}"/>
          </ac:cxnSpMkLst>
        </pc:cxnChg>
        <pc:cxnChg chg="mod">
          <ac:chgData name="Joey Ray Zahr" userId="9150008f-b0d5-4c48-a0fe-8b032f63645f" providerId="ADAL" clId="{07880C7B-BEDA-4ECB-BB9C-300DDF054D79}" dt="2025-03-24T03:44:09.855" v="9" actId="12789"/>
          <ac:cxnSpMkLst>
            <pc:docMk/>
            <pc:sldMk cId="4223677651" sldId="286"/>
            <ac:cxnSpMk id="10" creationId="{7C80E626-DE5D-E1CC-6A05-A1F59D3FF07C}"/>
          </ac:cxnSpMkLst>
        </pc:cxnChg>
      </pc:sldChg>
      <pc:sldChg chg="addSp modSp mod ord">
        <pc:chgData name="Joey Ray Zahr" userId="9150008f-b0d5-4c48-a0fe-8b032f63645f" providerId="ADAL" clId="{07880C7B-BEDA-4ECB-BB9C-300DDF054D79}" dt="2025-04-02T02:45:06.994" v="4084"/>
        <pc:sldMkLst>
          <pc:docMk/>
          <pc:sldMk cId="2231801104" sldId="287"/>
        </pc:sldMkLst>
        <pc:spChg chg="add mod">
          <ac:chgData name="Joey Ray Zahr" userId="9150008f-b0d5-4c48-a0fe-8b032f63645f" providerId="ADAL" clId="{07880C7B-BEDA-4ECB-BB9C-300DDF054D79}" dt="2025-04-01T15:32:29.799" v="2512" actId="1076"/>
          <ac:spMkLst>
            <pc:docMk/>
            <pc:sldMk cId="2231801104" sldId="287"/>
            <ac:spMk id="3" creationId="{DD397E35-286B-4776-F25D-B63340F7F6A8}"/>
          </ac:spMkLst>
        </pc:spChg>
        <pc:spChg chg="mod">
          <ac:chgData name="Joey Ray Zahr" userId="9150008f-b0d5-4c48-a0fe-8b032f63645f" providerId="ADAL" clId="{07880C7B-BEDA-4ECB-BB9C-300DDF054D79}" dt="2025-04-01T05:28:08.020" v="2365" actId="693"/>
          <ac:spMkLst>
            <pc:docMk/>
            <pc:sldMk cId="2231801104" sldId="287"/>
            <ac:spMk id="91" creationId="{BD0A095F-6F35-F238-7F54-31625E60B9A1}"/>
          </ac:spMkLst>
        </pc:spChg>
      </pc:sldChg>
      <pc:sldChg chg="modSp mod">
        <pc:chgData name="Joey Ray Zahr" userId="9150008f-b0d5-4c48-a0fe-8b032f63645f" providerId="ADAL" clId="{07880C7B-BEDA-4ECB-BB9C-300DDF054D79}" dt="2025-03-25T17:02:37.800" v="34" actId="20577"/>
        <pc:sldMkLst>
          <pc:docMk/>
          <pc:sldMk cId="3164321657" sldId="291"/>
        </pc:sldMkLst>
      </pc:sldChg>
      <pc:sldChg chg="modSp mod">
        <pc:chgData name="Joey Ray Zahr" userId="9150008f-b0d5-4c48-a0fe-8b032f63645f" providerId="ADAL" clId="{07880C7B-BEDA-4ECB-BB9C-300DDF054D79}" dt="2025-03-25T17:26:16.535" v="889" actId="5793"/>
        <pc:sldMkLst>
          <pc:docMk/>
          <pc:sldMk cId="4107216613" sldId="292"/>
        </pc:sldMkLst>
      </pc:sldChg>
      <pc:sldChg chg="addSp modSp">
        <pc:chgData name="Joey Ray Zahr" userId="9150008f-b0d5-4c48-a0fe-8b032f63645f" providerId="ADAL" clId="{07880C7B-BEDA-4ECB-BB9C-300DDF054D79}" dt="2025-04-01T15:31:45.127" v="2500"/>
        <pc:sldMkLst>
          <pc:docMk/>
          <pc:sldMk cId="1532318573" sldId="297"/>
        </pc:sldMkLst>
        <pc:spChg chg="add mod">
          <ac:chgData name="Joey Ray Zahr" userId="9150008f-b0d5-4c48-a0fe-8b032f63645f" providerId="ADAL" clId="{07880C7B-BEDA-4ECB-BB9C-300DDF054D79}" dt="2025-04-01T15:31:45.127" v="2500"/>
          <ac:spMkLst>
            <pc:docMk/>
            <pc:sldMk cId="1532318573" sldId="297"/>
            <ac:spMk id="2" creationId="{C33C0A65-8A79-3178-33CC-A2EAF9136BBE}"/>
          </ac:spMkLst>
        </pc:spChg>
        <pc:graphicFrameChg chg="mod">
          <ac:chgData name="Joey Ray Zahr" userId="9150008f-b0d5-4c48-a0fe-8b032f63645f" providerId="ADAL" clId="{07880C7B-BEDA-4ECB-BB9C-300DDF054D79}" dt="2025-04-01T15:29:59.942" v="2395" actId="692"/>
          <ac:graphicFrameMkLst>
            <pc:docMk/>
            <pc:sldMk cId="1532318573" sldId="297"/>
            <ac:graphicFrameMk id="4" creationId="{DB2A8D72-7CCA-CE12-3B63-E42864F5E6B7}"/>
          </ac:graphicFrameMkLst>
        </pc:graphicFrameChg>
      </pc:sldChg>
      <pc:sldChg chg="modSp mod">
        <pc:chgData name="Joey Ray Zahr" userId="9150008f-b0d5-4c48-a0fe-8b032f63645f" providerId="ADAL" clId="{07880C7B-BEDA-4ECB-BB9C-300DDF054D79}" dt="2025-03-28T20:41:54.635" v="1350"/>
        <pc:sldMkLst>
          <pc:docMk/>
          <pc:sldMk cId="4024668292" sldId="298"/>
        </pc:sldMkLst>
      </pc:sldChg>
      <pc:sldChg chg="addSp delSp modSp mod">
        <pc:chgData name="Joey Ray Zahr" userId="9150008f-b0d5-4c48-a0fe-8b032f63645f" providerId="ADAL" clId="{07880C7B-BEDA-4ECB-BB9C-300DDF054D79}" dt="2025-04-01T15:31:41.581" v="2498" actId="21"/>
        <pc:sldMkLst>
          <pc:docMk/>
          <pc:sldMk cId="118660533" sldId="299"/>
        </pc:sldMkLst>
        <pc:spChg chg="add del mod">
          <ac:chgData name="Joey Ray Zahr" userId="9150008f-b0d5-4c48-a0fe-8b032f63645f" providerId="ADAL" clId="{07880C7B-BEDA-4ECB-BB9C-300DDF054D79}" dt="2025-04-01T15:31:41.581" v="2498" actId="21"/>
          <ac:spMkLst>
            <pc:docMk/>
            <pc:sldMk cId="118660533" sldId="299"/>
            <ac:spMk id="2" creationId="{741682D5-80D2-9169-0BA2-09141D5BA6FB}"/>
          </ac:spMkLst>
        </pc:spChg>
        <pc:graphicFrameChg chg="mod">
          <ac:chgData name="Joey Ray Zahr" userId="9150008f-b0d5-4c48-a0fe-8b032f63645f" providerId="ADAL" clId="{07880C7B-BEDA-4ECB-BB9C-300DDF054D79}" dt="2025-04-01T15:29:52.974" v="2394" actId="692"/>
          <ac:graphicFrameMkLst>
            <pc:docMk/>
            <pc:sldMk cId="118660533" sldId="299"/>
            <ac:graphicFrameMk id="20" creationId="{D2B4E6FF-5AFF-6F0A-F8C8-9AC227EA7689}"/>
          </ac:graphicFrameMkLst>
        </pc:graphicFrameChg>
      </pc:sldChg>
      <pc:sldChg chg="addSp modSp mod">
        <pc:chgData name="Joey Ray Zahr" userId="9150008f-b0d5-4c48-a0fe-8b032f63645f" providerId="ADAL" clId="{07880C7B-BEDA-4ECB-BB9C-300DDF054D79}" dt="2025-04-01T20:37:15.667" v="3940" actId="20577"/>
        <pc:sldMkLst>
          <pc:docMk/>
          <pc:sldMk cId="951529637" sldId="300"/>
        </pc:sldMkLst>
        <pc:spChg chg="add mod">
          <ac:chgData name="Joey Ray Zahr" userId="9150008f-b0d5-4c48-a0fe-8b032f63645f" providerId="ADAL" clId="{07880C7B-BEDA-4ECB-BB9C-300DDF054D79}" dt="2025-04-01T15:32:38.154" v="2514"/>
          <ac:spMkLst>
            <pc:docMk/>
            <pc:sldMk cId="951529637" sldId="300"/>
            <ac:spMk id="5" creationId="{CB9CFAB9-A01F-CC6F-2169-7E961B809815}"/>
          </ac:spMkLst>
        </pc:spChg>
        <pc:spChg chg="mod">
          <ac:chgData name="Joey Ray Zahr" userId="9150008f-b0d5-4c48-a0fe-8b032f63645f" providerId="ADAL" clId="{07880C7B-BEDA-4ECB-BB9C-300DDF054D79}" dt="2025-04-01T20:37:11.648" v="3937" actId="20577"/>
          <ac:spMkLst>
            <pc:docMk/>
            <pc:sldMk cId="951529637" sldId="300"/>
            <ac:spMk id="6" creationId="{14706D1D-B262-9522-A3ED-1FC2712BCBCA}"/>
          </ac:spMkLst>
        </pc:spChg>
        <pc:spChg chg="mod">
          <ac:chgData name="Joey Ray Zahr" userId="9150008f-b0d5-4c48-a0fe-8b032f63645f" providerId="ADAL" clId="{07880C7B-BEDA-4ECB-BB9C-300DDF054D79}" dt="2025-04-01T20:37:15.667" v="3940" actId="20577"/>
          <ac:spMkLst>
            <pc:docMk/>
            <pc:sldMk cId="951529637" sldId="300"/>
            <ac:spMk id="7" creationId="{7964A91A-402C-3360-FF0D-047E8EC1046E}"/>
          </ac:spMkLst>
        </pc:spChg>
        <pc:graphicFrameChg chg="mod">
          <ac:chgData name="Joey Ray Zahr" userId="9150008f-b0d5-4c48-a0fe-8b032f63645f" providerId="ADAL" clId="{07880C7B-BEDA-4ECB-BB9C-300DDF054D79}" dt="2025-04-01T04:11:10.782" v="2222"/>
          <ac:graphicFrameMkLst>
            <pc:docMk/>
            <pc:sldMk cId="951529637" sldId="300"/>
            <ac:graphicFrameMk id="10" creationId="{CFD77A0A-6787-1953-83E7-144ED7F65541}"/>
          </ac:graphicFrameMkLst>
        </pc:graphicFrameChg>
      </pc:sldChg>
      <pc:sldChg chg="addSp modSp">
        <pc:chgData name="Joey Ray Zahr" userId="9150008f-b0d5-4c48-a0fe-8b032f63645f" providerId="ADAL" clId="{07880C7B-BEDA-4ECB-BB9C-300DDF054D79}" dt="2025-03-25T17:34:26.247" v="1099"/>
        <pc:sldMkLst>
          <pc:docMk/>
          <pc:sldMk cId="3442849471" sldId="301"/>
        </pc:sldMkLst>
      </pc:sldChg>
      <pc:sldChg chg="addSp modSp">
        <pc:chgData name="Joey Ray Zahr" userId="9150008f-b0d5-4c48-a0fe-8b032f63645f" providerId="ADAL" clId="{07880C7B-BEDA-4ECB-BB9C-300DDF054D79}" dt="2025-03-25T17:34:27.122" v="1100"/>
        <pc:sldMkLst>
          <pc:docMk/>
          <pc:sldMk cId="1506442824" sldId="302"/>
        </pc:sldMkLst>
      </pc:sldChg>
      <pc:sldChg chg="addSp modSp">
        <pc:chgData name="Joey Ray Zahr" userId="9150008f-b0d5-4c48-a0fe-8b032f63645f" providerId="ADAL" clId="{07880C7B-BEDA-4ECB-BB9C-300DDF054D79}" dt="2025-03-25T17:34:27.992" v="1101"/>
        <pc:sldMkLst>
          <pc:docMk/>
          <pc:sldMk cId="1953456580" sldId="303"/>
        </pc:sldMkLst>
      </pc:sldChg>
      <pc:sldChg chg="addSp delSp modSp mod">
        <pc:chgData name="Joey Ray Zahr" userId="9150008f-b0d5-4c48-a0fe-8b032f63645f" providerId="ADAL" clId="{07880C7B-BEDA-4ECB-BB9C-300DDF054D79}" dt="2025-04-02T02:18:56.291" v="4032" actId="478"/>
        <pc:sldMkLst>
          <pc:docMk/>
          <pc:sldMk cId="1580044436" sldId="306"/>
        </pc:sldMkLst>
        <pc:spChg chg="del">
          <ac:chgData name="Joey Ray Zahr" userId="9150008f-b0d5-4c48-a0fe-8b032f63645f" providerId="ADAL" clId="{07880C7B-BEDA-4ECB-BB9C-300DDF054D79}" dt="2025-04-02T02:18:56.291" v="4032" actId="478"/>
          <ac:spMkLst>
            <pc:docMk/>
            <pc:sldMk cId="1580044436" sldId="306"/>
            <ac:spMk id="2" creationId="{F60BFBC9-0B0F-B284-7C5F-1DFDEECC5F75}"/>
          </ac:spMkLst>
        </pc:spChg>
        <pc:spChg chg="add mod">
          <ac:chgData name="Joey Ray Zahr" userId="9150008f-b0d5-4c48-a0fe-8b032f63645f" providerId="ADAL" clId="{07880C7B-BEDA-4ECB-BB9C-300DDF054D79}" dt="2025-04-01T15:32:42.391" v="2516" actId="1076"/>
          <ac:spMkLst>
            <pc:docMk/>
            <pc:sldMk cId="1580044436" sldId="306"/>
            <ac:spMk id="5" creationId="{13C1E87D-BA54-EF60-01F1-636B1482ED7F}"/>
          </ac:spMkLst>
        </pc:spChg>
        <pc:spChg chg="add mod">
          <ac:chgData name="Joey Ray Zahr" userId="9150008f-b0d5-4c48-a0fe-8b032f63645f" providerId="ADAL" clId="{07880C7B-BEDA-4ECB-BB9C-300DDF054D79}" dt="2025-04-01T15:32:55.550" v="2546" actId="1076"/>
          <ac:spMkLst>
            <pc:docMk/>
            <pc:sldMk cId="1580044436" sldId="306"/>
            <ac:spMk id="8" creationId="{42B96933-CF55-3BD5-DB58-9410A011E41C}"/>
          </ac:spMkLst>
        </pc:spChg>
        <pc:spChg chg="add mod">
          <ac:chgData name="Joey Ray Zahr" userId="9150008f-b0d5-4c48-a0fe-8b032f63645f" providerId="ADAL" clId="{07880C7B-BEDA-4ECB-BB9C-300DDF054D79}" dt="2025-04-01T15:32:54.236" v="2545" actId="1076"/>
          <ac:spMkLst>
            <pc:docMk/>
            <pc:sldMk cId="1580044436" sldId="306"/>
            <ac:spMk id="9" creationId="{3FCCD330-9022-8054-0EEA-F54570314250}"/>
          </ac:spMkLst>
        </pc:spChg>
      </pc:sldChg>
      <pc:sldChg chg="addSp modSp mod">
        <pc:chgData name="Joey Ray Zahr" userId="9150008f-b0d5-4c48-a0fe-8b032f63645f" providerId="ADAL" clId="{07880C7B-BEDA-4ECB-BB9C-300DDF054D79}" dt="2025-04-01T15:32:09.862" v="2510" actId="1076"/>
        <pc:sldMkLst>
          <pc:docMk/>
          <pc:sldMk cId="2009459704" sldId="309"/>
        </pc:sldMkLst>
        <pc:spChg chg="add mod">
          <ac:chgData name="Joey Ray Zahr" userId="9150008f-b0d5-4c48-a0fe-8b032f63645f" providerId="ADAL" clId="{07880C7B-BEDA-4ECB-BB9C-300DDF054D79}" dt="2025-04-01T15:32:05.323" v="2504" actId="1076"/>
          <ac:spMkLst>
            <pc:docMk/>
            <pc:sldMk cId="2009459704" sldId="309"/>
            <ac:spMk id="3" creationId="{9A30545A-5631-BEF8-FD33-6C25A82A2D32}"/>
          </ac:spMkLst>
        </pc:spChg>
        <pc:spChg chg="add mod">
          <ac:chgData name="Joey Ray Zahr" userId="9150008f-b0d5-4c48-a0fe-8b032f63645f" providerId="ADAL" clId="{07880C7B-BEDA-4ECB-BB9C-300DDF054D79}" dt="2025-04-01T15:32:07.318" v="2506" actId="1076"/>
          <ac:spMkLst>
            <pc:docMk/>
            <pc:sldMk cId="2009459704" sldId="309"/>
            <ac:spMk id="8" creationId="{F9CA6416-90DD-960A-A96D-66DCDFD19B71}"/>
          </ac:spMkLst>
        </pc:spChg>
        <pc:spChg chg="add mod">
          <ac:chgData name="Joey Ray Zahr" userId="9150008f-b0d5-4c48-a0fe-8b032f63645f" providerId="ADAL" clId="{07880C7B-BEDA-4ECB-BB9C-300DDF054D79}" dt="2025-04-01T15:32:08.547" v="2508" actId="1076"/>
          <ac:spMkLst>
            <pc:docMk/>
            <pc:sldMk cId="2009459704" sldId="309"/>
            <ac:spMk id="18" creationId="{290F3F50-34B8-1B59-A0AE-520AF7E6A381}"/>
          </ac:spMkLst>
        </pc:spChg>
        <pc:spChg chg="add mod">
          <ac:chgData name="Joey Ray Zahr" userId="9150008f-b0d5-4c48-a0fe-8b032f63645f" providerId="ADAL" clId="{07880C7B-BEDA-4ECB-BB9C-300DDF054D79}" dt="2025-04-01T15:32:09.862" v="2510" actId="1076"/>
          <ac:spMkLst>
            <pc:docMk/>
            <pc:sldMk cId="2009459704" sldId="309"/>
            <ac:spMk id="19" creationId="{4E497ED9-02B8-8DF6-B40C-489923EFF49C}"/>
          </ac:spMkLst>
        </pc:spChg>
        <pc:graphicFrameChg chg="mod">
          <ac:chgData name="Joey Ray Zahr" userId="9150008f-b0d5-4c48-a0fe-8b032f63645f" providerId="ADAL" clId="{07880C7B-BEDA-4ECB-BB9C-300DDF054D79}" dt="2025-03-28T04:42:37.563" v="1330"/>
          <ac:graphicFrameMkLst>
            <pc:docMk/>
            <pc:sldMk cId="2009459704" sldId="309"/>
            <ac:graphicFrameMk id="6" creationId="{B74DE81B-7FC9-3325-3ECE-55B0A6BBB5E5}"/>
          </ac:graphicFrameMkLst>
        </pc:graphicFrameChg>
        <pc:graphicFrameChg chg="mod">
          <ac:chgData name="Joey Ray Zahr" userId="9150008f-b0d5-4c48-a0fe-8b032f63645f" providerId="ADAL" clId="{07880C7B-BEDA-4ECB-BB9C-300DDF054D79}" dt="2025-04-01T15:27:12.788" v="2393" actId="1036"/>
          <ac:graphicFrameMkLst>
            <pc:docMk/>
            <pc:sldMk cId="2009459704" sldId="309"/>
            <ac:graphicFrameMk id="20" creationId="{25D3DC49-E1AA-4AC3-11BA-0C217BC756EE}"/>
          </ac:graphicFrameMkLst>
        </pc:graphicFrameChg>
      </pc:sldChg>
      <pc:sldChg chg="del mod ord modShow">
        <pc:chgData name="Joey Ray Zahr" userId="9150008f-b0d5-4c48-a0fe-8b032f63645f" providerId="ADAL" clId="{07880C7B-BEDA-4ECB-BB9C-300DDF054D79}" dt="2025-04-02T03:41:43.541" v="5214" actId="47"/>
        <pc:sldMkLst>
          <pc:docMk/>
          <pc:sldMk cId="1516102587" sldId="310"/>
        </pc:sldMkLst>
      </pc:sldChg>
      <pc:sldChg chg="add">
        <pc:chgData name="Joey Ray Zahr" userId="9150008f-b0d5-4c48-a0fe-8b032f63645f" providerId="ADAL" clId="{07880C7B-BEDA-4ECB-BB9C-300DDF054D79}" dt="2025-03-25T17:02:30.424" v="11" actId="2890"/>
        <pc:sldMkLst>
          <pc:docMk/>
          <pc:sldMk cId="1759596664" sldId="314"/>
        </pc:sldMkLst>
      </pc:sldChg>
      <pc:sldChg chg="addSp modSp add mod">
        <pc:chgData name="Joey Ray Zahr" userId="9150008f-b0d5-4c48-a0fe-8b032f63645f" providerId="ADAL" clId="{07880C7B-BEDA-4ECB-BB9C-300DDF054D79}" dt="2025-04-01T15:33:43.513" v="2718" actId="20577"/>
        <pc:sldMkLst>
          <pc:docMk/>
          <pc:sldMk cId="229152731" sldId="315"/>
        </pc:sldMkLst>
        <pc:spChg chg="add mod">
          <ac:chgData name="Joey Ray Zahr" userId="9150008f-b0d5-4c48-a0fe-8b032f63645f" providerId="ADAL" clId="{07880C7B-BEDA-4ECB-BB9C-300DDF054D79}" dt="2025-04-01T15:33:43.513" v="2718" actId="20577"/>
          <ac:spMkLst>
            <pc:docMk/>
            <pc:sldMk cId="229152731" sldId="315"/>
            <ac:spMk id="2" creationId="{02A6688C-E660-48AE-EE4D-9AFD2E1911F3}"/>
          </ac:spMkLst>
        </pc:spChg>
      </pc:sldChg>
      <pc:sldChg chg="modSp add mod ord">
        <pc:chgData name="Joey Ray Zahr" userId="9150008f-b0d5-4c48-a0fe-8b032f63645f" providerId="ADAL" clId="{07880C7B-BEDA-4ECB-BB9C-300DDF054D79}" dt="2025-03-25T17:18:46.103" v="182"/>
        <pc:sldMkLst>
          <pc:docMk/>
          <pc:sldMk cId="3822439845" sldId="316"/>
        </pc:sldMkLst>
      </pc:sldChg>
      <pc:sldChg chg="modSp add mod ord">
        <pc:chgData name="Joey Ray Zahr" userId="9150008f-b0d5-4c48-a0fe-8b032f63645f" providerId="ADAL" clId="{07880C7B-BEDA-4ECB-BB9C-300DDF054D79}" dt="2025-03-25T17:20:48.101" v="379" actId="20577"/>
        <pc:sldMkLst>
          <pc:docMk/>
          <pc:sldMk cId="2063434367" sldId="317"/>
        </pc:sldMkLst>
      </pc:sldChg>
      <pc:sldChg chg="addSp delSp modSp mod">
        <pc:chgData name="Joey Ray Zahr" userId="9150008f-b0d5-4c48-a0fe-8b032f63645f" providerId="ADAL" clId="{07880C7B-BEDA-4ECB-BB9C-300DDF054D79}" dt="2025-03-25T23:43:36.745" v="1251" actId="478"/>
        <pc:sldMkLst>
          <pc:docMk/>
          <pc:sldMk cId="3256984854" sldId="319"/>
        </pc:sldMkLst>
      </pc:sldChg>
      <pc:sldChg chg="modSp mod">
        <pc:chgData name="Joey Ray Zahr" userId="9150008f-b0d5-4c48-a0fe-8b032f63645f" providerId="ADAL" clId="{07880C7B-BEDA-4ECB-BB9C-300DDF054D79}" dt="2025-03-25T23:28:32.303" v="1115" actId="1076"/>
        <pc:sldMkLst>
          <pc:docMk/>
          <pc:sldMk cId="2218983133" sldId="2153"/>
        </pc:sldMkLst>
      </pc:sldChg>
      <pc:sldChg chg="modSp add mod modShow">
        <pc:chgData name="Joey Ray Zahr" userId="9150008f-b0d5-4c48-a0fe-8b032f63645f" providerId="ADAL" clId="{07880C7B-BEDA-4ECB-BB9C-300DDF054D79}" dt="2025-03-28T20:42:08.968" v="1351" actId="729"/>
        <pc:sldMkLst>
          <pc:docMk/>
          <pc:sldMk cId="4180212105" sldId="2154"/>
        </pc:sldMkLst>
      </pc:sldChg>
      <pc:sldChg chg="addSp delSp modSp mod modShow">
        <pc:chgData name="Joey Ray Zahr" userId="9150008f-b0d5-4c48-a0fe-8b032f63645f" providerId="ADAL" clId="{07880C7B-BEDA-4ECB-BB9C-300DDF054D79}" dt="2025-03-28T20:42:08.968" v="1351" actId="729"/>
        <pc:sldMkLst>
          <pc:docMk/>
          <pc:sldMk cId="3988318343" sldId="2155"/>
        </pc:sldMkLst>
      </pc:sldChg>
      <pc:sldChg chg="addSp delSp modSp add del mod">
        <pc:chgData name="Joey Ray Zahr" userId="9150008f-b0d5-4c48-a0fe-8b032f63645f" providerId="ADAL" clId="{07880C7B-BEDA-4ECB-BB9C-300DDF054D79}" dt="2025-03-25T23:48:15.951" v="1306" actId="47"/>
        <pc:sldMkLst>
          <pc:docMk/>
          <pc:sldMk cId="3037401228" sldId="2156"/>
        </pc:sldMkLst>
      </pc:sldChg>
      <pc:sldChg chg="del">
        <pc:chgData name="Joey Ray Zahr" userId="9150008f-b0d5-4c48-a0fe-8b032f63645f" providerId="ADAL" clId="{07880C7B-BEDA-4ECB-BB9C-300DDF054D79}" dt="2025-03-25T23:50:03.036" v="1318" actId="47"/>
        <pc:sldMkLst>
          <pc:docMk/>
          <pc:sldMk cId="4186388113" sldId="2157"/>
        </pc:sldMkLst>
      </pc:sldChg>
      <pc:sldChg chg="delSp modSp add mod modShow">
        <pc:chgData name="Joey Ray Zahr" userId="9150008f-b0d5-4c48-a0fe-8b032f63645f" providerId="ADAL" clId="{07880C7B-BEDA-4ECB-BB9C-300DDF054D79}" dt="2025-03-28T20:42:08.968" v="1351" actId="729"/>
        <pc:sldMkLst>
          <pc:docMk/>
          <pc:sldMk cId="634326991" sldId="2158"/>
        </pc:sldMkLst>
      </pc:sldChg>
      <pc:sldChg chg="addSp modSp mod modShow">
        <pc:chgData name="Joey Ray Zahr" userId="9150008f-b0d5-4c48-a0fe-8b032f63645f" providerId="ADAL" clId="{07880C7B-BEDA-4ECB-BB9C-300DDF054D79}" dt="2025-03-31T15:35:52.825" v="2213" actId="1076"/>
        <pc:sldMkLst>
          <pc:docMk/>
          <pc:sldMk cId="4186388113" sldId="2159"/>
        </pc:sldMkLst>
        <pc:spChg chg="mod">
          <ac:chgData name="Joey Ray Zahr" userId="9150008f-b0d5-4c48-a0fe-8b032f63645f" providerId="ADAL" clId="{07880C7B-BEDA-4ECB-BB9C-300DDF054D79}" dt="2025-03-31T15:35:52.825" v="2213" actId="1076"/>
          <ac:spMkLst>
            <pc:docMk/>
            <pc:sldMk cId="4186388113" sldId="2159"/>
            <ac:spMk id="3" creationId="{51FBA8F1-4436-4987-C1CA-1642B4A1E5E7}"/>
          </ac:spMkLst>
        </pc:spChg>
        <pc:spChg chg="mod">
          <ac:chgData name="Joey Ray Zahr" userId="9150008f-b0d5-4c48-a0fe-8b032f63645f" providerId="ADAL" clId="{07880C7B-BEDA-4ECB-BB9C-300DDF054D79}" dt="2025-03-31T15:35:52.825" v="2213" actId="1076"/>
          <ac:spMkLst>
            <pc:docMk/>
            <pc:sldMk cId="4186388113" sldId="2159"/>
            <ac:spMk id="12" creationId="{3C58E064-3E33-6A8E-BAFF-2400D3B7A35B}"/>
          </ac:spMkLst>
        </pc:spChg>
        <pc:grpChg chg="add mod">
          <ac:chgData name="Joey Ray Zahr" userId="9150008f-b0d5-4c48-a0fe-8b032f63645f" providerId="ADAL" clId="{07880C7B-BEDA-4ECB-BB9C-300DDF054D79}" dt="2025-03-31T15:35:52.825" v="2213" actId="1076"/>
          <ac:grpSpMkLst>
            <pc:docMk/>
            <pc:sldMk cId="4186388113" sldId="2159"/>
            <ac:grpSpMk id="2" creationId="{6D7E9966-274F-69E7-780C-A84D79BF24AD}"/>
          </ac:grpSpMkLst>
        </pc:grpChg>
        <pc:grpChg chg="add mod">
          <ac:chgData name="Joey Ray Zahr" userId="9150008f-b0d5-4c48-a0fe-8b032f63645f" providerId="ADAL" clId="{07880C7B-BEDA-4ECB-BB9C-300DDF054D79}" dt="2025-03-31T15:35:52.825" v="2213" actId="1076"/>
          <ac:grpSpMkLst>
            <pc:docMk/>
            <pc:sldMk cId="4186388113" sldId="2159"/>
            <ac:grpSpMk id="6" creationId="{B86CB86B-A2A2-E129-D45C-BC79A605FE32}"/>
          </ac:grpSpMkLst>
        </pc:grpChg>
        <pc:picChg chg="mod">
          <ac:chgData name="Joey Ray Zahr" userId="9150008f-b0d5-4c48-a0fe-8b032f63645f" providerId="ADAL" clId="{07880C7B-BEDA-4ECB-BB9C-300DDF054D79}" dt="2025-03-31T15:35:52.825" v="2213" actId="1076"/>
          <ac:picMkLst>
            <pc:docMk/>
            <pc:sldMk cId="4186388113" sldId="2159"/>
            <ac:picMk id="13" creationId="{5137E24B-FE5B-AFE5-0BEA-D6D25ED31CC9}"/>
          </ac:picMkLst>
        </pc:picChg>
        <pc:picChg chg="mod">
          <ac:chgData name="Joey Ray Zahr" userId="9150008f-b0d5-4c48-a0fe-8b032f63645f" providerId="ADAL" clId="{07880C7B-BEDA-4ECB-BB9C-300DDF054D79}" dt="2025-03-31T15:35:52.825" v="2213" actId="1076"/>
          <ac:picMkLst>
            <pc:docMk/>
            <pc:sldMk cId="4186388113" sldId="2159"/>
            <ac:picMk id="14" creationId="{6E343014-C0C7-5F2E-3DF2-8012BC55436E}"/>
          </ac:picMkLst>
        </pc:picChg>
      </pc:sldChg>
      <pc:sldChg chg="addSp modSp add mod">
        <pc:chgData name="Joey Ray Zahr" userId="9150008f-b0d5-4c48-a0fe-8b032f63645f" providerId="ADAL" clId="{07880C7B-BEDA-4ECB-BB9C-300DDF054D79}" dt="2025-03-25T23:46:49.404" v="1286" actId="207"/>
        <pc:sldMkLst>
          <pc:docMk/>
          <pc:sldMk cId="2997897987" sldId="2160"/>
        </pc:sldMkLst>
      </pc:sldChg>
      <pc:sldChg chg="mod modShow">
        <pc:chgData name="Joey Ray Zahr" userId="9150008f-b0d5-4c48-a0fe-8b032f63645f" providerId="ADAL" clId="{07880C7B-BEDA-4ECB-BB9C-300DDF054D79}" dt="2025-03-28T20:42:08.968" v="1351" actId="729"/>
        <pc:sldMkLst>
          <pc:docMk/>
          <pc:sldMk cId="4186388113" sldId="2161"/>
        </pc:sldMkLst>
      </pc:sldChg>
      <pc:sldChg chg="modSp add mod modShow">
        <pc:chgData name="Joey Ray Zahr" userId="9150008f-b0d5-4c48-a0fe-8b032f63645f" providerId="ADAL" clId="{07880C7B-BEDA-4ECB-BB9C-300DDF054D79}" dt="2025-03-28T20:42:08.968" v="1351" actId="729"/>
        <pc:sldMkLst>
          <pc:docMk/>
          <pc:sldMk cId="735920404" sldId="2162"/>
        </pc:sldMkLst>
      </pc:sldChg>
      <pc:sldChg chg="addSp modSp add mod modShow">
        <pc:chgData name="Joey Ray Zahr" userId="9150008f-b0d5-4c48-a0fe-8b032f63645f" providerId="ADAL" clId="{07880C7B-BEDA-4ECB-BB9C-300DDF054D79}" dt="2025-03-28T20:42:08.968" v="1351" actId="729"/>
        <pc:sldMkLst>
          <pc:docMk/>
          <pc:sldMk cId="4269998793" sldId="2163"/>
        </pc:sldMkLst>
      </pc:sldChg>
      <pc:sldChg chg="modSp add mod modShow">
        <pc:chgData name="Joey Ray Zahr" userId="9150008f-b0d5-4c48-a0fe-8b032f63645f" providerId="ADAL" clId="{07880C7B-BEDA-4ECB-BB9C-300DDF054D79}" dt="2025-03-28T20:42:08.968" v="1351" actId="729"/>
        <pc:sldMkLst>
          <pc:docMk/>
          <pc:sldMk cId="2198294914" sldId="2164"/>
        </pc:sldMkLst>
      </pc:sldChg>
      <pc:sldChg chg="modSp add mod modShow">
        <pc:chgData name="Joey Ray Zahr" userId="9150008f-b0d5-4c48-a0fe-8b032f63645f" providerId="ADAL" clId="{07880C7B-BEDA-4ECB-BB9C-300DDF054D79}" dt="2025-03-28T20:42:08.968" v="1351" actId="729"/>
        <pc:sldMkLst>
          <pc:docMk/>
          <pc:sldMk cId="2902376991" sldId="2165"/>
        </pc:sldMkLst>
      </pc:sldChg>
      <pc:sldChg chg="modSp add del mod ord modShow">
        <pc:chgData name="Joey Ray Zahr" userId="9150008f-b0d5-4c48-a0fe-8b032f63645f" providerId="ADAL" clId="{07880C7B-BEDA-4ECB-BB9C-300DDF054D79}" dt="2025-03-28T20:42:08.968" v="1351" actId="729"/>
        <pc:sldMkLst>
          <pc:docMk/>
          <pc:sldMk cId="2401639459" sldId="2166"/>
        </pc:sldMkLst>
      </pc:sldChg>
      <pc:sldChg chg="mod modShow">
        <pc:chgData name="Joey Ray Zahr" userId="9150008f-b0d5-4c48-a0fe-8b032f63645f" providerId="ADAL" clId="{07880C7B-BEDA-4ECB-BB9C-300DDF054D79}" dt="2025-03-28T20:42:08.968" v="1351" actId="729"/>
        <pc:sldMkLst>
          <pc:docMk/>
          <pc:sldMk cId="3634952081" sldId="2167"/>
        </pc:sldMkLst>
      </pc:sldChg>
      <pc:sldChg chg="modSp mod modShow">
        <pc:chgData name="Joey Ray Zahr" userId="9150008f-b0d5-4c48-a0fe-8b032f63645f" providerId="ADAL" clId="{07880C7B-BEDA-4ECB-BB9C-300DDF054D79}" dt="2025-03-28T20:42:08.968" v="1351" actId="729"/>
        <pc:sldMkLst>
          <pc:docMk/>
          <pc:sldMk cId="3761259953" sldId="2168"/>
        </pc:sldMkLst>
      </pc:sldChg>
      <pc:sldChg chg="addSp modSp">
        <pc:chgData name="Joey Ray Zahr" userId="9150008f-b0d5-4c48-a0fe-8b032f63645f" providerId="ADAL" clId="{07880C7B-BEDA-4ECB-BB9C-300DDF054D79}" dt="2025-04-01T15:31:44.185" v="2499"/>
        <pc:sldMkLst>
          <pc:docMk/>
          <pc:sldMk cId="1597446827" sldId="2169"/>
        </pc:sldMkLst>
        <pc:spChg chg="add mod">
          <ac:chgData name="Joey Ray Zahr" userId="9150008f-b0d5-4c48-a0fe-8b032f63645f" providerId="ADAL" clId="{07880C7B-BEDA-4ECB-BB9C-300DDF054D79}" dt="2025-04-01T15:31:44.185" v="2499"/>
          <ac:spMkLst>
            <pc:docMk/>
            <pc:sldMk cId="1597446827" sldId="2169"/>
            <ac:spMk id="3" creationId="{271D4C9E-29FA-4C67-62ED-F26BC6F365C9}"/>
          </ac:spMkLst>
        </pc:spChg>
        <pc:graphicFrameChg chg="mod">
          <ac:chgData name="Joey Ray Zahr" userId="9150008f-b0d5-4c48-a0fe-8b032f63645f" providerId="ADAL" clId="{07880C7B-BEDA-4ECB-BB9C-300DDF054D79}" dt="2025-04-01T15:30:06.263" v="2397" actId="692"/>
          <ac:graphicFrameMkLst>
            <pc:docMk/>
            <pc:sldMk cId="1597446827" sldId="2169"/>
            <ac:graphicFrameMk id="7" creationId="{114C8F58-CFE5-A3A3-CD3F-057CA571B4C4}"/>
          </ac:graphicFrameMkLst>
        </pc:graphicFrameChg>
      </pc:sldChg>
      <pc:sldChg chg="addSp delSp modSp mod">
        <pc:chgData name="Joey Ray Zahr" userId="9150008f-b0d5-4c48-a0fe-8b032f63645f" providerId="ADAL" clId="{07880C7B-BEDA-4ECB-BB9C-300DDF054D79}" dt="2025-04-02T02:23:49.042" v="4038"/>
        <pc:sldMkLst>
          <pc:docMk/>
          <pc:sldMk cId="711477750" sldId="2171"/>
        </pc:sldMkLst>
        <pc:spChg chg="add mod">
          <ac:chgData name="Joey Ray Zahr" userId="9150008f-b0d5-4c48-a0fe-8b032f63645f" providerId="ADAL" clId="{07880C7B-BEDA-4ECB-BB9C-300DDF054D79}" dt="2025-04-01T15:34:48.673" v="2860" actId="14100"/>
          <ac:spMkLst>
            <pc:docMk/>
            <pc:sldMk cId="711477750" sldId="2171"/>
            <ac:spMk id="2" creationId="{83FF17AA-CEBE-563E-1E40-AC09036B81ED}"/>
          </ac:spMkLst>
        </pc:spChg>
        <pc:spChg chg="add mod">
          <ac:chgData name="Joey Ray Zahr" userId="9150008f-b0d5-4c48-a0fe-8b032f63645f" providerId="ADAL" clId="{07880C7B-BEDA-4ECB-BB9C-300DDF054D79}" dt="2025-04-01T15:35:04.840" v="2906" actId="20577"/>
          <ac:spMkLst>
            <pc:docMk/>
            <pc:sldMk cId="711477750" sldId="2171"/>
            <ac:spMk id="3" creationId="{34D4DC26-C4AE-D995-B274-6D174CAE6912}"/>
          </ac:spMkLst>
        </pc:spChg>
        <pc:spChg chg="add del">
          <ac:chgData name="Joey Ray Zahr" userId="9150008f-b0d5-4c48-a0fe-8b032f63645f" providerId="ADAL" clId="{07880C7B-BEDA-4ECB-BB9C-300DDF054D79}" dt="2025-04-01T04:13:34.212" v="2226" actId="22"/>
          <ac:spMkLst>
            <pc:docMk/>
            <pc:sldMk cId="711477750" sldId="2171"/>
            <ac:spMk id="3" creationId="{6387A109-5E7A-7F88-487F-398769035723}"/>
          </ac:spMkLst>
        </pc:spChg>
        <pc:spChg chg="add del">
          <ac:chgData name="Joey Ray Zahr" userId="9150008f-b0d5-4c48-a0fe-8b032f63645f" providerId="ADAL" clId="{07880C7B-BEDA-4ECB-BB9C-300DDF054D79}" dt="2025-04-01T04:13:36.296" v="2230" actId="22"/>
          <ac:spMkLst>
            <pc:docMk/>
            <pc:sldMk cId="711477750" sldId="2171"/>
            <ac:spMk id="5" creationId="{43A9DA0F-6CB5-93A0-101D-3E9AFD0CECC1}"/>
          </ac:spMkLst>
        </pc:spChg>
        <pc:spChg chg="mod">
          <ac:chgData name="Joey Ray Zahr" userId="9150008f-b0d5-4c48-a0fe-8b032f63645f" providerId="ADAL" clId="{07880C7B-BEDA-4ECB-BB9C-300DDF054D79}" dt="2025-04-01T04:13:30.710" v="2224" actId="27636"/>
          <ac:spMkLst>
            <pc:docMk/>
            <pc:sldMk cId="711477750" sldId="2171"/>
            <ac:spMk id="11" creationId="{51145143-1772-8369-34BF-3C97553124CB}"/>
          </ac:spMkLst>
        </pc:spChg>
        <pc:spChg chg="add mod">
          <ac:chgData name="Joey Ray Zahr" userId="9150008f-b0d5-4c48-a0fe-8b032f63645f" providerId="ADAL" clId="{07880C7B-BEDA-4ECB-BB9C-300DDF054D79}" dt="2025-04-01T04:14:05.622" v="2242" actId="1076"/>
          <ac:spMkLst>
            <pc:docMk/>
            <pc:sldMk cId="711477750" sldId="2171"/>
            <ac:spMk id="14" creationId="{22A882DD-9D5A-8C1F-A6CC-C455155995EC}"/>
          </ac:spMkLst>
        </pc:spChg>
        <pc:graphicFrameChg chg="modGraphic">
          <ac:chgData name="Joey Ray Zahr" userId="9150008f-b0d5-4c48-a0fe-8b032f63645f" providerId="ADAL" clId="{07880C7B-BEDA-4ECB-BB9C-300DDF054D79}" dt="2025-04-01T20:18:41.936" v="3733" actId="20577"/>
          <ac:graphicFrameMkLst>
            <pc:docMk/>
            <pc:sldMk cId="711477750" sldId="2171"/>
            <ac:graphicFrameMk id="23" creationId="{ADC48837-9FC4-2575-3981-AA5CE50FFC65}"/>
          </ac:graphicFrameMkLst>
        </pc:graphicFrameChg>
        <pc:graphicFrameChg chg="mod">
          <ac:chgData name="Joey Ray Zahr" userId="9150008f-b0d5-4c48-a0fe-8b032f63645f" providerId="ADAL" clId="{07880C7B-BEDA-4ECB-BB9C-300DDF054D79}" dt="2025-04-02T02:23:49.042" v="4038"/>
          <ac:graphicFrameMkLst>
            <pc:docMk/>
            <pc:sldMk cId="711477750" sldId="2171"/>
            <ac:graphicFrameMk id="24" creationId="{D7F9D7AB-2F2D-543A-C370-04DABB7E841F}"/>
          </ac:graphicFrameMkLst>
        </pc:graphicFrameChg>
      </pc:sldChg>
      <pc:sldChg chg="addSp modSp mod ord">
        <pc:chgData name="Joey Ray Zahr" userId="9150008f-b0d5-4c48-a0fe-8b032f63645f" providerId="ADAL" clId="{07880C7B-BEDA-4ECB-BB9C-300DDF054D79}" dt="2025-04-02T03:43:02.682" v="5221"/>
        <pc:sldMkLst>
          <pc:docMk/>
          <pc:sldMk cId="2071243324" sldId="2172"/>
        </pc:sldMkLst>
        <pc:spChg chg="add mod">
          <ac:chgData name="Joey Ray Zahr" userId="9150008f-b0d5-4c48-a0fe-8b032f63645f" providerId="ADAL" clId="{07880C7B-BEDA-4ECB-BB9C-300DDF054D79}" dt="2025-04-01T15:40:28.189" v="3699" actId="20577"/>
          <ac:spMkLst>
            <pc:docMk/>
            <pc:sldMk cId="2071243324" sldId="2172"/>
            <ac:spMk id="2" creationId="{E8AED278-D363-810D-3909-BAE0D38F99C1}"/>
          </ac:spMkLst>
        </pc:spChg>
        <pc:spChg chg="add mod">
          <ac:chgData name="Joey Ray Zahr" userId="9150008f-b0d5-4c48-a0fe-8b032f63645f" providerId="ADAL" clId="{07880C7B-BEDA-4ECB-BB9C-300DDF054D79}" dt="2025-04-01T15:40:02.694" v="3636" actId="1076"/>
          <ac:spMkLst>
            <pc:docMk/>
            <pc:sldMk cId="2071243324" sldId="2172"/>
            <ac:spMk id="3" creationId="{D3C777A1-005A-0343-4DB9-BABBF02F1F6F}"/>
          </ac:spMkLst>
        </pc:spChg>
        <pc:spChg chg="add mod">
          <ac:chgData name="Joey Ray Zahr" userId="9150008f-b0d5-4c48-a0fe-8b032f63645f" providerId="ADAL" clId="{07880C7B-BEDA-4ECB-BB9C-300DDF054D79}" dt="2025-04-01T15:40:04.122" v="3637" actId="1076"/>
          <ac:spMkLst>
            <pc:docMk/>
            <pc:sldMk cId="2071243324" sldId="2172"/>
            <ac:spMk id="5" creationId="{8EAC536C-89E8-7202-B801-84241120DF7F}"/>
          </ac:spMkLst>
        </pc:spChg>
        <pc:spChg chg="add mod">
          <ac:chgData name="Joey Ray Zahr" userId="9150008f-b0d5-4c48-a0fe-8b032f63645f" providerId="ADAL" clId="{07880C7B-BEDA-4ECB-BB9C-300DDF054D79}" dt="2025-04-01T15:39:59.896" v="3634" actId="1076"/>
          <ac:spMkLst>
            <pc:docMk/>
            <pc:sldMk cId="2071243324" sldId="2172"/>
            <ac:spMk id="7" creationId="{D347F0FF-0B3B-C0A6-C542-D4DE62CC950C}"/>
          </ac:spMkLst>
        </pc:spChg>
      </pc:sldChg>
      <pc:sldChg chg="addSp delSp modSp mod">
        <pc:chgData name="Joey Ray Zahr" userId="9150008f-b0d5-4c48-a0fe-8b032f63645f" providerId="ADAL" clId="{07880C7B-BEDA-4ECB-BB9C-300DDF054D79}" dt="2025-04-02T03:09:59.917" v="4602" actId="20577"/>
        <pc:sldMkLst>
          <pc:docMk/>
          <pc:sldMk cId="99878240" sldId="2174"/>
        </pc:sldMkLst>
        <pc:spChg chg="add mod">
          <ac:chgData name="Joey Ray Zahr" userId="9150008f-b0d5-4c48-a0fe-8b032f63645f" providerId="ADAL" clId="{07880C7B-BEDA-4ECB-BB9C-300DDF054D79}" dt="2025-04-01T15:35:19.144" v="2923" actId="20577"/>
          <ac:spMkLst>
            <pc:docMk/>
            <pc:sldMk cId="99878240" sldId="2174"/>
            <ac:spMk id="4" creationId="{DD2D97B0-1A3F-9E4A-8241-B88761663ACA}"/>
          </ac:spMkLst>
        </pc:spChg>
        <pc:spChg chg="add mod">
          <ac:chgData name="Joey Ray Zahr" userId="9150008f-b0d5-4c48-a0fe-8b032f63645f" providerId="ADAL" clId="{07880C7B-BEDA-4ECB-BB9C-300DDF054D79}" dt="2025-04-01T15:35:22.624" v="2925" actId="1076"/>
          <ac:spMkLst>
            <pc:docMk/>
            <pc:sldMk cId="99878240" sldId="2174"/>
            <ac:spMk id="5" creationId="{0FF2D5DE-20EA-DB93-6869-218BCF459B60}"/>
          </ac:spMkLst>
        </pc:spChg>
        <pc:spChg chg="add del mod">
          <ac:chgData name="Joey Ray Zahr" userId="9150008f-b0d5-4c48-a0fe-8b032f63645f" providerId="ADAL" clId="{07880C7B-BEDA-4ECB-BB9C-300DDF054D79}" dt="2025-04-02T03:09:26.870" v="4597"/>
          <ac:spMkLst>
            <pc:docMk/>
            <pc:sldMk cId="99878240" sldId="2174"/>
            <ac:spMk id="5" creationId="{79F9931C-01E5-8E1F-ADDD-824FA5EFD3DF}"/>
          </ac:spMkLst>
        </pc:spChg>
        <pc:spChg chg="del">
          <ac:chgData name="Joey Ray Zahr" userId="9150008f-b0d5-4c48-a0fe-8b032f63645f" providerId="ADAL" clId="{07880C7B-BEDA-4ECB-BB9C-300DDF054D79}" dt="2025-04-02T03:03:47.434" v="4580" actId="478"/>
          <ac:spMkLst>
            <pc:docMk/>
            <pc:sldMk cId="99878240" sldId="2174"/>
            <ac:spMk id="21" creationId="{9F5E52A2-E693-5C3B-95EF-EF207888DA50}"/>
          </ac:spMkLst>
        </pc:spChg>
        <pc:graphicFrameChg chg="add mod">
          <ac:chgData name="Joey Ray Zahr" userId="9150008f-b0d5-4c48-a0fe-8b032f63645f" providerId="ADAL" clId="{07880C7B-BEDA-4ECB-BB9C-300DDF054D79}" dt="2025-04-02T03:09:26.762" v="4596"/>
          <ac:graphicFrameMkLst>
            <pc:docMk/>
            <pc:sldMk cId="99878240" sldId="2174"/>
            <ac:graphicFrameMk id="8" creationId="{AD569EA8-321D-6676-BB0A-C716B82BC45E}"/>
          </ac:graphicFrameMkLst>
        </pc:graphicFrameChg>
        <pc:graphicFrameChg chg="add mod modGraphic">
          <ac:chgData name="Joey Ray Zahr" userId="9150008f-b0d5-4c48-a0fe-8b032f63645f" providerId="ADAL" clId="{07880C7B-BEDA-4ECB-BB9C-300DDF054D79}" dt="2025-04-02T03:09:59.917" v="4602" actId="20577"/>
          <ac:graphicFrameMkLst>
            <pc:docMk/>
            <pc:sldMk cId="99878240" sldId="2174"/>
            <ac:graphicFrameMk id="11" creationId="{9772BE50-50D6-397F-7C7F-5584CDAAAA5F}"/>
          </ac:graphicFrameMkLst>
        </pc:graphicFrameChg>
        <pc:graphicFrameChg chg="modGraphic">
          <ac:chgData name="Joey Ray Zahr" userId="9150008f-b0d5-4c48-a0fe-8b032f63645f" providerId="ADAL" clId="{07880C7B-BEDA-4ECB-BB9C-300DDF054D79}" dt="2025-04-02T03:03:37.026" v="4579" actId="6549"/>
          <ac:graphicFrameMkLst>
            <pc:docMk/>
            <pc:sldMk cId="99878240" sldId="2174"/>
            <ac:graphicFrameMk id="14" creationId="{7416FF9B-981D-91CC-5F75-047BA5E574BB}"/>
          </ac:graphicFrameMkLst>
        </pc:graphicFrameChg>
        <pc:graphicFrameChg chg="modGraphic">
          <ac:chgData name="Joey Ray Zahr" userId="9150008f-b0d5-4c48-a0fe-8b032f63645f" providerId="ADAL" clId="{07880C7B-BEDA-4ECB-BB9C-300DDF054D79}" dt="2025-04-02T02:28:02.418" v="4059" actId="242"/>
          <ac:graphicFrameMkLst>
            <pc:docMk/>
            <pc:sldMk cId="99878240" sldId="2174"/>
            <ac:graphicFrameMk id="19" creationId="{13859A5B-7537-8969-C37D-60AC46A8A97C}"/>
          </ac:graphicFrameMkLst>
        </pc:graphicFrameChg>
        <pc:graphicFrameChg chg="del">
          <ac:chgData name="Joey Ray Zahr" userId="9150008f-b0d5-4c48-a0fe-8b032f63645f" providerId="ADAL" clId="{07880C7B-BEDA-4ECB-BB9C-300DDF054D79}" dt="2025-04-02T03:09:16.775" v="4594" actId="478"/>
          <ac:graphicFrameMkLst>
            <pc:docMk/>
            <pc:sldMk cId="99878240" sldId="2174"/>
            <ac:graphicFrameMk id="23" creationId="{C46BD306-73FE-2512-DC7F-65F8D063D6B9}"/>
          </ac:graphicFrameMkLst>
        </pc:graphicFrameChg>
      </pc:sldChg>
      <pc:sldChg chg="modSp mod">
        <pc:chgData name="Joey Ray Zahr" userId="9150008f-b0d5-4c48-a0fe-8b032f63645f" providerId="ADAL" clId="{07880C7B-BEDA-4ECB-BB9C-300DDF054D79}" dt="2025-04-01T05:26:32.615" v="2356" actId="20577"/>
        <pc:sldMkLst>
          <pc:docMk/>
          <pc:sldMk cId="2597588365" sldId="2177"/>
        </pc:sldMkLst>
        <pc:spChg chg="mod">
          <ac:chgData name="Joey Ray Zahr" userId="9150008f-b0d5-4c48-a0fe-8b032f63645f" providerId="ADAL" clId="{07880C7B-BEDA-4ECB-BB9C-300DDF054D79}" dt="2025-04-01T05:26:32.615" v="2356" actId="20577"/>
          <ac:spMkLst>
            <pc:docMk/>
            <pc:sldMk cId="2597588365" sldId="2177"/>
            <ac:spMk id="9" creationId="{D4747B61-57F0-6791-449F-EB707D7088F3}"/>
          </ac:spMkLst>
        </pc:spChg>
        <pc:spChg chg="mod">
          <ac:chgData name="Joey Ray Zahr" userId="9150008f-b0d5-4c48-a0fe-8b032f63645f" providerId="ADAL" clId="{07880C7B-BEDA-4ECB-BB9C-300DDF054D79}" dt="2025-03-30T22:43:05.162" v="2069" actId="20577"/>
          <ac:spMkLst>
            <pc:docMk/>
            <pc:sldMk cId="2597588365" sldId="2177"/>
            <ac:spMk id="10" creationId="{45AE702E-CE87-32EE-F936-8D53756ABDCD}"/>
          </ac:spMkLst>
        </pc:spChg>
      </pc:sldChg>
      <pc:sldChg chg="addSp delSp modSp add del mod">
        <pc:chgData name="Joey Ray Zahr" userId="9150008f-b0d5-4c48-a0fe-8b032f63645f" providerId="ADAL" clId="{07880C7B-BEDA-4ECB-BB9C-300DDF054D79}" dt="2025-03-30T17:41:14.972" v="1854" actId="47"/>
        <pc:sldMkLst>
          <pc:docMk/>
          <pc:sldMk cId="3810986052" sldId="2182"/>
        </pc:sldMkLst>
      </pc:sldChg>
      <pc:sldChg chg="add del">
        <pc:chgData name="Joey Ray Zahr" userId="9150008f-b0d5-4c48-a0fe-8b032f63645f" providerId="ADAL" clId="{07880C7B-BEDA-4ECB-BB9C-300DDF054D79}" dt="2025-03-30T17:40:51.680" v="1853" actId="47"/>
        <pc:sldMkLst>
          <pc:docMk/>
          <pc:sldMk cId="1182627465" sldId="2183"/>
        </pc:sldMkLst>
      </pc:sldChg>
      <pc:sldChg chg="add del">
        <pc:chgData name="Joey Ray Zahr" userId="9150008f-b0d5-4c48-a0fe-8b032f63645f" providerId="ADAL" clId="{07880C7B-BEDA-4ECB-BB9C-300DDF054D79}" dt="2025-03-30T17:40:49.339" v="1852" actId="47"/>
        <pc:sldMkLst>
          <pc:docMk/>
          <pc:sldMk cId="4070640949" sldId="2184"/>
        </pc:sldMkLst>
      </pc:sldChg>
      <pc:sldChg chg="add del">
        <pc:chgData name="Joey Ray Zahr" userId="9150008f-b0d5-4c48-a0fe-8b032f63645f" providerId="ADAL" clId="{07880C7B-BEDA-4ECB-BB9C-300DDF054D79}" dt="2025-03-30T17:40:47.249" v="1851" actId="47"/>
        <pc:sldMkLst>
          <pc:docMk/>
          <pc:sldMk cId="3535183631" sldId="2185"/>
        </pc:sldMkLst>
      </pc:sldChg>
      <pc:sldChg chg="add del">
        <pc:chgData name="Joey Ray Zahr" userId="9150008f-b0d5-4c48-a0fe-8b032f63645f" providerId="ADAL" clId="{07880C7B-BEDA-4ECB-BB9C-300DDF054D79}" dt="2025-03-30T17:40:45.619" v="1850" actId="47"/>
        <pc:sldMkLst>
          <pc:docMk/>
          <pc:sldMk cId="2791974272" sldId="2186"/>
        </pc:sldMkLst>
      </pc:sldChg>
      <pc:sldChg chg="add del">
        <pc:chgData name="Joey Ray Zahr" userId="9150008f-b0d5-4c48-a0fe-8b032f63645f" providerId="ADAL" clId="{07880C7B-BEDA-4ECB-BB9C-300DDF054D79}" dt="2025-03-30T17:40:44.691" v="1849" actId="47"/>
        <pc:sldMkLst>
          <pc:docMk/>
          <pc:sldMk cId="2593502007" sldId="2187"/>
        </pc:sldMkLst>
      </pc:sldChg>
      <pc:sldChg chg="add">
        <pc:chgData name="Joey Ray Zahr" userId="9150008f-b0d5-4c48-a0fe-8b032f63645f" providerId="ADAL" clId="{07880C7B-BEDA-4ECB-BB9C-300DDF054D79}" dt="2025-03-29T17:13:08.532" v="1844"/>
        <pc:sldMkLst>
          <pc:docMk/>
          <pc:sldMk cId="2659664152" sldId="2188"/>
        </pc:sldMkLst>
      </pc:sldChg>
      <pc:sldChg chg="add">
        <pc:chgData name="Joey Ray Zahr" userId="9150008f-b0d5-4c48-a0fe-8b032f63645f" providerId="ADAL" clId="{07880C7B-BEDA-4ECB-BB9C-300DDF054D79}" dt="2025-03-29T17:13:10.112" v="1845"/>
        <pc:sldMkLst>
          <pc:docMk/>
          <pc:sldMk cId="12544497" sldId="2189"/>
        </pc:sldMkLst>
      </pc:sldChg>
      <pc:sldChg chg="add del">
        <pc:chgData name="Joey Ray Zahr" userId="9150008f-b0d5-4c48-a0fe-8b032f63645f" providerId="ADAL" clId="{07880C7B-BEDA-4ECB-BB9C-300DDF054D79}" dt="2025-03-30T17:40:19.773" v="1847" actId="47"/>
        <pc:sldMkLst>
          <pc:docMk/>
          <pc:sldMk cId="833649747" sldId="2190"/>
        </pc:sldMkLst>
      </pc:sldChg>
      <pc:sldChg chg="del">
        <pc:chgData name="Joey Ray Zahr" userId="9150008f-b0d5-4c48-a0fe-8b032f63645f" providerId="ADAL" clId="{07880C7B-BEDA-4ECB-BB9C-300DDF054D79}" dt="2025-03-30T17:40:24.671" v="1848" actId="47"/>
        <pc:sldMkLst>
          <pc:docMk/>
          <pc:sldMk cId="2569525770" sldId="2191"/>
        </pc:sldMkLst>
      </pc:sldChg>
      <pc:sldChg chg="addSp modSp mod">
        <pc:chgData name="Joey Ray Zahr" userId="9150008f-b0d5-4c48-a0fe-8b032f63645f" providerId="ADAL" clId="{07880C7B-BEDA-4ECB-BB9C-300DDF054D79}" dt="2025-04-01T15:33:11.559" v="2612" actId="20577"/>
        <pc:sldMkLst>
          <pc:docMk/>
          <pc:sldMk cId="3476286386" sldId="2192"/>
        </pc:sldMkLst>
        <pc:spChg chg="add mod">
          <ac:chgData name="Joey Ray Zahr" userId="9150008f-b0d5-4c48-a0fe-8b032f63645f" providerId="ADAL" clId="{07880C7B-BEDA-4ECB-BB9C-300DDF054D79}" dt="2025-04-01T15:33:11.559" v="2612" actId="20577"/>
          <ac:spMkLst>
            <pc:docMk/>
            <pc:sldMk cId="3476286386" sldId="2192"/>
            <ac:spMk id="2" creationId="{72E1E79C-90BC-9566-7975-44C16E947445}"/>
          </ac:spMkLst>
        </pc:spChg>
      </pc:sldChg>
      <pc:sldChg chg="modSp mod">
        <pc:chgData name="Joey Ray Zahr" userId="9150008f-b0d5-4c48-a0fe-8b032f63645f" providerId="ADAL" clId="{07880C7B-BEDA-4ECB-BB9C-300DDF054D79}" dt="2025-03-30T17:59:20.424" v="2068" actId="1076"/>
        <pc:sldMkLst>
          <pc:docMk/>
          <pc:sldMk cId="2401392241" sldId="2193"/>
        </pc:sldMkLst>
      </pc:sldChg>
      <pc:sldChg chg="del">
        <pc:chgData name="Joey Ray Zahr" userId="9150008f-b0d5-4c48-a0fe-8b032f63645f" providerId="ADAL" clId="{07880C7B-BEDA-4ECB-BB9C-300DDF054D79}" dt="2025-04-02T03:43:09.167" v="5222" actId="47"/>
        <pc:sldMkLst>
          <pc:docMk/>
          <pc:sldMk cId="580168930" sldId="2197"/>
        </pc:sldMkLst>
      </pc:sldChg>
      <pc:sldChg chg="del">
        <pc:chgData name="Joey Ray Zahr" userId="9150008f-b0d5-4c48-a0fe-8b032f63645f" providerId="ADAL" clId="{07880C7B-BEDA-4ECB-BB9C-300DDF054D79}" dt="2025-04-02T03:43:09.735" v="5223" actId="47"/>
        <pc:sldMkLst>
          <pc:docMk/>
          <pc:sldMk cId="804543693" sldId="2198"/>
        </pc:sldMkLst>
      </pc:sldChg>
      <pc:sldChg chg="del">
        <pc:chgData name="Joey Ray Zahr" userId="9150008f-b0d5-4c48-a0fe-8b032f63645f" providerId="ADAL" clId="{07880C7B-BEDA-4ECB-BB9C-300DDF054D79}" dt="2025-04-02T03:43:10.360" v="5224" actId="47"/>
        <pc:sldMkLst>
          <pc:docMk/>
          <pc:sldMk cId="3347741321" sldId="2199"/>
        </pc:sldMkLst>
      </pc:sldChg>
      <pc:sldChg chg="modSp mod">
        <pc:chgData name="Joey Ray Zahr" userId="9150008f-b0d5-4c48-a0fe-8b032f63645f" providerId="ADAL" clId="{07880C7B-BEDA-4ECB-BB9C-300DDF054D79}" dt="2025-04-02T03:52:48.883" v="5272" actId="14100"/>
        <pc:sldMkLst>
          <pc:docMk/>
          <pc:sldMk cId="2575535093" sldId="2201"/>
        </pc:sldMkLst>
        <pc:spChg chg="mod">
          <ac:chgData name="Joey Ray Zahr" userId="9150008f-b0d5-4c48-a0fe-8b032f63645f" providerId="ADAL" clId="{07880C7B-BEDA-4ECB-BB9C-300DDF054D79}" dt="2025-03-30T23:09:32.504" v="2110" actId="20577"/>
          <ac:spMkLst>
            <pc:docMk/>
            <pc:sldMk cId="2575535093" sldId="2201"/>
            <ac:spMk id="2" creationId="{915B47A2-E8C6-9C96-C96C-601DA40FE274}"/>
          </ac:spMkLst>
        </pc:spChg>
        <pc:spChg chg="mod">
          <ac:chgData name="Joey Ray Zahr" userId="9150008f-b0d5-4c48-a0fe-8b032f63645f" providerId="ADAL" clId="{07880C7B-BEDA-4ECB-BB9C-300DDF054D79}" dt="2025-04-01T05:26:11.394" v="2354" actId="3626"/>
          <ac:spMkLst>
            <pc:docMk/>
            <pc:sldMk cId="2575535093" sldId="2201"/>
            <ac:spMk id="18" creationId="{2759D637-E8DB-EAB5-756C-DF97CA2B2BAC}"/>
          </ac:spMkLst>
        </pc:spChg>
        <pc:spChg chg="mod">
          <ac:chgData name="Joey Ray Zahr" userId="9150008f-b0d5-4c48-a0fe-8b032f63645f" providerId="ADAL" clId="{07880C7B-BEDA-4ECB-BB9C-300DDF054D79}" dt="2025-04-02T03:52:48.883" v="5272" actId="14100"/>
          <ac:spMkLst>
            <pc:docMk/>
            <pc:sldMk cId="2575535093" sldId="2201"/>
            <ac:spMk id="29" creationId="{740AAE53-17B5-5B01-4A9D-DB73A4479027}"/>
          </ac:spMkLst>
        </pc:spChg>
      </pc:sldChg>
      <pc:sldChg chg="modSp mod">
        <pc:chgData name="Joey Ray Zahr" userId="9150008f-b0d5-4c48-a0fe-8b032f63645f" providerId="ADAL" clId="{07880C7B-BEDA-4ECB-BB9C-300DDF054D79}" dt="2025-04-01T18:28:33.620" v="3709" actId="1076"/>
        <pc:sldMkLst>
          <pc:docMk/>
          <pc:sldMk cId="2803849648" sldId="2202"/>
        </pc:sldMkLst>
        <pc:spChg chg="mod">
          <ac:chgData name="Joey Ray Zahr" userId="9150008f-b0d5-4c48-a0fe-8b032f63645f" providerId="ADAL" clId="{07880C7B-BEDA-4ECB-BB9C-300DDF054D79}" dt="2025-03-30T23:09:35.854" v="2115" actId="20577"/>
          <ac:spMkLst>
            <pc:docMk/>
            <pc:sldMk cId="2803849648" sldId="2202"/>
            <ac:spMk id="2" creationId="{F1BFEAB8-2BA7-551C-D37A-2BBC822209EE}"/>
          </ac:spMkLst>
        </pc:spChg>
        <pc:spChg chg="mod">
          <ac:chgData name="Joey Ray Zahr" userId="9150008f-b0d5-4c48-a0fe-8b032f63645f" providerId="ADAL" clId="{07880C7B-BEDA-4ECB-BB9C-300DDF054D79}" dt="2025-04-01T18:28:33.620" v="3709" actId="1076"/>
          <ac:spMkLst>
            <pc:docMk/>
            <pc:sldMk cId="2803849648" sldId="2202"/>
            <ac:spMk id="29" creationId="{01CC332E-6A23-402B-3FDF-B5E049F7B477}"/>
          </ac:spMkLst>
        </pc:spChg>
      </pc:sldChg>
      <pc:sldChg chg="addSp delSp modSp mod">
        <pc:chgData name="Joey Ray Zahr" userId="9150008f-b0d5-4c48-a0fe-8b032f63645f" providerId="ADAL" clId="{07880C7B-BEDA-4ECB-BB9C-300DDF054D79}" dt="2025-04-01T18:29:05.660" v="3711"/>
        <pc:sldMkLst>
          <pc:docMk/>
          <pc:sldMk cId="807869692" sldId="2203"/>
        </pc:sldMkLst>
        <pc:spChg chg="mod">
          <ac:chgData name="Joey Ray Zahr" userId="9150008f-b0d5-4c48-a0fe-8b032f63645f" providerId="ADAL" clId="{07880C7B-BEDA-4ECB-BB9C-300DDF054D79}" dt="2025-04-01T18:27:55.356" v="3706" actId="1076"/>
          <ac:spMkLst>
            <pc:docMk/>
            <pc:sldMk cId="807869692" sldId="2203"/>
            <ac:spMk id="8" creationId="{24A69260-365A-3CFF-8012-F04485BE3E11}"/>
          </ac:spMkLst>
        </pc:spChg>
        <pc:spChg chg="mod">
          <ac:chgData name="Joey Ray Zahr" userId="9150008f-b0d5-4c48-a0fe-8b032f63645f" providerId="ADAL" clId="{07880C7B-BEDA-4ECB-BB9C-300DDF054D79}" dt="2025-03-30T17:45:07.062" v="2049" actId="20577"/>
          <ac:spMkLst>
            <pc:docMk/>
            <pc:sldMk cId="807869692" sldId="2203"/>
            <ac:spMk id="9" creationId="{F542ECCE-A83B-AAB2-AC65-87E030490D1B}"/>
          </ac:spMkLst>
        </pc:spChg>
        <pc:spChg chg="mod">
          <ac:chgData name="Joey Ray Zahr" userId="9150008f-b0d5-4c48-a0fe-8b032f63645f" providerId="ADAL" clId="{07880C7B-BEDA-4ECB-BB9C-300DDF054D79}" dt="2025-04-01T18:29:05.660" v="3711"/>
          <ac:spMkLst>
            <pc:docMk/>
            <pc:sldMk cId="807869692" sldId="2203"/>
            <ac:spMk id="10" creationId="{4EAE832B-7247-C0F5-CF47-46688B1042EB}"/>
          </ac:spMkLst>
        </pc:spChg>
        <pc:spChg chg="mod">
          <ac:chgData name="Joey Ray Zahr" userId="9150008f-b0d5-4c48-a0fe-8b032f63645f" providerId="ADAL" clId="{07880C7B-BEDA-4ECB-BB9C-300DDF054D79}" dt="2025-04-01T05:25:46.866" v="2353" actId="113"/>
          <ac:spMkLst>
            <pc:docMk/>
            <pc:sldMk cId="807869692" sldId="2203"/>
            <ac:spMk id="22" creationId="{E745D303-A7E0-CA5A-0AB7-FB048C7FC792}"/>
          </ac:spMkLst>
        </pc:spChg>
        <pc:picChg chg="mod">
          <ac:chgData name="Joey Ray Zahr" userId="9150008f-b0d5-4c48-a0fe-8b032f63645f" providerId="ADAL" clId="{07880C7B-BEDA-4ECB-BB9C-300DDF054D79}" dt="2025-04-01T05:25:24.939" v="2323" actId="1076"/>
          <ac:picMkLst>
            <pc:docMk/>
            <pc:sldMk cId="807869692" sldId="2203"/>
            <ac:picMk id="3" creationId="{8A2497F6-054F-DDF1-669B-85D48342C8CD}"/>
          </ac:picMkLst>
        </pc:picChg>
        <pc:picChg chg="mod">
          <ac:chgData name="Joey Ray Zahr" userId="9150008f-b0d5-4c48-a0fe-8b032f63645f" providerId="ADAL" clId="{07880C7B-BEDA-4ECB-BB9C-300DDF054D79}" dt="2025-04-01T05:25:30.999" v="2324" actId="688"/>
          <ac:picMkLst>
            <pc:docMk/>
            <pc:sldMk cId="807869692" sldId="2203"/>
            <ac:picMk id="11" creationId="{4A69B9F8-E912-BE69-AE07-D416C0950BCE}"/>
          </ac:picMkLst>
        </pc:picChg>
        <pc:picChg chg="mod modCrop">
          <ac:chgData name="Joey Ray Zahr" userId="9150008f-b0d5-4c48-a0fe-8b032f63645f" providerId="ADAL" clId="{07880C7B-BEDA-4ECB-BB9C-300DDF054D79}" dt="2025-03-30T17:44:35.979" v="2026" actId="18131"/>
          <ac:picMkLst>
            <pc:docMk/>
            <pc:sldMk cId="807869692" sldId="2203"/>
            <ac:picMk id="12" creationId="{0AD480C2-D3C0-7237-651C-49E05721BE00}"/>
          </ac:picMkLst>
        </pc:picChg>
      </pc:sldChg>
      <pc:sldChg chg="modSp mod">
        <pc:chgData name="Joey Ray Zahr" userId="9150008f-b0d5-4c48-a0fe-8b032f63645f" providerId="ADAL" clId="{07880C7B-BEDA-4ECB-BB9C-300DDF054D79}" dt="2025-03-30T17:46:04.289" v="2053" actId="1076"/>
        <pc:sldMkLst>
          <pc:docMk/>
          <pc:sldMk cId="1016083001" sldId="2204"/>
        </pc:sldMkLst>
      </pc:sldChg>
      <pc:sldChg chg="modSp">
        <pc:chgData name="Joey Ray Zahr" userId="9150008f-b0d5-4c48-a0fe-8b032f63645f" providerId="ADAL" clId="{07880C7B-BEDA-4ECB-BB9C-300DDF054D79}" dt="2025-03-30T23:09:15.846" v="2105" actId="1037"/>
        <pc:sldMkLst>
          <pc:docMk/>
          <pc:sldMk cId="2791576213" sldId="2205"/>
        </pc:sldMkLst>
      </pc:sldChg>
      <pc:sldChg chg="modSp mod">
        <pc:chgData name="Joey Ray Zahr" userId="9150008f-b0d5-4c48-a0fe-8b032f63645f" providerId="ADAL" clId="{07880C7B-BEDA-4ECB-BB9C-300DDF054D79}" dt="2025-04-02T03:44:57.387" v="5261" actId="20577"/>
        <pc:sldMkLst>
          <pc:docMk/>
          <pc:sldMk cId="2512498619" sldId="2209"/>
        </pc:sldMkLst>
        <pc:spChg chg="mod">
          <ac:chgData name="Joey Ray Zahr" userId="9150008f-b0d5-4c48-a0fe-8b032f63645f" providerId="ADAL" clId="{07880C7B-BEDA-4ECB-BB9C-300DDF054D79}" dt="2025-04-02T03:44:57.387" v="5261" actId="20577"/>
          <ac:spMkLst>
            <pc:docMk/>
            <pc:sldMk cId="2512498619" sldId="2209"/>
            <ac:spMk id="2" creationId="{6CD34B8B-69FF-F4D1-FDDD-531BBF3C03AC}"/>
          </ac:spMkLst>
        </pc:spChg>
      </pc:sldChg>
      <pc:sldChg chg="addSp delSp modSp add mod setBg modClrScheme chgLayout">
        <pc:chgData name="Joey Ray Zahr" userId="9150008f-b0d5-4c48-a0fe-8b032f63645f" providerId="ADAL" clId="{07880C7B-BEDA-4ECB-BB9C-300DDF054D79}" dt="2025-04-02T03:55:39.620" v="5298" actId="1076"/>
        <pc:sldMkLst>
          <pc:docMk/>
          <pc:sldMk cId="769096934" sldId="2210"/>
        </pc:sldMkLst>
        <pc:spChg chg="add mod ord">
          <ac:chgData name="Joey Ray Zahr" userId="9150008f-b0d5-4c48-a0fe-8b032f63645f" providerId="ADAL" clId="{07880C7B-BEDA-4ECB-BB9C-300DDF054D79}" dt="2025-03-31T00:55:20.411" v="2123" actId="700"/>
          <ac:spMkLst>
            <pc:docMk/>
            <pc:sldMk cId="769096934" sldId="2210"/>
            <ac:spMk id="2" creationId="{7F6D4255-36F6-EB8D-BD32-F3EE6B6395AB}"/>
          </ac:spMkLst>
        </pc:spChg>
        <pc:spChg chg="mod ord">
          <ac:chgData name="Joey Ray Zahr" userId="9150008f-b0d5-4c48-a0fe-8b032f63645f" providerId="ADAL" clId="{07880C7B-BEDA-4ECB-BB9C-300DDF054D79}" dt="2025-03-31T00:56:02.775" v="2134" actId="207"/>
          <ac:spMkLst>
            <pc:docMk/>
            <pc:sldMk cId="769096934" sldId="2210"/>
            <ac:spMk id="4" creationId="{02B43A25-29E4-C991-1B53-F018B1F4A080}"/>
          </ac:spMkLst>
        </pc:spChg>
        <pc:spChg chg="add mod ord">
          <ac:chgData name="Joey Ray Zahr" userId="9150008f-b0d5-4c48-a0fe-8b032f63645f" providerId="ADAL" clId="{07880C7B-BEDA-4ECB-BB9C-300DDF054D79}" dt="2025-03-31T00:56:37.088" v="2162" actId="20577"/>
          <ac:spMkLst>
            <pc:docMk/>
            <pc:sldMk cId="769096934" sldId="2210"/>
            <ac:spMk id="5" creationId="{47BC75E3-0F85-611D-F545-879948E5A26B}"/>
          </ac:spMkLst>
        </pc:spChg>
        <pc:spChg chg="add mod">
          <ac:chgData name="Joey Ray Zahr" userId="9150008f-b0d5-4c48-a0fe-8b032f63645f" providerId="ADAL" clId="{07880C7B-BEDA-4ECB-BB9C-300DDF054D79}" dt="2025-03-31T00:59:01.532" v="2173" actId="1076"/>
          <ac:spMkLst>
            <pc:docMk/>
            <pc:sldMk cId="769096934" sldId="2210"/>
            <ac:spMk id="6" creationId="{4B7DB092-683D-6256-1958-DDA729BDCC59}"/>
          </ac:spMkLst>
        </pc:spChg>
        <pc:grpChg chg="mod">
          <ac:chgData name="Joey Ray Zahr" userId="9150008f-b0d5-4c48-a0fe-8b032f63645f" providerId="ADAL" clId="{07880C7B-BEDA-4ECB-BB9C-300DDF054D79}" dt="2025-04-02T03:55:39.620" v="5298" actId="1076"/>
          <ac:grpSpMkLst>
            <pc:docMk/>
            <pc:sldMk cId="769096934" sldId="2210"/>
            <ac:grpSpMk id="13" creationId="{EF8AB33B-733A-F81D-4C0B-46B9A69AAC71}"/>
          </ac:grpSpMkLst>
        </pc:grpChg>
      </pc:sldChg>
      <pc:sldChg chg="modSp mod">
        <pc:chgData name="Joey Ray Zahr" userId="9150008f-b0d5-4c48-a0fe-8b032f63645f" providerId="ADAL" clId="{07880C7B-BEDA-4ECB-BB9C-300DDF054D79}" dt="2025-04-01T20:03:56.704" v="3720" actId="1076"/>
        <pc:sldMkLst>
          <pc:docMk/>
          <pc:sldMk cId="3484494390" sldId="2211"/>
        </pc:sldMkLst>
        <pc:spChg chg="mod">
          <ac:chgData name="Joey Ray Zahr" userId="9150008f-b0d5-4c48-a0fe-8b032f63645f" providerId="ADAL" clId="{07880C7B-BEDA-4ECB-BB9C-300DDF054D79}" dt="2025-04-01T20:03:56.704" v="3720" actId="1076"/>
          <ac:spMkLst>
            <pc:docMk/>
            <pc:sldMk cId="3484494390" sldId="2211"/>
            <ac:spMk id="3" creationId="{1E6B2130-8DDA-E749-15F1-9164CFA88FED}"/>
          </ac:spMkLst>
        </pc:spChg>
        <pc:spChg chg="mod">
          <ac:chgData name="Joey Ray Zahr" userId="9150008f-b0d5-4c48-a0fe-8b032f63645f" providerId="ADAL" clId="{07880C7B-BEDA-4ECB-BB9C-300DDF054D79}" dt="2025-04-01T20:03:55.226" v="3719" actId="1076"/>
          <ac:spMkLst>
            <pc:docMk/>
            <pc:sldMk cId="3484494390" sldId="2211"/>
            <ac:spMk id="22" creationId="{AFB08BE9-37A5-DFC1-BCF7-42E26B1632A6}"/>
          </ac:spMkLst>
        </pc:spChg>
      </pc:sldChg>
      <pc:sldChg chg="modSp mod">
        <pc:chgData name="Joey Ray Zahr" userId="9150008f-b0d5-4c48-a0fe-8b032f63645f" providerId="ADAL" clId="{07880C7B-BEDA-4ECB-BB9C-300DDF054D79}" dt="2025-04-02T02:31:47.293" v="4064"/>
        <pc:sldMkLst>
          <pc:docMk/>
          <pc:sldMk cId="1933953106" sldId="2212"/>
        </pc:sldMkLst>
        <pc:graphicFrameChg chg="mod">
          <ac:chgData name="Joey Ray Zahr" userId="9150008f-b0d5-4c48-a0fe-8b032f63645f" providerId="ADAL" clId="{07880C7B-BEDA-4ECB-BB9C-300DDF054D79}" dt="2025-04-02T02:31:39.075" v="4062" actId="692"/>
          <ac:graphicFrameMkLst>
            <pc:docMk/>
            <pc:sldMk cId="1933953106" sldId="2212"/>
            <ac:graphicFrameMk id="6" creationId="{5378A142-CAE1-2C02-22B6-E7B40E0416E7}"/>
          </ac:graphicFrameMkLst>
        </pc:graphicFrameChg>
        <pc:graphicFrameChg chg="mod modGraphic">
          <ac:chgData name="Joey Ray Zahr" userId="9150008f-b0d5-4c48-a0fe-8b032f63645f" providerId="ADAL" clId="{07880C7B-BEDA-4ECB-BB9C-300DDF054D79}" dt="2025-04-02T02:31:47.293" v="4064"/>
          <ac:graphicFrameMkLst>
            <pc:docMk/>
            <pc:sldMk cId="1933953106" sldId="2212"/>
            <ac:graphicFrameMk id="9" creationId="{AF46ECF5-018E-1654-B717-6152176E90CC}"/>
          </ac:graphicFrameMkLst>
        </pc:graphicFrameChg>
      </pc:sldChg>
      <pc:sldChg chg="modSp mod">
        <pc:chgData name="Joey Ray Zahr" userId="9150008f-b0d5-4c48-a0fe-8b032f63645f" providerId="ADAL" clId="{07880C7B-BEDA-4ECB-BB9C-300DDF054D79}" dt="2025-03-31T03:14:51.530" v="2203" actId="14100"/>
        <pc:sldMkLst>
          <pc:docMk/>
          <pc:sldMk cId="3488532050" sldId="2214"/>
        </pc:sldMkLst>
      </pc:sldChg>
      <pc:sldChg chg="del">
        <pc:chgData name="Joey Ray Zahr" userId="9150008f-b0d5-4c48-a0fe-8b032f63645f" providerId="ADAL" clId="{07880C7B-BEDA-4ECB-BB9C-300DDF054D79}" dt="2025-04-01T18:33:30.183" v="3716" actId="47"/>
        <pc:sldMkLst>
          <pc:docMk/>
          <pc:sldMk cId="97822105" sldId="2217"/>
        </pc:sldMkLst>
      </pc:sldChg>
      <pc:sldChg chg="modSp mod">
        <pc:chgData name="Joey Ray Zahr" userId="9150008f-b0d5-4c48-a0fe-8b032f63645f" providerId="ADAL" clId="{07880C7B-BEDA-4ECB-BB9C-300DDF054D79}" dt="2025-04-01T04:19:47.908" v="2304" actId="1076"/>
        <pc:sldMkLst>
          <pc:docMk/>
          <pc:sldMk cId="1608393595" sldId="2219"/>
        </pc:sldMkLst>
        <pc:picChg chg="mod">
          <ac:chgData name="Joey Ray Zahr" userId="9150008f-b0d5-4c48-a0fe-8b032f63645f" providerId="ADAL" clId="{07880C7B-BEDA-4ECB-BB9C-300DDF054D79}" dt="2025-04-01T04:19:47.908" v="2304" actId="1076"/>
          <ac:picMkLst>
            <pc:docMk/>
            <pc:sldMk cId="1608393595" sldId="2219"/>
            <ac:picMk id="25" creationId="{EF25F85C-C10D-1329-0D3C-9D5CB4E788BB}"/>
          </ac:picMkLst>
        </pc:picChg>
      </pc:sldChg>
      <pc:sldChg chg="addSp modSp mod">
        <pc:chgData name="Joey Ray Zahr" userId="9150008f-b0d5-4c48-a0fe-8b032f63645f" providerId="ADAL" clId="{07880C7B-BEDA-4ECB-BB9C-300DDF054D79}" dt="2025-04-01T19:28:57.601" v="3717" actId="20577"/>
        <pc:sldMkLst>
          <pc:docMk/>
          <pc:sldMk cId="4021520181" sldId="2220"/>
        </pc:sldMkLst>
        <pc:spChg chg="add mod">
          <ac:chgData name="Joey Ray Zahr" userId="9150008f-b0d5-4c48-a0fe-8b032f63645f" providerId="ADAL" clId="{07880C7B-BEDA-4ECB-BB9C-300DDF054D79}" dt="2025-04-01T19:28:57.601" v="3717" actId="20577"/>
          <ac:spMkLst>
            <pc:docMk/>
            <pc:sldMk cId="4021520181" sldId="2220"/>
            <ac:spMk id="2" creationId="{85298412-EA5E-3107-2C4D-6FC88F2E536E}"/>
          </ac:spMkLst>
        </pc:spChg>
        <pc:graphicFrameChg chg="mod">
          <ac:chgData name="Joey Ray Zahr" userId="9150008f-b0d5-4c48-a0fe-8b032f63645f" providerId="ADAL" clId="{07880C7B-BEDA-4ECB-BB9C-300DDF054D79}" dt="2025-04-01T05:29:41.173" v="2378" actId="692"/>
          <ac:graphicFrameMkLst>
            <pc:docMk/>
            <pc:sldMk cId="4021520181" sldId="2220"/>
            <ac:graphicFrameMk id="15" creationId="{A0F5CAC2-5EFD-9B79-FC6F-0B7D90F92183}"/>
          </ac:graphicFrameMkLst>
        </pc:graphicFrameChg>
      </pc:sldChg>
      <pc:sldChg chg="modSp mod">
        <pc:chgData name="Joey Ray Zahr" userId="9150008f-b0d5-4c48-a0fe-8b032f63645f" providerId="ADAL" clId="{07880C7B-BEDA-4ECB-BB9C-300DDF054D79}" dt="2025-04-01T18:32:42.294" v="3715" actId="207"/>
        <pc:sldMkLst>
          <pc:docMk/>
          <pc:sldMk cId="2760829590" sldId="2221"/>
        </pc:sldMkLst>
        <pc:spChg chg="mod">
          <ac:chgData name="Joey Ray Zahr" userId="9150008f-b0d5-4c48-a0fe-8b032f63645f" providerId="ADAL" clId="{07880C7B-BEDA-4ECB-BB9C-300DDF054D79}" dt="2025-04-01T18:32:42.294" v="3715" actId="207"/>
          <ac:spMkLst>
            <pc:docMk/>
            <pc:sldMk cId="2760829590" sldId="2221"/>
            <ac:spMk id="15" creationId="{D8F4D551-121A-AD53-7EB9-4ED8FCB0193B}"/>
          </ac:spMkLst>
        </pc:spChg>
        <pc:picChg chg="mod">
          <ac:chgData name="Joey Ray Zahr" userId="9150008f-b0d5-4c48-a0fe-8b032f63645f" providerId="ADAL" clId="{07880C7B-BEDA-4ECB-BB9C-300DDF054D79}" dt="2025-04-01T18:32:04.792" v="3714" actId="1076"/>
          <ac:picMkLst>
            <pc:docMk/>
            <pc:sldMk cId="2760829590" sldId="2221"/>
            <ac:picMk id="7" creationId="{B107DC08-6476-2539-2F1D-FD0A8AE50D06}"/>
          </ac:picMkLst>
        </pc:picChg>
      </pc:sldChg>
      <pc:sldChg chg="addSp modSp ord">
        <pc:chgData name="Joey Ray Zahr" userId="9150008f-b0d5-4c48-a0fe-8b032f63645f" providerId="ADAL" clId="{07880C7B-BEDA-4ECB-BB9C-300DDF054D79}" dt="2025-04-02T03:41:53.760" v="5216"/>
        <pc:sldMkLst>
          <pc:docMk/>
          <pc:sldMk cId="3858565632" sldId="2222"/>
        </pc:sldMkLst>
        <pc:spChg chg="add mod">
          <ac:chgData name="Joey Ray Zahr" userId="9150008f-b0d5-4c48-a0fe-8b032f63645f" providerId="ADAL" clId="{07880C7B-BEDA-4ECB-BB9C-300DDF054D79}" dt="2025-04-01T15:31:57.574" v="2502"/>
          <ac:spMkLst>
            <pc:docMk/>
            <pc:sldMk cId="3858565632" sldId="2222"/>
            <ac:spMk id="2" creationId="{DFC238B4-3189-61B2-25B1-5333B53710D4}"/>
          </ac:spMkLst>
        </pc:spChg>
      </pc:sldChg>
      <pc:sldChg chg="modSp mod">
        <pc:chgData name="Joey Ray Zahr" userId="9150008f-b0d5-4c48-a0fe-8b032f63645f" providerId="ADAL" clId="{07880C7B-BEDA-4ECB-BB9C-300DDF054D79}" dt="2025-04-01T15:41:05.840" v="3701"/>
        <pc:sldMkLst>
          <pc:docMk/>
          <pc:sldMk cId="1295462071" sldId="2229"/>
        </pc:sldMkLst>
        <pc:spChg chg="mod">
          <ac:chgData name="Joey Ray Zahr" userId="9150008f-b0d5-4c48-a0fe-8b032f63645f" providerId="ADAL" clId="{07880C7B-BEDA-4ECB-BB9C-300DDF054D79}" dt="2025-04-01T04:15:48.952" v="2282" actId="404"/>
          <ac:spMkLst>
            <pc:docMk/>
            <pc:sldMk cId="1295462071" sldId="2229"/>
            <ac:spMk id="7" creationId="{B4529011-0E42-02D4-E3F9-0B066AB40722}"/>
          </ac:spMkLst>
        </pc:spChg>
        <pc:spChg chg="mod">
          <ac:chgData name="Joey Ray Zahr" userId="9150008f-b0d5-4c48-a0fe-8b032f63645f" providerId="ADAL" clId="{07880C7B-BEDA-4ECB-BB9C-300DDF054D79}" dt="2025-04-01T04:16:48.174" v="2300" actId="20577"/>
          <ac:spMkLst>
            <pc:docMk/>
            <pc:sldMk cId="1295462071" sldId="2229"/>
            <ac:spMk id="8" creationId="{52733E81-2DFB-59EF-603B-122C0658301F}"/>
          </ac:spMkLst>
        </pc:spChg>
        <pc:graphicFrameChg chg="mod modGraphic">
          <ac:chgData name="Joey Ray Zahr" userId="9150008f-b0d5-4c48-a0fe-8b032f63645f" providerId="ADAL" clId="{07880C7B-BEDA-4ECB-BB9C-300DDF054D79}" dt="2025-04-01T15:41:05.840" v="3701"/>
          <ac:graphicFrameMkLst>
            <pc:docMk/>
            <pc:sldMk cId="1295462071" sldId="2229"/>
            <ac:graphicFrameMk id="6" creationId="{90D84662-5365-3BF3-0454-4B139F8F04A8}"/>
          </ac:graphicFrameMkLst>
        </pc:graphicFrameChg>
      </pc:sldChg>
      <pc:sldChg chg="addSp delSp modSp mod">
        <pc:chgData name="Joey Ray Zahr" userId="9150008f-b0d5-4c48-a0fe-8b032f63645f" providerId="ADAL" clId="{07880C7B-BEDA-4ECB-BB9C-300DDF054D79}" dt="2025-04-02T03:34:10.682" v="5110" actId="20577"/>
        <pc:sldMkLst>
          <pc:docMk/>
          <pc:sldMk cId="3295877462" sldId="2230"/>
        </pc:sldMkLst>
        <pc:spChg chg="add mod">
          <ac:chgData name="Joey Ray Zahr" userId="9150008f-b0d5-4c48-a0fe-8b032f63645f" providerId="ADAL" clId="{07880C7B-BEDA-4ECB-BB9C-300DDF054D79}" dt="2025-04-01T23:34:59.329" v="4025" actId="1076"/>
          <ac:spMkLst>
            <pc:docMk/>
            <pc:sldMk cId="3295877462" sldId="2230"/>
            <ac:spMk id="5" creationId="{4AC930C9-DFFD-9E5D-0E0F-D73E5EA44CB7}"/>
          </ac:spMkLst>
        </pc:spChg>
        <pc:spChg chg="mod">
          <ac:chgData name="Joey Ray Zahr" userId="9150008f-b0d5-4c48-a0fe-8b032f63645f" providerId="ADAL" clId="{07880C7B-BEDA-4ECB-BB9C-300DDF054D79}" dt="2025-04-02T03:26:02.027" v="4929" actId="20577"/>
          <ac:spMkLst>
            <pc:docMk/>
            <pc:sldMk cId="3295877462" sldId="2230"/>
            <ac:spMk id="6" creationId="{BA262EF2-E910-C9F7-5770-B69703038D01}"/>
          </ac:spMkLst>
        </pc:spChg>
        <pc:spChg chg="mod">
          <ac:chgData name="Joey Ray Zahr" userId="9150008f-b0d5-4c48-a0fe-8b032f63645f" providerId="ADAL" clId="{07880C7B-BEDA-4ECB-BB9C-300DDF054D79}" dt="2025-04-01T23:34:36.288" v="4018" actId="1076"/>
          <ac:spMkLst>
            <pc:docMk/>
            <pc:sldMk cId="3295877462" sldId="2230"/>
            <ac:spMk id="9" creationId="{49E1292C-2343-8C65-0E54-DD4B5F6E80DD}"/>
          </ac:spMkLst>
        </pc:spChg>
        <pc:spChg chg="mod">
          <ac:chgData name="Joey Ray Zahr" userId="9150008f-b0d5-4c48-a0fe-8b032f63645f" providerId="ADAL" clId="{07880C7B-BEDA-4ECB-BB9C-300DDF054D79}" dt="2025-04-02T03:33:44.994" v="5098" actId="20577"/>
          <ac:spMkLst>
            <pc:docMk/>
            <pc:sldMk cId="3295877462" sldId="2230"/>
            <ac:spMk id="10" creationId="{1A97EDF5-85B0-89A8-E605-D246CC0A6D58}"/>
          </ac:spMkLst>
        </pc:spChg>
        <pc:spChg chg="mod">
          <ac:chgData name="Joey Ray Zahr" userId="9150008f-b0d5-4c48-a0fe-8b032f63645f" providerId="ADAL" clId="{07880C7B-BEDA-4ECB-BB9C-300DDF054D79}" dt="2025-04-01T23:34:42.437" v="4021" actId="1076"/>
          <ac:spMkLst>
            <pc:docMk/>
            <pc:sldMk cId="3295877462" sldId="2230"/>
            <ac:spMk id="11" creationId="{5CFC5308-3857-5770-A83E-EDB20A0A5E70}"/>
          </ac:spMkLst>
        </pc:spChg>
        <pc:spChg chg="mod">
          <ac:chgData name="Joey Ray Zahr" userId="9150008f-b0d5-4c48-a0fe-8b032f63645f" providerId="ADAL" clId="{07880C7B-BEDA-4ECB-BB9C-300DDF054D79}" dt="2025-04-02T03:32:05.383" v="5016" actId="20577"/>
          <ac:spMkLst>
            <pc:docMk/>
            <pc:sldMk cId="3295877462" sldId="2230"/>
            <ac:spMk id="12" creationId="{0D8B1259-5266-022F-693A-42347BAFDAE7}"/>
          </ac:spMkLst>
        </pc:spChg>
        <pc:spChg chg="mod">
          <ac:chgData name="Joey Ray Zahr" userId="9150008f-b0d5-4c48-a0fe-8b032f63645f" providerId="ADAL" clId="{07880C7B-BEDA-4ECB-BB9C-300DDF054D79}" dt="2025-04-02T03:33:51.843" v="5101" actId="20577"/>
          <ac:spMkLst>
            <pc:docMk/>
            <pc:sldMk cId="3295877462" sldId="2230"/>
            <ac:spMk id="13" creationId="{4ABFBCED-65AC-A571-119C-62DA27A1E89F}"/>
          </ac:spMkLst>
        </pc:spChg>
        <pc:spChg chg="mod">
          <ac:chgData name="Joey Ray Zahr" userId="9150008f-b0d5-4c48-a0fe-8b032f63645f" providerId="ADAL" clId="{07880C7B-BEDA-4ECB-BB9C-300DDF054D79}" dt="2025-04-02T03:32:25.152" v="5030" actId="20577"/>
          <ac:spMkLst>
            <pc:docMk/>
            <pc:sldMk cId="3295877462" sldId="2230"/>
            <ac:spMk id="15" creationId="{6E71D38F-5FB6-C05E-8F2A-1119ADD3EF8B}"/>
          </ac:spMkLst>
        </pc:spChg>
        <pc:spChg chg="mod">
          <ac:chgData name="Joey Ray Zahr" userId="9150008f-b0d5-4c48-a0fe-8b032f63645f" providerId="ADAL" clId="{07880C7B-BEDA-4ECB-BB9C-300DDF054D79}" dt="2025-04-01T05:28:46.920" v="2366" actId="14100"/>
          <ac:spMkLst>
            <pc:docMk/>
            <pc:sldMk cId="3295877462" sldId="2230"/>
            <ac:spMk id="16" creationId="{7C36F3A4-F5C0-B52E-67B7-DEAB8680AAD6}"/>
          </ac:spMkLst>
        </pc:spChg>
        <pc:spChg chg="add mod">
          <ac:chgData name="Joey Ray Zahr" userId="9150008f-b0d5-4c48-a0fe-8b032f63645f" providerId="ADAL" clId="{07880C7B-BEDA-4ECB-BB9C-300DDF054D79}" dt="2025-04-02T03:14:34.290" v="4700" actId="1076"/>
          <ac:spMkLst>
            <pc:docMk/>
            <pc:sldMk cId="3295877462" sldId="2230"/>
            <ac:spMk id="17" creationId="{674AD0A7-3DE1-D65B-A050-D052C5D8AD4A}"/>
          </ac:spMkLst>
        </pc:spChg>
        <pc:spChg chg="mod">
          <ac:chgData name="Joey Ray Zahr" userId="9150008f-b0d5-4c48-a0fe-8b032f63645f" providerId="ADAL" clId="{07880C7B-BEDA-4ECB-BB9C-300DDF054D79}" dt="2025-04-02T03:31:59.855" v="5012" actId="20577"/>
          <ac:spMkLst>
            <pc:docMk/>
            <pc:sldMk cId="3295877462" sldId="2230"/>
            <ac:spMk id="18" creationId="{0F232DAB-117B-4974-8762-D475F3AA024C}"/>
          </ac:spMkLst>
        </pc:spChg>
        <pc:spChg chg="mod">
          <ac:chgData name="Joey Ray Zahr" userId="9150008f-b0d5-4c48-a0fe-8b032f63645f" providerId="ADAL" clId="{07880C7B-BEDA-4ECB-BB9C-300DDF054D79}" dt="2025-04-02T03:25:44.203" v="4895" actId="20577"/>
          <ac:spMkLst>
            <pc:docMk/>
            <pc:sldMk cId="3295877462" sldId="2230"/>
            <ac:spMk id="19" creationId="{CEA44CA2-6226-AB0C-06D9-E649E04057FB}"/>
          </ac:spMkLst>
        </pc:spChg>
        <pc:spChg chg="mod">
          <ac:chgData name="Joey Ray Zahr" userId="9150008f-b0d5-4c48-a0fe-8b032f63645f" providerId="ADAL" clId="{07880C7B-BEDA-4ECB-BB9C-300DDF054D79}" dt="2025-04-01T23:35:12.482" v="4030" actId="1076"/>
          <ac:spMkLst>
            <pc:docMk/>
            <pc:sldMk cId="3295877462" sldId="2230"/>
            <ac:spMk id="24" creationId="{F7ACE023-9FFD-F162-EE47-86CECB0F78E9}"/>
          </ac:spMkLst>
        </pc:spChg>
        <pc:spChg chg="mod">
          <ac:chgData name="Joey Ray Zahr" userId="9150008f-b0d5-4c48-a0fe-8b032f63645f" providerId="ADAL" clId="{07880C7B-BEDA-4ECB-BB9C-300DDF054D79}" dt="2025-04-02T03:34:10.682" v="5110" actId="20577"/>
          <ac:spMkLst>
            <pc:docMk/>
            <pc:sldMk cId="3295877462" sldId="2230"/>
            <ac:spMk id="25" creationId="{7BE2FE5A-CB39-307E-48B7-D8B76E5304AE}"/>
          </ac:spMkLst>
        </pc:spChg>
        <pc:spChg chg="mod">
          <ac:chgData name="Joey Ray Zahr" userId="9150008f-b0d5-4c48-a0fe-8b032f63645f" providerId="ADAL" clId="{07880C7B-BEDA-4ECB-BB9C-300DDF054D79}" dt="2025-04-02T03:33:56.556" v="5102" actId="20577"/>
          <ac:spMkLst>
            <pc:docMk/>
            <pc:sldMk cId="3295877462" sldId="2230"/>
            <ac:spMk id="28" creationId="{D22BC075-CEB8-DE95-A114-6232CE80B36B}"/>
          </ac:spMkLst>
        </pc:spChg>
        <pc:graphicFrameChg chg="mod">
          <ac:chgData name="Joey Ray Zahr" userId="9150008f-b0d5-4c48-a0fe-8b032f63645f" providerId="ADAL" clId="{07880C7B-BEDA-4ECB-BB9C-300DDF054D79}" dt="2025-04-02T02:23:25.057" v="4037"/>
          <ac:graphicFrameMkLst>
            <pc:docMk/>
            <pc:sldMk cId="3295877462" sldId="2230"/>
            <ac:graphicFrameMk id="3" creationId="{BDF05900-847B-46BD-2D9C-CD26C8125E96}"/>
          </ac:graphicFrameMkLst>
        </pc:graphicFrameChg>
        <pc:graphicFrameChg chg="mod">
          <ac:chgData name="Joey Ray Zahr" userId="9150008f-b0d5-4c48-a0fe-8b032f63645f" providerId="ADAL" clId="{07880C7B-BEDA-4ECB-BB9C-300DDF054D79}" dt="2025-04-02T03:26:17.005" v="4948" actId="20577"/>
          <ac:graphicFrameMkLst>
            <pc:docMk/>
            <pc:sldMk cId="3295877462" sldId="2230"/>
            <ac:graphicFrameMk id="21" creationId="{B58695DF-25CF-FD59-B42F-545CD329FBE5}"/>
          </ac:graphicFrameMkLst>
        </pc:graphicFrameChg>
        <pc:graphicFrameChg chg="mod modGraphic">
          <ac:chgData name="Joey Ray Zahr" userId="9150008f-b0d5-4c48-a0fe-8b032f63645f" providerId="ADAL" clId="{07880C7B-BEDA-4ECB-BB9C-300DDF054D79}" dt="2025-04-01T15:35:45.229" v="2926"/>
          <ac:graphicFrameMkLst>
            <pc:docMk/>
            <pc:sldMk cId="3295877462" sldId="2230"/>
            <ac:graphicFrameMk id="27" creationId="{FA113642-5A78-A098-6ED4-B1E1AB7C64EB}"/>
          </ac:graphicFrameMkLst>
        </pc:graphicFrameChg>
        <pc:cxnChg chg="del mod">
          <ac:chgData name="Joey Ray Zahr" userId="9150008f-b0d5-4c48-a0fe-8b032f63645f" providerId="ADAL" clId="{07880C7B-BEDA-4ECB-BB9C-300DDF054D79}" dt="2025-04-02T03:13:11.395" v="4678" actId="478"/>
          <ac:cxnSpMkLst>
            <pc:docMk/>
            <pc:sldMk cId="3295877462" sldId="2230"/>
            <ac:cxnSpMk id="23" creationId="{B03C78DD-0CDE-059A-EBBB-B5D0F8FEA61C}"/>
          </ac:cxnSpMkLst>
        </pc:cxnChg>
        <pc:cxnChg chg="del">
          <ac:chgData name="Joey Ray Zahr" userId="9150008f-b0d5-4c48-a0fe-8b032f63645f" providerId="ADAL" clId="{07880C7B-BEDA-4ECB-BB9C-300DDF054D79}" dt="2025-04-01T05:28:49.672" v="2367" actId="478"/>
          <ac:cxnSpMkLst>
            <pc:docMk/>
            <pc:sldMk cId="3295877462" sldId="2230"/>
            <ac:cxnSpMk id="40" creationId="{A4355ED5-6CD1-9FE0-7774-DD6FEA230162}"/>
          </ac:cxnSpMkLst>
        </pc:cxnChg>
        <pc:cxnChg chg="mod">
          <ac:chgData name="Joey Ray Zahr" userId="9150008f-b0d5-4c48-a0fe-8b032f63645f" providerId="ADAL" clId="{07880C7B-BEDA-4ECB-BB9C-300DDF054D79}" dt="2025-04-02T03:13:58.074" v="4692" actId="14100"/>
          <ac:cxnSpMkLst>
            <pc:docMk/>
            <pc:sldMk cId="3295877462" sldId="2230"/>
            <ac:cxnSpMk id="44" creationId="{9FFA3D58-1C86-6BF7-357E-6E176F52D56F}"/>
          </ac:cxnSpMkLst>
        </pc:cxnChg>
      </pc:sldChg>
      <pc:sldChg chg="addSp modSp mod">
        <pc:chgData name="Joey Ray Zahr" userId="9150008f-b0d5-4c48-a0fe-8b032f63645f" providerId="ADAL" clId="{07880C7B-BEDA-4ECB-BB9C-300DDF054D79}" dt="2025-04-01T15:33:23.809" v="2658" actId="20577"/>
        <pc:sldMkLst>
          <pc:docMk/>
          <pc:sldMk cId="4273748011" sldId="2231"/>
        </pc:sldMkLst>
        <pc:spChg chg="add mod">
          <ac:chgData name="Joey Ray Zahr" userId="9150008f-b0d5-4c48-a0fe-8b032f63645f" providerId="ADAL" clId="{07880C7B-BEDA-4ECB-BB9C-300DDF054D79}" dt="2025-04-01T15:33:23.809" v="2658" actId="20577"/>
          <ac:spMkLst>
            <pc:docMk/>
            <pc:sldMk cId="4273748011" sldId="2231"/>
            <ac:spMk id="3" creationId="{E46B271B-A9F9-E269-B710-8D343E686637}"/>
          </ac:spMkLst>
        </pc:spChg>
      </pc:sldChg>
      <pc:sldChg chg="modSp mod">
        <pc:chgData name="Joey Ray Zahr" userId="9150008f-b0d5-4c48-a0fe-8b032f63645f" providerId="ADAL" clId="{07880C7B-BEDA-4ECB-BB9C-300DDF054D79}" dt="2025-04-01T04:33:37.766" v="2318" actId="255"/>
        <pc:sldMkLst>
          <pc:docMk/>
          <pc:sldMk cId="3020980299" sldId="2233"/>
        </pc:sldMkLst>
        <pc:spChg chg="mod">
          <ac:chgData name="Joey Ray Zahr" userId="9150008f-b0d5-4c48-a0fe-8b032f63645f" providerId="ADAL" clId="{07880C7B-BEDA-4ECB-BB9C-300DDF054D79}" dt="2025-04-01T04:33:37.766" v="2318" actId="255"/>
          <ac:spMkLst>
            <pc:docMk/>
            <pc:sldMk cId="3020980299" sldId="2233"/>
            <ac:spMk id="68" creationId="{147AF058-B3F5-D501-3EB4-ABDB0B82C98D}"/>
          </ac:spMkLst>
        </pc:spChg>
        <pc:spChg chg="mod">
          <ac:chgData name="Joey Ray Zahr" userId="9150008f-b0d5-4c48-a0fe-8b032f63645f" providerId="ADAL" clId="{07880C7B-BEDA-4ECB-BB9C-300DDF054D79}" dt="2025-04-01T04:33:37.295" v="2317" actId="255"/>
          <ac:spMkLst>
            <pc:docMk/>
            <pc:sldMk cId="3020980299" sldId="2233"/>
            <ac:spMk id="69" creationId="{D6A157A9-2F52-8F4D-7290-F558D2536530}"/>
          </ac:spMkLst>
        </pc:spChg>
        <pc:spChg chg="mod">
          <ac:chgData name="Joey Ray Zahr" userId="9150008f-b0d5-4c48-a0fe-8b032f63645f" providerId="ADAL" clId="{07880C7B-BEDA-4ECB-BB9C-300DDF054D79}" dt="2025-04-01T04:33:36.023" v="2314" actId="255"/>
          <ac:spMkLst>
            <pc:docMk/>
            <pc:sldMk cId="3020980299" sldId="2233"/>
            <ac:spMk id="70" creationId="{2975B488-FCEF-8D9B-8828-36B846266404}"/>
          </ac:spMkLst>
        </pc:spChg>
      </pc:sldChg>
      <pc:sldChg chg="addSp modSp mod">
        <pc:chgData name="Joey Ray Zahr" userId="9150008f-b0d5-4c48-a0fe-8b032f63645f" providerId="ADAL" clId="{07880C7B-BEDA-4ECB-BB9C-300DDF054D79}" dt="2025-04-01T15:39:04.758" v="3570"/>
        <pc:sldMkLst>
          <pc:docMk/>
          <pc:sldMk cId="126571796" sldId="2237"/>
        </pc:sldMkLst>
        <pc:spChg chg="add mod">
          <ac:chgData name="Joey Ray Zahr" userId="9150008f-b0d5-4c48-a0fe-8b032f63645f" providerId="ADAL" clId="{07880C7B-BEDA-4ECB-BB9C-300DDF054D79}" dt="2025-04-01T15:38:24.389" v="3436" actId="20577"/>
          <ac:spMkLst>
            <pc:docMk/>
            <pc:sldMk cId="126571796" sldId="2237"/>
            <ac:spMk id="3" creationId="{5536904E-0ECD-BA0F-6BEE-F8F57D65F076}"/>
          </ac:spMkLst>
        </pc:spChg>
        <pc:spChg chg="add mod">
          <ac:chgData name="Joey Ray Zahr" userId="9150008f-b0d5-4c48-a0fe-8b032f63645f" providerId="ADAL" clId="{07880C7B-BEDA-4ECB-BB9C-300DDF054D79}" dt="2025-04-01T15:39:04.758" v="3570"/>
          <ac:spMkLst>
            <pc:docMk/>
            <pc:sldMk cId="126571796" sldId="2237"/>
            <ac:spMk id="6" creationId="{88F87423-A1DC-377D-670F-524329F34F76}"/>
          </ac:spMkLst>
        </pc:spChg>
      </pc:sldChg>
      <pc:sldChg chg="addSp modSp mod ord">
        <pc:chgData name="Joey Ray Zahr" userId="9150008f-b0d5-4c48-a0fe-8b032f63645f" providerId="ADAL" clId="{07880C7B-BEDA-4ECB-BB9C-300DDF054D79}" dt="2025-04-02T03:41:53.760" v="5216"/>
        <pc:sldMkLst>
          <pc:docMk/>
          <pc:sldMk cId="2391271550" sldId="2238"/>
        </pc:sldMkLst>
        <pc:spChg chg="add mod">
          <ac:chgData name="Joey Ray Zahr" userId="9150008f-b0d5-4c48-a0fe-8b032f63645f" providerId="ADAL" clId="{07880C7B-BEDA-4ECB-BB9C-300DDF054D79}" dt="2025-04-01T15:38:33.971" v="3437"/>
          <ac:spMkLst>
            <pc:docMk/>
            <pc:sldMk cId="2391271550" sldId="2238"/>
            <ac:spMk id="3" creationId="{31B1EF1B-E291-5654-7569-E377713552BE}"/>
          </ac:spMkLst>
        </pc:spChg>
        <pc:spChg chg="add mod">
          <ac:chgData name="Joey Ray Zahr" userId="9150008f-b0d5-4c48-a0fe-8b032f63645f" providerId="ADAL" clId="{07880C7B-BEDA-4ECB-BB9C-300DDF054D79}" dt="2025-04-01T15:39:01.248" v="3569" actId="20577"/>
          <ac:spMkLst>
            <pc:docMk/>
            <pc:sldMk cId="2391271550" sldId="2238"/>
            <ac:spMk id="6" creationId="{19DB6F09-4272-3041-895E-D12F9BFC4F1B}"/>
          </ac:spMkLst>
        </pc:spChg>
        <pc:graphicFrameChg chg="mod">
          <ac:chgData name="Joey Ray Zahr" userId="9150008f-b0d5-4c48-a0fe-8b032f63645f" providerId="ADAL" clId="{07880C7B-BEDA-4ECB-BB9C-300DDF054D79}" dt="2025-04-01T15:38:37.339" v="3440" actId="1076"/>
          <ac:graphicFrameMkLst>
            <pc:docMk/>
            <pc:sldMk cId="2391271550" sldId="2238"/>
            <ac:graphicFrameMk id="2" creationId="{7C62835C-1156-4618-B89A-1C555DCB6340}"/>
          </ac:graphicFrameMkLst>
        </pc:graphicFrameChg>
      </pc:sldChg>
      <pc:sldChg chg="modSp mod">
        <pc:chgData name="Joey Ray Zahr" userId="9150008f-b0d5-4c48-a0fe-8b032f63645f" providerId="ADAL" clId="{07880C7B-BEDA-4ECB-BB9C-300DDF054D79}" dt="2025-04-02T02:31:01.728" v="4061"/>
        <pc:sldMkLst>
          <pc:docMk/>
          <pc:sldMk cId="3817512787" sldId="2239"/>
        </pc:sldMkLst>
        <pc:graphicFrameChg chg="mod modGraphic">
          <ac:chgData name="Joey Ray Zahr" userId="9150008f-b0d5-4c48-a0fe-8b032f63645f" providerId="ADAL" clId="{07880C7B-BEDA-4ECB-BB9C-300DDF054D79}" dt="2025-04-02T02:31:01.728" v="4061"/>
          <ac:graphicFrameMkLst>
            <pc:docMk/>
            <pc:sldMk cId="3817512787" sldId="2239"/>
            <ac:graphicFrameMk id="4" creationId="{411D1016-F6E1-5228-BFD4-B9A1FFABFD61}"/>
          </ac:graphicFrameMkLst>
        </pc:graphicFrameChg>
      </pc:sldChg>
      <pc:sldChg chg="addSp delSp modSp mod">
        <pc:chgData name="Joey Ray Zahr" userId="9150008f-b0d5-4c48-a0fe-8b032f63645f" providerId="ADAL" clId="{07880C7B-BEDA-4ECB-BB9C-300DDF054D79}" dt="2025-04-01T23:02:22.613" v="3968" actId="113"/>
        <pc:sldMkLst>
          <pc:docMk/>
          <pc:sldMk cId="3465619800" sldId="2240"/>
        </pc:sldMkLst>
        <pc:spChg chg="add del mod">
          <ac:chgData name="Joey Ray Zahr" userId="9150008f-b0d5-4c48-a0fe-8b032f63645f" providerId="ADAL" clId="{07880C7B-BEDA-4ECB-BB9C-300DDF054D79}" dt="2025-04-01T23:02:00.654" v="3960" actId="571"/>
          <ac:spMkLst>
            <pc:docMk/>
            <pc:sldMk cId="3465619800" sldId="2240"/>
            <ac:spMk id="2" creationId="{E7EF88BD-6DCA-33B3-6686-4C5B863C6A80}"/>
          </ac:spMkLst>
        </pc:spChg>
        <pc:spChg chg="mod">
          <ac:chgData name="Joey Ray Zahr" userId="9150008f-b0d5-4c48-a0fe-8b032f63645f" providerId="ADAL" clId="{07880C7B-BEDA-4ECB-BB9C-300DDF054D79}" dt="2025-04-01T14:54:11.441" v="2392" actId="122"/>
          <ac:spMkLst>
            <pc:docMk/>
            <pc:sldMk cId="3465619800" sldId="2240"/>
            <ac:spMk id="5" creationId="{B63024AE-0E0D-0C5A-2C5A-C58B025D832C}"/>
          </ac:spMkLst>
        </pc:spChg>
        <pc:spChg chg="add mod">
          <ac:chgData name="Joey Ray Zahr" userId="9150008f-b0d5-4c48-a0fe-8b032f63645f" providerId="ADAL" clId="{07880C7B-BEDA-4ECB-BB9C-300DDF054D79}" dt="2025-04-01T23:02:00.654" v="3960" actId="571"/>
          <ac:spMkLst>
            <pc:docMk/>
            <pc:sldMk cId="3465619800" sldId="2240"/>
            <ac:spMk id="6" creationId="{352381C3-65B3-2FD7-B4C3-C7A706EF0DD5}"/>
          </ac:spMkLst>
        </pc:spChg>
        <pc:spChg chg="add mod">
          <ac:chgData name="Joey Ray Zahr" userId="9150008f-b0d5-4c48-a0fe-8b032f63645f" providerId="ADAL" clId="{07880C7B-BEDA-4ECB-BB9C-300DDF054D79}" dt="2025-04-01T23:02:00.654" v="3960" actId="571"/>
          <ac:spMkLst>
            <pc:docMk/>
            <pc:sldMk cId="3465619800" sldId="2240"/>
            <ac:spMk id="7" creationId="{A937FB76-E736-D67E-2910-EC5D45177BAA}"/>
          </ac:spMkLst>
        </pc:spChg>
        <pc:spChg chg="add mod">
          <ac:chgData name="Joey Ray Zahr" userId="9150008f-b0d5-4c48-a0fe-8b032f63645f" providerId="ADAL" clId="{07880C7B-BEDA-4ECB-BB9C-300DDF054D79}" dt="2025-04-01T23:02:00.654" v="3960" actId="571"/>
          <ac:spMkLst>
            <pc:docMk/>
            <pc:sldMk cId="3465619800" sldId="2240"/>
            <ac:spMk id="8" creationId="{3FE5784F-F636-0783-3FC3-C6C452BC2A16}"/>
          </ac:spMkLst>
        </pc:spChg>
        <pc:spChg chg="add mod">
          <ac:chgData name="Joey Ray Zahr" userId="9150008f-b0d5-4c48-a0fe-8b032f63645f" providerId="ADAL" clId="{07880C7B-BEDA-4ECB-BB9C-300DDF054D79}" dt="2025-04-01T23:02:00.654" v="3960" actId="571"/>
          <ac:spMkLst>
            <pc:docMk/>
            <pc:sldMk cId="3465619800" sldId="2240"/>
            <ac:spMk id="9" creationId="{4190094B-46B3-6E37-6C79-FC0DE120FEE3}"/>
          </ac:spMkLst>
        </pc:spChg>
        <pc:spChg chg="add mod">
          <ac:chgData name="Joey Ray Zahr" userId="9150008f-b0d5-4c48-a0fe-8b032f63645f" providerId="ADAL" clId="{07880C7B-BEDA-4ECB-BB9C-300DDF054D79}" dt="2025-04-01T23:02:00.654" v="3960" actId="571"/>
          <ac:spMkLst>
            <pc:docMk/>
            <pc:sldMk cId="3465619800" sldId="2240"/>
            <ac:spMk id="10" creationId="{0B613C30-5DA3-F6A6-3525-54BE4E15D0A1}"/>
          </ac:spMkLst>
        </pc:spChg>
        <pc:spChg chg="mod">
          <ac:chgData name="Joey Ray Zahr" userId="9150008f-b0d5-4c48-a0fe-8b032f63645f" providerId="ADAL" clId="{07880C7B-BEDA-4ECB-BB9C-300DDF054D79}" dt="2025-04-01T23:02:22.182" v="3967" actId="113"/>
          <ac:spMkLst>
            <pc:docMk/>
            <pc:sldMk cId="3465619800" sldId="2240"/>
            <ac:spMk id="21" creationId="{7B58AB7F-6CB3-2EB4-4DC5-F0F345933B57}"/>
          </ac:spMkLst>
        </pc:spChg>
        <pc:spChg chg="mod">
          <ac:chgData name="Joey Ray Zahr" userId="9150008f-b0d5-4c48-a0fe-8b032f63645f" providerId="ADAL" clId="{07880C7B-BEDA-4ECB-BB9C-300DDF054D79}" dt="2025-04-01T23:02:22.182" v="3967" actId="113"/>
          <ac:spMkLst>
            <pc:docMk/>
            <pc:sldMk cId="3465619800" sldId="2240"/>
            <ac:spMk id="22" creationId="{AC1BF5C1-716A-D2FA-810C-4B765C3C47BC}"/>
          </ac:spMkLst>
        </pc:spChg>
        <pc:spChg chg="mod">
          <ac:chgData name="Joey Ray Zahr" userId="9150008f-b0d5-4c48-a0fe-8b032f63645f" providerId="ADAL" clId="{07880C7B-BEDA-4ECB-BB9C-300DDF054D79}" dt="2025-04-01T23:02:22.182" v="3967" actId="113"/>
          <ac:spMkLst>
            <pc:docMk/>
            <pc:sldMk cId="3465619800" sldId="2240"/>
            <ac:spMk id="23" creationId="{F8F8C40A-FBF7-4384-0817-9187964039F0}"/>
          </ac:spMkLst>
        </pc:spChg>
        <pc:spChg chg="mod">
          <ac:chgData name="Joey Ray Zahr" userId="9150008f-b0d5-4c48-a0fe-8b032f63645f" providerId="ADAL" clId="{07880C7B-BEDA-4ECB-BB9C-300DDF054D79}" dt="2025-04-01T23:02:22.613" v="3968" actId="113"/>
          <ac:spMkLst>
            <pc:docMk/>
            <pc:sldMk cId="3465619800" sldId="2240"/>
            <ac:spMk id="24" creationId="{0384C0E6-A330-415E-EF8B-7E29561B6268}"/>
          </ac:spMkLst>
        </pc:spChg>
        <pc:spChg chg="mod">
          <ac:chgData name="Joey Ray Zahr" userId="9150008f-b0d5-4c48-a0fe-8b032f63645f" providerId="ADAL" clId="{07880C7B-BEDA-4ECB-BB9C-300DDF054D79}" dt="2025-04-01T23:02:22.182" v="3967" actId="113"/>
          <ac:spMkLst>
            <pc:docMk/>
            <pc:sldMk cId="3465619800" sldId="2240"/>
            <ac:spMk id="25" creationId="{F74AB14C-5D64-1B77-5C0A-3D10BD0B8554}"/>
          </ac:spMkLst>
        </pc:spChg>
        <pc:spChg chg="mod">
          <ac:chgData name="Joey Ray Zahr" userId="9150008f-b0d5-4c48-a0fe-8b032f63645f" providerId="ADAL" clId="{07880C7B-BEDA-4ECB-BB9C-300DDF054D79}" dt="2025-04-01T23:02:22.613" v="3968" actId="113"/>
          <ac:spMkLst>
            <pc:docMk/>
            <pc:sldMk cId="3465619800" sldId="2240"/>
            <ac:spMk id="27" creationId="{1E159925-0D20-908A-AD2E-341FA6BA7091}"/>
          </ac:spMkLst>
        </pc:spChg>
        <pc:spChg chg="mod">
          <ac:chgData name="Joey Ray Zahr" userId="9150008f-b0d5-4c48-a0fe-8b032f63645f" providerId="ADAL" clId="{07880C7B-BEDA-4ECB-BB9C-300DDF054D79}" dt="2025-04-01T23:02:22.613" v="3968" actId="113"/>
          <ac:spMkLst>
            <pc:docMk/>
            <pc:sldMk cId="3465619800" sldId="2240"/>
            <ac:spMk id="28" creationId="{6EDD8041-B0C3-0508-6490-9399EBE1D56E}"/>
          </ac:spMkLst>
        </pc:spChg>
        <pc:spChg chg="mod">
          <ac:chgData name="Joey Ray Zahr" userId="9150008f-b0d5-4c48-a0fe-8b032f63645f" providerId="ADAL" clId="{07880C7B-BEDA-4ECB-BB9C-300DDF054D79}" dt="2025-04-01T23:02:22.613" v="3968" actId="113"/>
          <ac:spMkLst>
            <pc:docMk/>
            <pc:sldMk cId="3465619800" sldId="2240"/>
            <ac:spMk id="29" creationId="{2C2246DD-1BAC-7F14-65A4-A36A1AF2E38C}"/>
          </ac:spMkLst>
        </pc:spChg>
        <pc:spChg chg="mod">
          <ac:chgData name="Joey Ray Zahr" userId="9150008f-b0d5-4c48-a0fe-8b032f63645f" providerId="ADAL" clId="{07880C7B-BEDA-4ECB-BB9C-300DDF054D79}" dt="2025-04-01T23:02:22.613" v="3968" actId="113"/>
          <ac:spMkLst>
            <pc:docMk/>
            <pc:sldMk cId="3465619800" sldId="2240"/>
            <ac:spMk id="30" creationId="{703E5582-A971-1FBA-4D29-484737216CB7}"/>
          </ac:spMkLst>
        </pc:spChg>
        <pc:spChg chg="mod">
          <ac:chgData name="Joey Ray Zahr" userId="9150008f-b0d5-4c48-a0fe-8b032f63645f" providerId="ADAL" clId="{07880C7B-BEDA-4ECB-BB9C-300DDF054D79}" dt="2025-04-01T23:02:22.613" v="3968" actId="113"/>
          <ac:spMkLst>
            <pc:docMk/>
            <pc:sldMk cId="3465619800" sldId="2240"/>
            <ac:spMk id="31" creationId="{7AEBB98F-2C9F-1992-399F-AE8E48B15B9F}"/>
          </ac:spMkLst>
        </pc:spChg>
        <pc:spChg chg="mod">
          <ac:chgData name="Joey Ray Zahr" userId="9150008f-b0d5-4c48-a0fe-8b032f63645f" providerId="ADAL" clId="{07880C7B-BEDA-4ECB-BB9C-300DDF054D79}" dt="2025-04-01T14:54:11.441" v="2392" actId="122"/>
          <ac:spMkLst>
            <pc:docMk/>
            <pc:sldMk cId="3465619800" sldId="2240"/>
            <ac:spMk id="32" creationId="{7CC530D1-430F-B6E2-3E78-19E9A17311A2}"/>
          </ac:spMkLst>
        </pc:spChg>
        <pc:spChg chg="mod">
          <ac:chgData name="Joey Ray Zahr" userId="9150008f-b0d5-4c48-a0fe-8b032f63645f" providerId="ADAL" clId="{07880C7B-BEDA-4ECB-BB9C-300DDF054D79}" dt="2025-04-01T14:54:11.441" v="2392" actId="122"/>
          <ac:spMkLst>
            <pc:docMk/>
            <pc:sldMk cId="3465619800" sldId="2240"/>
            <ac:spMk id="33" creationId="{EAC0BCD2-19A0-B5A1-DF06-3CBFE615C32F}"/>
          </ac:spMkLst>
        </pc:spChg>
        <pc:spChg chg="mod">
          <ac:chgData name="Joey Ray Zahr" userId="9150008f-b0d5-4c48-a0fe-8b032f63645f" providerId="ADAL" clId="{07880C7B-BEDA-4ECB-BB9C-300DDF054D79}" dt="2025-04-01T14:54:11.441" v="2392" actId="122"/>
          <ac:spMkLst>
            <pc:docMk/>
            <pc:sldMk cId="3465619800" sldId="2240"/>
            <ac:spMk id="34" creationId="{60EFC85E-6413-9627-EF1F-62A8FA653522}"/>
          </ac:spMkLst>
        </pc:spChg>
        <pc:spChg chg="mod">
          <ac:chgData name="Joey Ray Zahr" userId="9150008f-b0d5-4c48-a0fe-8b032f63645f" providerId="ADAL" clId="{07880C7B-BEDA-4ECB-BB9C-300DDF054D79}" dt="2025-04-01T14:54:11.441" v="2392" actId="122"/>
          <ac:spMkLst>
            <pc:docMk/>
            <pc:sldMk cId="3465619800" sldId="2240"/>
            <ac:spMk id="35" creationId="{B05BA212-B4B9-EBE8-9E7F-3DC673E6561C}"/>
          </ac:spMkLst>
        </pc:spChg>
      </pc:sldChg>
      <pc:sldChg chg="ord">
        <pc:chgData name="Joey Ray Zahr" userId="9150008f-b0d5-4c48-a0fe-8b032f63645f" providerId="ADAL" clId="{07880C7B-BEDA-4ECB-BB9C-300DDF054D79}" dt="2025-04-02T03:05:34.724" v="4584"/>
        <pc:sldMkLst>
          <pc:docMk/>
          <pc:sldMk cId="3790567012" sldId="2250"/>
        </pc:sldMkLst>
      </pc:sldChg>
      <pc:sldChg chg="modSp mod">
        <pc:chgData name="Joey Ray Zahr" userId="9150008f-b0d5-4c48-a0fe-8b032f63645f" providerId="ADAL" clId="{07880C7B-BEDA-4ECB-BB9C-300DDF054D79}" dt="2025-04-02T02:27:26.885" v="4058" actId="403"/>
        <pc:sldMkLst>
          <pc:docMk/>
          <pc:sldMk cId="2659131323" sldId="2251"/>
        </pc:sldMkLst>
        <pc:spChg chg="mod">
          <ac:chgData name="Joey Ray Zahr" userId="9150008f-b0d5-4c48-a0fe-8b032f63645f" providerId="ADAL" clId="{07880C7B-BEDA-4ECB-BB9C-300DDF054D79}" dt="2025-04-02T02:27:26.885" v="4058" actId="403"/>
          <ac:spMkLst>
            <pc:docMk/>
            <pc:sldMk cId="2659131323" sldId="2251"/>
            <ac:spMk id="22" creationId="{16F5E0C7-E821-7721-F854-ACFDF289F513}"/>
          </ac:spMkLst>
        </pc:spChg>
        <pc:spChg chg="mod">
          <ac:chgData name="Joey Ray Zahr" userId="9150008f-b0d5-4c48-a0fe-8b032f63645f" providerId="ADAL" clId="{07880C7B-BEDA-4ECB-BB9C-300DDF054D79}" dt="2025-04-02T02:27:08.105" v="4054" actId="403"/>
          <ac:spMkLst>
            <pc:docMk/>
            <pc:sldMk cId="2659131323" sldId="2251"/>
            <ac:spMk id="24" creationId="{B4A991DE-62E6-F96C-9272-D48646FF4DCD}"/>
          </ac:spMkLst>
        </pc:spChg>
      </pc:sldChg>
      <pc:sldChg chg="delSp modSp mod">
        <pc:chgData name="Joey Ray Zahr" userId="9150008f-b0d5-4c48-a0fe-8b032f63645f" providerId="ADAL" clId="{07880C7B-BEDA-4ECB-BB9C-300DDF054D79}" dt="2025-04-02T03:36:56.054" v="5120" actId="478"/>
        <pc:sldMkLst>
          <pc:docMk/>
          <pc:sldMk cId="540644153" sldId="2252"/>
        </pc:sldMkLst>
        <pc:spChg chg="mod">
          <ac:chgData name="Joey Ray Zahr" userId="9150008f-b0d5-4c48-a0fe-8b032f63645f" providerId="ADAL" clId="{07880C7B-BEDA-4ECB-BB9C-300DDF054D79}" dt="2025-04-01T23:02:28.626" v="3973" actId="20577"/>
          <ac:spMkLst>
            <pc:docMk/>
            <pc:sldMk cId="540644153" sldId="2252"/>
            <ac:spMk id="4" creationId="{3CE8B7BE-EB4D-C195-8714-77343E850288}"/>
          </ac:spMkLst>
        </pc:spChg>
        <pc:spChg chg="del">
          <ac:chgData name="Joey Ray Zahr" userId="9150008f-b0d5-4c48-a0fe-8b032f63645f" providerId="ADAL" clId="{07880C7B-BEDA-4ECB-BB9C-300DDF054D79}" dt="2025-04-02T03:36:48.272" v="5114" actId="478"/>
          <ac:spMkLst>
            <pc:docMk/>
            <pc:sldMk cId="540644153" sldId="2252"/>
            <ac:spMk id="10" creationId="{1CB2C8AC-BC52-305A-62BE-5128A6E3AA65}"/>
          </ac:spMkLst>
        </pc:spChg>
        <pc:spChg chg="del">
          <ac:chgData name="Joey Ray Zahr" userId="9150008f-b0d5-4c48-a0fe-8b032f63645f" providerId="ADAL" clId="{07880C7B-BEDA-4ECB-BB9C-300DDF054D79}" dt="2025-04-02T03:36:43.636" v="5111" actId="478"/>
          <ac:spMkLst>
            <pc:docMk/>
            <pc:sldMk cId="540644153" sldId="2252"/>
            <ac:spMk id="33" creationId="{DBB67373-7243-9524-BD8B-461C0B5CAA50}"/>
          </ac:spMkLst>
        </pc:spChg>
        <pc:spChg chg="del">
          <ac:chgData name="Joey Ray Zahr" userId="9150008f-b0d5-4c48-a0fe-8b032f63645f" providerId="ADAL" clId="{07880C7B-BEDA-4ECB-BB9C-300DDF054D79}" dt="2025-04-02T03:36:48.575" v="5115" actId="478"/>
          <ac:spMkLst>
            <pc:docMk/>
            <pc:sldMk cId="540644153" sldId="2252"/>
            <ac:spMk id="35" creationId="{36A8B0E6-6984-9E43-4AE6-E7957FDDF00C}"/>
          </ac:spMkLst>
        </pc:spChg>
        <pc:spChg chg="del">
          <ac:chgData name="Joey Ray Zahr" userId="9150008f-b0d5-4c48-a0fe-8b032f63645f" providerId="ADAL" clId="{07880C7B-BEDA-4ECB-BB9C-300DDF054D79}" dt="2025-04-02T03:36:49.418" v="5116" actId="478"/>
          <ac:spMkLst>
            <pc:docMk/>
            <pc:sldMk cId="540644153" sldId="2252"/>
            <ac:spMk id="36" creationId="{075E8110-8100-9DA2-E781-9051A22F8B76}"/>
          </ac:spMkLst>
        </pc:spChg>
        <pc:spChg chg="del">
          <ac:chgData name="Joey Ray Zahr" userId="9150008f-b0d5-4c48-a0fe-8b032f63645f" providerId="ADAL" clId="{07880C7B-BEDA-4ECB-BB9C-300DDF054D79}" dt="2025-04-02T03:36:52.336" v="5119" actId="478"/>
          <ac:spMkLst>
            <pc:docMk/>
            <pc:sldMk cId="540644153" sldId="2252"/>
            <ac:spMk id="40" creationId="{054DCD1A-6DE0-5EF4-74A5-94A27374EACA}"/>
          </ac:spMkLst>
        </pc:spChg>
        <pc:spChg chg="del">
          <ac:chgData name="Joey Ray Zahr" userId="9150008f-b0d5-4c48-a0fe-8b032f63645f" providerId="ADAL" clId="{07880C7B-BEDA-4ECB-BB9C-300DDF054D79}" dt="2025-04-02T03:36:44.605" v="5112" actId="478"/>
          <ac:spMkLst>
            <pc:docMk/>
            <pc:sldMk cId="540644153" sldId="2252"/>
            <ac:spMk id="42" creationId="{6C5BB5C1-18E6-AE43-AFDA-7F193BD1AE02}"/>
          </ac:spMkLst>
        </pc:spChg>
        <pc:spChg chg="del">
          <ac:chgData name="Joey Ray Zahr" userId="9150008f-b0d5-4c48-a0fe-8b032f63645f" providerId="ADAL" clId="{07880C7B-BEDA-4ECB-BB9C-300DDF054D79}" dt="2025-04-02T03:36:51.822" v="5118" actId="478"/>
          <ac:spMkLst>
            <pc:docMk/>
            <pc:sldMk cId="540644153" sldId="2252"/>
            <ac:spMk id="44" creationId="{0B818F5E-F2D8-0E64-694D-95B5A57B22C7}"/>
          </ac:spMkLst>
        </pc:spChg>
        <pc:spChg chg="del">
          <ac:chgData name="Joey Ray Zahr" userId="9150008f-b0d5-4c48-a0fe-8b032f63645f" providerId="ADAL" clId="{07880C7B-BEDA-4ECB-BB9C-300DDF054D79}" dt="2025-04-02T03:36:50.980" v="5117" actId="478"/>
          <ac:spMkLst>
            <pc:docMk/>
            <pc:sldMk cId="540644153" sldId="2252"/>
            <ac:spMk id="45" creationId="{578C6DA5-13A2-8210-5CA2-CAAA1647BB89}"/>
          </ac:spMkLst>
        </pc:spChg>
        <pc:cxnChg chg="del">
          <ac:chgData name="Joey Ray Zahr" userId="9150008f-b0d5-4c48-a0fe-8b032f63645f" providerId="ADAL" clId="{07880C7B-BEDA-4ECB-BB9C-300DDF054D79}" dt="2025-04-02T03:36:45.393" v="5113" actId="478"/>
          <ac:cxnSpMkLst>
            <pc:docMk/>
            <pc:sldMk cId="540644153" sldId="2252"/>
            <ac:cxnSpMk id="30" creationId="{73D9916E-3416-0B24-EF89-5E0FBB097D7A}"/>
          </ac:cxnSpMkLst>
        </pc:cxnChg>
        <pc:cxnChg chg="del">
          <ac:chgData name="Joey Ray Zahr" userId="9150008f-b0d5-4c48-a0fe-8b032f63645f" providerId="ADAL" clId="{07880C7B-BEDA-4ECB-BB9C-300DDF054D79}" dt="2025-04-02T03:36:56.054" v="5120" actId="478"/>
          <ac:cxnSpMkLst>
            <pc:docMk/>
            <pc:sldMk cId="540644153" sldId="2252"/>
            <ac:cxnSpMk id="51" creationId="{E4B8DBCC-0ED3-0C9B-4C8D-1AC0304AFF6B}"/>
          </ac:cxnSpMkLst>
        </pc:cxnChg>
      </pc:sldChg>
      <pc:sldChg chg="modSp mod">
        <pc:chgData name="Joey Ray Zahr" userId="9150008f-b0d5-4c48-a0fe-8b032f63645f" providerId="ADAL" clId="{07880C7B-BEDA-4ECB-BB9C-300DDF054D79}" dt="2025-04-02T03:41:25.277" v="5213" actId="20577"/>
        <pc:sldMkLst>
          <pc:docMk/>
          <pc:sldMk cId="1585911357" sldId="2254"/>
        </pc:sldMkLst>
        <pc:spChg chg="mod">
          <ac:chgData name="Joey Ray Zahr" userId="9150008f-b0d5-4c48-a0fe-8b032f63645f" providerId="ADAL" clId="{07880C7B-BEDA-4ECB-BB9C-300DDF054D79}" dt="2025-04-02T03:37:43.869" v="5193" actId="14100"/>
          <ac:spMkLst>
            <pc:docMk/>
            <pc:sldMk cId="1585911357" sldId="2254"/>
            <ac:spMk id="3" creationId="{29DA6742-6DF2-DB87-02BC-147E344801C2}"/>
          </ac:spMkLst>
        </pc:spChg>
        <pc:spChg chg="mod">
          <ac:chgData name="Joey Ray Zahr" userId="9150008f-b0d5-4c48-a0fe-8b032f63645f" providerId="ADAL" clId="{07880C7B-BEDA-4ECB-BB9C-300DDF054D79}" dt="2025-04-02T03:37:43.869" v="5193" actId="14100"/>
          <ac:spMkLst>
            <pc:docMk/>
            <pc:sldMk cId="1585911357" sldId="2254"/>
            <ac:spMk id="4" creationId="{9059CEF1-0314-C528-E05D-552E513689CB}"/>
          </ac:spMkLst>
        </pc:spChg>
        <pc:spChg chg="mod">
          <ac:chgData name="Joey Ray Zahr" userId="9150008f-b0d5-4c48-a0fe-8b032f63645f" providerId="ADAL" clId="{07880C7B-BEDA-4ECB-BB9C-300DDF054D79}" dt="2025-04-02T03:37:43.869" v="5193" actId="14100"/>
          <ac:spMkLst>
            <pc:docMk/>
            <pc:sldMk cId="1585911357" sldId="2254"/>
            <ac:spMk id="33" creationId="{BA0DB8EF-E41F-FD7B-11C6-9D31DADC435D}"/>
          </ac:spMkLst>
        </pc:spChg>
        <pc:spChg chg="mod">
          <ac:chgData name="Joey Ray Zahr" userId="9150008f-b0d5-4c48-a0fe-8b032f63645f" providerId="ADAL" clId="{07880C7B-BEDA-4ECB-BB9C-300DDF054D79}" dt="2025-04-02T03:37:43.869" v="5193" actId="14100"/>
          <ac:spMkLst>
            <pc:docMk/>
            <pc:sldMk cId="1585911357" sldId="2254"/>
            <ac:spMk id="34" creationId="{C1205E2F-C43F-6603-D794-34E194439D4D}"/>
          </ac:spMkLst>
        </pc:spChg>
        <pc:spChg chg="mod">
          <ac:chgData name="Joey Ray Zahr" userId="9150008f-b0d5-4c48-a0fe-8b032f63645f" providerId="ADAL" clId="{07880C7B-BEDA-4ECB-BB9C-300DDF054D79}" dt="2025-04-02T03:37:43.869" v="5193" actId="14100"/>
          <ac:spMkLst>
            <pc:docMk/>
            <pc:sldMk cId="1585911357" sldId="2254"/>
            <ac:spMk id="35" creationId="{250564CA-850E-AD48-2643-2CF01F746563}"/>
          </ac:spMkLst>
        </pc:spChg>
        <pc:spChg chg="mod">
          <ac:chgData name="Joey Ray Zahr" userId="9150008f-b0d5-4c48-a0fe-8b032f63645f" providerId="ADAL" clId="{07880C7B-BEDA-4ECB-BB9C-300DDF054D79}" dt="2025-04-02T03:37:43.869" v="5193" actId="14100"/>
          <ac:spMkLst>
            <pc:docMk/>
            <pc:sldMk cId="1585911357" sldId="2254"/>
            <ac:spMk id="40" creationId="{764D28BE-16D7-451B-7CC4-43C607CC56FB}"/>
          </ac:spMkLst>
        </pc:spChg>
        <pc:spChg chg="mod">
          <ac:chgData name="Joey Ray Zahr" userId="9150008f-b0d5-4c48-a0fe-8b032f63645f" providerId="ADAL" clId="{07880C7B-BEDA-4ECB-BB9C-300DDF054D79}" dt="2025-04-02T03:37:43.869" v="5193" actId="14100"/>
          <ac:spMkLst>
            <pc:docMk/>
            <pc:sldMk cId="1585911357" sldId="2254"/>
            <ac:spMk id="41" creationId="{7A9E78D3-0D09-BCA2-296E-7E36A961BBE2}"/>
          </ac:spMkLst>
        </pc:spChg>
        <pc:spChg chg="mod">
          <ac:chgData name="Joey Ray Zahr" userId="9150008f-b0d5-4c48-a0fe-8b032f63645f" providerId="ADAL" clId="{07880C7B-BEDA-4ECB-BB9C-300DDF054D79}" dt="2025-04-02T03:37:43.869" v="5193" actId="14100"/>
          <ac:spMkLst>
            <pc:docMk/>
            <pc:sldMk cId="1585911357" sldId="2254"/>
            <ac:spMk id="42" creationId="{77729942-AC03-4B4A-8CE3-99AA35B7B0D6}"/>
          </ac:spMkLst>
        </pc:spChg>
        <pc:spChg chg="mod">
          <ac:chgData name="Joey Ray Zahr" userId="9150008f-b0d5-4c48-a0fe-8b032f63645f" providerId="ADAL" clId="{07880C7B-BEDA-4ECB-BB9C-300DDF054D79}" dt="2025-04-02T03:41:25.277" v="5213" actId="20577"/>
          <ac:spMkLst>
            <pc:docMk/>
            <pc:sldMk cId="1585911357" sldId="2254"/>
            <ac:spMk id="44" creationId="{84C39ABE-0D25-B601-B0C1-C49C93355F8F}"/>
          </ac:spMkLst>
        </pc:spChg>
        <pc:spChg chg="mod">
          <ac:chgData name="Joey Ray Zahr" userId="9150008f-b0d5-4c48-a0fe-8b032f63645f" providerId="ADAL" clId="{07880C7B-BEDA-4ECB-BB9C-300DDF054D79}" dt="2025-04-02T03:37:29.130" v="5186" actId="1076"/>
          <ac:spMkLst>
            <pc:docMk/>
            <pc:sldMk cId="1585911357" sldId="2254"/>
            <ac:spMk id="45" creationId="{CB98956D-1EDE-B20A-84DC-85C343222BEE}"/>
          </ac:spMkLst>
        </pc:spChg>
        <pc:spChg chg="mod">
          <ac:chgData name="Joey Ray Zahr" userId="9150008f-b0d5-4c48-a0fe-8b032f63645f" providerId="ADAL" clId="{07880C7B-BEDA-4ECB-BB9C-300DDF054D79}" dt="2025-04-02T03:37:43.869" v="5193" actId="14100"/>
          <ac:spMkLst>
            <pc:docMk/>
            <pc:sldMk cId="1585911357" sldId="2254"/>
            <ac:spMk id="47" creationId="{DA806474-44FD-0E11-A136-E95F396B8E4F}"/>
          </ac:spMkLst>
        </pc:spChg>
      </pc:sldChg>
      <pc:sldChg chg="del">
        <pc:chgData name="Joey Ray Zahr" userId="9150008f-b0d5-4c48-a0fe-8b032f63645f" providerId="ADAL" clId="{07880C7B-BEDA-4ECB-BB9C-300DDF054D79}" dt="2025-04-02T03:37:02.807" v="5122" actId="47"/>
        <pc:sldMkLst>
          <pc:docMk/>
          <pc:sldMk cId="3132333589" sldId="2256"/>
        </pc:sldMkLst>
      </pc:sldChg>
      <pc:sldChg chg="addSp delSp modSp mod">
        <pc:chgData name="Joey Ray Zahr" userId="9150008f-b0d5-4c48-a0fe-8b032f63645f" providerId="ADAL" clId="{07880C7B-BEDA-4ECB-BB9C-300DDF054D79}" dt="2025-04-02T03:49:08.041" v="5270" actId="207"/>
        <pc:sldMkLst>
          <pc:docMk/>
          <pc:sldMk cId="4230794871" sldId="2262"/>
        </pc:sldMkLst>
        <pc:spChg chg="mod">
          <ac:chgData name="Joey Ray Zahr" userId="9150008f-b0d5-4c48-a0fe-8b032f63645f" providerId="ADAL" clId="{07880C7B-BEDA-4ECB-BB9C-300DDF054D79}" dt="2025-04-02T03:49:08.041" v="5270" actId="207"/>
          <ac:spMkLst>
            <pc:docMk/>
            <pc:sldMk cId="4230794871" sldId="2262"/>
            <ac:spMk id="13" creationId="{2C5C6127-445F-4826-AA63-F9D14E1B8808}"/>
          </ac:spMkLst>
        </pc:spChg>
        <pc:spChg chg="add del mod">
          <ac:chgData name="Joey Ray Zahr" userId="9150008f-b0d5-4c48-a0fe-8b032f63645f" providerId="ADAL" clId="{07880C7B-BEDA-4ECB-BB9C-300DDF054D79}" dt="2025-04-02T03:48:55.398" v="5268" actId="478"/>
          <ac:spMkLst>
            <pc:docMk/>
            <pc:sldMk cId="4230794871" sldId="2262"/>
            <ac:spMk id="14" creationId="{E029A625-21B6-5150-DB42-D5F4CFA48CC1}"/>
          </ac:spMkLst>
        </pc:spChg>
        <pc:graphicFrameChg chg="add del mod">
          <ac:chgData name="Joey Ray Zahr" userId="9150008f-b0d5-4c48-a0fe-8b032f63645f" providerId="ADAL" clId="{07880C7B-BEDA-4ECB-BB9C-300DDF054D79}" dt="2025-04-02T03:49:02.908" v="5269"/>
          <ac:graphicFrameMkLst>
            <pc:docMk/>
            <pc:sldMk cId="4230794871" sldId="2262"/>
            <ac:graphicFrameMk id="10" creationId="{4F8F5F70-3DDD-E5ED-4B19-F14105F969AE}"/>
          </ac:graphicFrameMkLst>
        </pc:graphicFrameChg>
        <pc:graphicFrameChg chg="mod">
          <ac:chgData name="Joey Ray Zahr" userId="9150008f-b0d5-4c48-a0fe-8b032f63645f" providerId="ADAL" clId="{07880C7B-BEDA-4ECB-BB9C-300DDF054D79}" dt="2025-04-02T02:32:53.743" v="4068" actId="692"/>
          <ac:graphicFrameMkLst>
            <pc:docMk/>
            <pc:sldMk cId="4230794871" sldId="2262"/>
            <ac:graphicFrameMk id="16" creationId="{7C7B3363-E606-0D05-31EE-86CD3D3283C3}"/>
          </ac:graphicFrameMkLst>
        </pc:graphicFrameChg>
      </pc:sldChg>
      <pc:sldChg chg="addSp delSp modSp mod modClrScheme chgLayout">
        <pc:chgData name="Joey Ray Zahr" userId="9150008f-b0d5-4c48-a0fe-8b032f63645f" providerId="ADAL" clId="{07880C7B-BEDA-4ECB-BB9C-300DDF054D79}" dt="2025-04-02T03:09:57.918" v="4601" actId="20577"/>
        <pc:sldMkLst>
          <pc:docMk/>
          <pc:sldMk cId="1042857578" sldId="2263"/>
        </pc:sldMkLst>
        <pc:spChg chg="add mod">
          <ac:chgData name="Joey Ray Zahr" userId="9150008f-b0d5-4c48-a0fe-8b032f63645f" providerId="ADAL" clId="{07880C7B-BEDA-4ECB-BB9C-300DDF054D79}" dt="2025-04-02T02:55:13.978" v="4157" actId="1076"/>
          <ac:spMkLst>
            <pc:docMk/>
            <pc:sldMk cId="1042857578" sldId="2263"/>
            <ac:spMk id="2" creationId="{FF2441A1-D2DC-10B1-11B9-A6BE01FCCF73}"/>
          </ac:spMkLst>
        </pc:spChg>
        <pc:spChg chg="add mod">
          <ac:chgData name="Joey Ray Zahr" userId="9150008f-b0d5-4c48-a0fe-8b032f63645f" providerId="ADAL" clId="{07880C7B-BEDA-4ECB-BB9C-300DDF054D79}" dt="2025-04-02T02:58:00.464" v="4192" actId="1035"/>
          <ac:spMkLst>
            <pc:docMk/>
            <pc:sldMk cId="1042857578" sldId="2263"/>
            <ac:spMk id="3" creationId="{54A11D32-A819-1D28-A448-CED101F63A5F}"/>
          </ac:spMkLst>
        </pc:spChg>
        <pc:spChg chg="mod ord">
          <ac:chgData name="Joey Ray Zahr" userId="9150008f-b0d5-4c48-a0fe-8b032f63645f" providerId="ADAL" clId="{07880C7B-BEDA-4ECB-BB9C-300DDF054D79}" dt="2025-04-02T02:59:25.088" v="4220" actId="700"/>
          <ac:spMkLst>
            <pc:docMk/>
            <pc:sldMk cId="1042857578" sldId="2263"/>
            <ac:spMk id="7" creationId="{73E2AEFC-2F2B-3D42-17FD-57EB25436BA9}"/>
          </ac:spMkLst>
        </pc:spChg>
        <pc:spChg chg="mod ord">
          <ac:chgData name="Joey Ray Zahr" userId="9150008f-b0d5-4c48-a0fe-8b032f63645f" providerId="ADAL" clId="{07880C7B-BEDA-4ECB-BB9C-300DDF054D79}" dt="2025-04-02T02:59:25.088" v="4220" actId="700"/>
          <ac:spMkLst>
            <pc:docMk/>
            <pc:sldMk cId="1042857578" sldId="2263"/>
            <ac:spMk id="10" creationId="{6E02BA5E-C8A0-29EE-4DD6-BB44BE9CB46D}"/>
          </ac:spMkLst>
        </pc:spChg>
        <pc:spChg chg="add del mod">
          <ac:chgData name="Joey Ray Zahr" userId="9150008f-b0d5-4c48-a0fe-8b032f63645f" providerId="ADAL" clId="{07880C7B-BEDA-4ECB-BB9C-300DDF054D79}" dt="2025-04-02T02:58:32.241" v="4212" actId="478"/>
          <ac:spMkLst>
            <pc:docMk/>
            <pc:sldMk cId="1042857578" sldId="2263"/>
            <ac:spMk id="11" creationId="{334576B7-8241-1326-9A70-D871FBD5D963}"/>
          </ac:spMkLst>
        </pc:spChg>
        <pc:spChg chg="add del mod ord">
          <ac:chgData name="Joey Ray Zahr" userId="9150008f-b0d5-4c48-a0fe-8b032f63645f" providerId="ADAL" clId="{07880C7B-BEDA-4ECB-BB9C-300DDF054D79}" dt="2025-04-02T02:59:25.088" v="4220" actId="700"/>
          <ac:spMkLst>
            <pc:docMk/>
            <pc:sldMk cId="1042857578" sldId="2263"/>
            <ac:spMk id="13" creationId="{42FE3E02-D89F-9581-0EE4-108997058E87}"/>
          </ac:spMkLst>
        </pc:spChg>
        <pc:spChg chg="add del">
          <ac:chgData name="Joey Ray Zahr" userId="9150008f-b0d5-4c48-a0fe-8b032f63645f" providerId="ADAL" clId="{07880C7B-BEDA-4ECB-BB9C-300DDF054D79}" dt="2025-04-02T02:58:34.312" v="4213" actId="478"/>
          <ac:spMkLst>
            <pc:docMk/>
            <pc:sldMk cId="1042857578" sldId="2263"/>
            <ac:spMk id="14" creationId="{D1BBB230-FD00-4EB9-F56D-7A59F0A7B664}"/>
          </ac:spMkLst>
        </pc:spChg>
        <pc:spChg chg="add del mod ord">
          <ac:chgData name="Joey Ray Zahr" userId="9150008f-b0d5-4c48-a0fe-8b032f63645f" providerId="ADAL" clId="{07880C7B-BEDA-4ECB-BB9C-300DDF054D79}" dt="2025-04-02T02:58:53.776" v="4215" actId="700"/>
          <ac:spMkLst>
            <pc:docMk/>
            <pc:sldMk cId="1042857578" sldId="2263"/>
            <ac:spMk id="15" creationId="{D6AD761F-E04F-0887-63A7-1691C72DA404}"/>
          </ac:spMkLst>
        </pc:spChg>
        <pc:spChg chg="add del mod ord">
          <ac:chgData name="Joey Ray Zahr" userId="9150008f-b0d5-4c48-a0fe-8b032f63645f" providerId="ADAL" clId="{07880C7B-BEDA-4ECB-BB9C-300DDF054D79}" dt="2025-04-02T02:58:53.776" v="4215" actId="700"/>
          <ac:spMkLst>
            <pc:docMk/>
            <pc:sldMk cId="1042857578" sldId="2263"/>
            <ac:spMk id="16" creationId="{A347FC82-84F7-6A92-AE90-73E4583B7C76}"/>
          </ac:spMkLst>
        </pc:spChg>
        <pc:spChg chg="add del mod ord">
          <ac:chgData name="Joey Ray Zahr" userId="9150008f-b0d5-4c48-a0fe-8b032f63645f" providerId="ADAL" clId="{07880C7B-BEDA-4ECB-BB9C-300DDF054D79}" dt="2025-04-02T02:58:53.776" v="4215" actId="700"/>
          <ac:spMkLst>
            <pc:docMk/>
            <pc:sldMk cId="1042857578" sldId="2263"/>
            <ac:spMk id="17" creationId="{34D911AA-F491-1AB3-CDA1-A0B3A995D45D}"/>
          </ac:spMkLst>
        </pc:spChg>
        <pc:spChg chg="add del mod ord">
          <ac:chgData name="Joey Ray Zahr" userId="9150008f-b0d5-4c48-a0fe-8b032f63645f" providerId="ADAL" clId="{07880C7B-BEDA-4ECB-BB9C-300DDF054D79}" dt="2025-04-02T02:58:53.776" v="4215" actId="700"/>
          <ac:spMkLst>
            <pc:docMk/>
            <pc:sldMk cId="1042857578" sldId="2263"/>
            <ac:spMk id="18" creationId="{23B466C1-8544-085B-0306-3A9ED23A027F}"/>
          </ac:spMkLst>
        </pc:spChg>
        <pc:spChg chg="add del mod ord">
          <ac:chgData name="Joey Ray Zahr" userId="9150008f-b0d5-4c48-a0fe-8b032f63645f" providerId="ADAL" clId="{07880C7B-BEDA-4ECB-BB9C-300DDF054D79}" dt="2025-04-02T02:58:53.776" v="4215" actId="700"/>
          <ac:spMkLst>
            <pc:docMk/>
            <pc:sldMk cId="1042857578" sldId="2263"/>
            <ac:spMk id="19" creationId="{A94939CD-49EB-D509-CBE5-44A360E39C3A}"/>
          </ac:spMkLst>
        </pc:spChg>
        <pc:spChg chg="add mod ord">
          <ac:chgData name="Joey Ray Zahr" userId="9150008f-b0d5-4c48-a0fe-8b032f63645f" providerId="ADAL" clId="{07880C7B-BEDA-4ECB-BB9C-300DDF054D79}" dt="2025-04-02T02:59:25.088" v="4220" actId="700"/>
          <ac:spMkLst>
            <pc:docMk/>
            <pc:sldMk cId="1042857578" sldId="2263"/>
            <ac:spMk id="20" creationId="{121F992F-943B-B3C4-EB42-4851FD4AF2A0}"/>
          </ac:spMkLst>
        </pc:spChg>
        <pc:spChg chg="add mod ord">
          <ac:chgData name="Joey Ray Zahr" userId="9150008f-b0d5-4c48-a0fe-8b032f63645f" providerId="ADAL" clId="{07880C7B-BEDA-4ECB-BB9C-300DDF054D79}" dt="2025-04-02T03:01:21.698" v="4325" actId="20577"/>
          <ac:spMkLst>
            <pc:docMk/>
            <pc:sldMk cId="1042857578" sldId="2263"/>
            <ac:spMk id="21" creationId="{93233C1B-22F4-1B04-FCA5-951B52D16546}"/>
          </ac:spMkLst>
        </pc:spChg>
        <pc:spChg chg="mod">
          <ac:chgData name="Joey Ray Zahr" userId="9150008f-b0d5-4c48-a0fe-8b032f63645f" providerId="ADAL" clId="{07880C7B-BEDA-4ECB-BB9C-300DDF054D79}" dt="2025-04-02T02:54:46.114" v="4112" actId="1035"/>
          <ac:spMkLst>
            <pc:docMk/>
            <pc:sldMk cId="1042857578" sldId="2263"/>
            <ac:spMk id="22" creationId="{96B4F2DE-0F32-B5BE-BB73-D9C071D2EA7B}"/>
          </ac:spMkLst>
        </pc:spChg>
        <pc:spChg chg="add del mod ord">
          <ac:chgData name="Joey Ray Zahr" userId="9150008f-b0d5-4c48-a0fe-8b032f63645f" providerId="ADAL" clId="{07880C7B-BEDA-4ECB-BB9C-300DDF054D79}" dt="2025-04-02T02:59:28.949" v="4221" actId="478"/>
          <ac:spMkLst>
            <pc:docMk/>
            <pc:sldMk cId="1042857578" sldId="2263"/>
            <ac:spMk id="23" creationId="{28565FB5-030F-F24A-1B14-39912C3D485D}"/>
          </ac:spMkLst>
        </pc:spChg>
        <pc:spChg chg="mod">
          <ac:chgData name="Joey Ray Zahr" userId="9150008f-b0d5-4c48-a0fe-8b032f63645f" providerId="ADAL" clId="{07880C7B-BEDA-4ECB-BB9C-300DDF054D79}" dt="2025-04-02T02:54:46.114" v="4112" actId="1035"/>
          <ac:spMkLst>
            <pc:docMk/>
            <pc:sldMk cId="1042857578" sldId="2263"/>
            <ac:spMk id="24" creationId="{5A36CB5F-44F5-6C73-31E7-70DA811FA564}"/>
          </ac:spMkLst>
        </pc:spChg>
        <pc:spChg chg="mod">
          <ac:chgData name="Joey Ray Zahr" userId="9150008f-b0d5-4c48-a0fe-8b032f63645f" providerId="ADAL" clId="{07880C7B-BEDA-4ECB-BB9C-300DDF054D79}" dt="2025-04-02T02:54:46.114" v="4112" actId="1035"/>
          <ac:spMkLst>
            <pc:docMk/>
            <pc:sldMk cId="1042857578" sldId="2263"/>
            <ac:spMk id="25" creationId="{8E5C8B46-49BD-148D-AB9B-5CCFB5AF3738}"/>
          </ac:spMkLst>
        </pc:spChg>
        <pc:spChg chg="del mod">
          <ac:chgData name="Joey Ray Zahr" userId="9150008f-b0d5-4c48-a0fe-8b032f63645f" providerId="ADAL" clId="{07880C7B-BEDA-4ECB-BB9C-300DDF054D79}" dt="2025-04-02T02:54:54.807" v="4149" actId="478"/>
          <ac:spMkLst>
            <pc:docMk/>
            <pc:sldMk cId="1042857578" sldId="2263"/>
            <ac:spMk id="28" creationId="{FAB2D658-BBB0-B2F8-CF6F-4A3968F94CF2}"/>
          </ac:spMkLst>
        </pc:spChg>
        <pc:spChg chg="mod">
          <ac:chgData name="Joey Ray Zahr" userId="9150008f-b0d5-4c48-a0fe-8b032f63645f" providerId="ADAL" clId="{07880C7B-BEDA-4ECB-BB9C-300DDF054D79}" dt="2025-04-02T02:54:46.114" v="4112" actId="1035"/>
          <ac:spMkLst>
            <pc:docMk/>
            <pc:sldMk cId="1042857578" sldId="2263"/>
            <ac:spMk id="29" creationId="{489B9A6A-B81C-ED5D-A364-ACBCFC4827DE}"/>
          </ac:spMkLst>
        </pc:spChg>
        <pc:spChg chg="mod">
          <ac:chgData name="Joey Ray Zahr" userId="9150008f-b0d5-4c48-a0fe-8b032f63645f" providerId="ADAL" clId="{07880C7B-BEDA-4ECB-BB9C-300DDF054D79}" dt="2025-04-02T02:54:46.114" v="4112" actId="1035"/>
          <ac:spMkLst>
            <pc:docMk/>
            <pc:sldMk cId="1042857578" sldId="2263"/>
            <ac:spMk id="31" creationId="{3C6D2BA2-F1A7-0B0B-0ADC-3C0281CA053A}"/>
          </ac:spMkLst>
        </pc:spChg>
        <pc:spChg chg="mod">
          <ac:chgData name="Joey Ray Zahr" userId="9150008f-b0d5-4c48-a0fe-8b032f63645f" providerId="ADAL" clId="{07880C7B-BEDA-4ECB-BB9C-300DDF054D79}" dt="2025-04-02T02:58:00.464" v="4192" actId="1035"/>
          <ac:spMkLst>
            <pc:docMk/>
            <pc:sldMk cId="1042857578" sldId="2263"/>
            <ac:spMk id="33" creationId="{2DD83C68-B26E-458E-F768-05E6E31F2BD0}"/>
          </ac:spMkLst>
        </pc:spChg>
        <pc:spChg chg="mod">
          <ac:chgData name="Joey Ray Zahr" userId="9150008f-b0d5-4c48-a0fe-8b032f63645f" providerId="ADAL" clId="{07880C7B-BEDA-4ECB-BB9C-300DDF054D79}" dt="2025-04-02T02:58:00.464" v="4192" actId="1035"/>
          <ac:spMkLst>
            <pc:docMk/>
            <pc:sldMk cId="1042857578" sldId="2263"/>
            <ac:spMk id="38" creationId="{AC4D3630-388C-0869-98DD-818B3CEAFF34}"/>
          </ac:spMkLst>
        </pc:spChg>
        <pc:spChg chg="mod">
          <ac:chgData name="Joey Ray Zahr" userId="9150008f-b0d5-4c48-a0fe-8b032f63645f" providerId="ADAL" clId="{07880C7B-BEDA-4ECB-BB9C-300DDF054D79}" dt="2025-04-02T02:58:00.464" v="4192" actId="1035"/>
          <ac:spMkLst>
            <pc:docMk/>
            <pc:sldMk cId="1042857578" sldId="2263"/>
            <ac:spMk id="39" creationId="{7E86A91C-C82C-4ABC-269C-BC330AB2168C}"/>
          </ac:spMkLst>
        </pc:spChg>
        <pc:spChg chg="mod">
          <ac:chgData name="Joey Ray Zahr" userId="9150008f-b0d5-4c48-a0fe-8b032f63645f" providerId="ADAL" clId="{07880C7B-BEDA-4ECB-BB9C-300DDF054D79}" dt="2025-04-02T02:58:10.668" v="4194" actId="1076"/>
          <ac:spMkLst>
            <pc:docMk/>
            <pc:sldMk cId="1042857578" sldId="2263"/>
            <ac:spMk id="40" creationId="{2353BFEE-5F0D-A9C4-E26B-37DECFC9CED2}"/>
          </ac:spMkLst>
        </pc:spChg>
        <pc:spChg chg="del mod">
          <ac:chgData name="Joey Ray Zahr" userId="9150008f-b0d5-4c48-a0fe-8b032f63645f" providerId="ADAL" clId="{07880C7B-BEDA-4ECB-BB9C-300DDF054D79}" dt="2025-04-02T02:55:11.870" v="4156" actId="478"/>
          <ac:spMkLst>
            <pc:docMk/>
            <pc:sldMk cId="1042857578" sldId="2263"/>
            <ac:spMk id="41" creationId="{CD480D83-680D-1576-41C5-C9323B155323}"/>
          </ac:spMkLst>
        </pc:spChg>
        <pc:spChg chg="mod">
          <ac:chgData name="Joey Ray Zahr" userId="9150008f-b0d5-4c48-a0fe-8b032f63645f" providerId="ADAL" clId="{07880C7B-BEDA-4ECB-BB9C-300DDF054D79}" dt="2025-04-02T02:58:00.464" v="4192" actId="1035"/>
          <ac:spMkLst>
            <pc:docMk/>
            <pc:sldMk cId="1042857578" sldId="2263"/>
            <ac:spMk id="42" creationId="{3DBCB7AE-3616-784F-FDA2-ACA18357EA92}"/>
          </ac:spMkLst>
        </pc:spChg>
        <pc:spChg chg="mod">
          <ac:chgData name="Joey Ray Zahr" userId="9150008f-b0d5-4c48-a0fe-8b032f63645f" providerId="ADAL" clId="{07880C7B-BEDA-4ECB-BB9C-300DDF054D79}" dt="2025-04-02T02:58:21.870" v="4210" actId="1076"/>
          <ac:spMkLst>
            <pc:docMk/>
            <pc:sldMk cId="1042857578" sldId="2263"/>
            <ac:spMk id="43" creationId="{6662DC18-4354-1679-69DD-C0E088004B2C}"/>
          </ac:spMkLst>
        </pc:spChg>
        <pc:graphicFrameChg chg="add mod">
          <ac:chgData name="Joey Ray Zahr" userId="9150008f-b0d5-4c48-a0fe-8b032f63645f" providerId="ADAL" clId="{07880C7B-BEDA-4ECB-BB9C-300DDF054D79}" dt="2025-04-02T02:55:53.207" v="4159"/>
          <ac:graphicFrameMkLst>
            <pc:docMk/>
            <pc:sldMk cId="1042857578" sldId="2263"/>
            <ac:graphicFrameMk id="4" creationId="{2DFF2A0F-2334-AB2A-4188-2361BCD34CC5}"/>
          </ac:graphicFrameMkLst>
        </pc:graphicFrameChg>
        <pc:graphicFrameChg chg="add del mod modGraphic">
          <ac:chgData name="Joey Ray Zahr" userId="9150008f-b0d5-4c48-a0fe-8b032f63645f" providerId="ADAL" clId="{07880C7B-BEDA-4ECB-BB9C-300DDF054D79}" dt="2025-04-02T02:57:27.101" v="4165" actId="478"/>
          <ac:graphicFrameMkLst>
            <pc:docMk/>
            <pc:sldMk cId="1042857578" sldId="2263"/>
            <ac:graphicFrameMk id="5" creationId="{5D66B979-987D-CAC9-6DB0-C1D26C25F694}"/>
          </ac:graphicFrameMkLst>
        </pc:graphicFrameChg>
        <pc:graphicFrameChg chg="add mod">
          <ac:chgData name="Joey Ray Zahr" userId="9150008f-b0d5-4c48-a0fe-8b032f63645f" providerId="ADAL" clId="{07880C7B-BEDA-4ECB-BB9C-300DDF054D79}" dt="2025-04-02T02:57:29.869" v="4166"/>
          <ac:graphicFrameMkLst>
            <pc:docMk/>
            <pc:sldMk cId="1042857578" sldId="2263"/>
            <ac:graphicFrameMk id="6" creationId="{717C77F1-744D-16B7-509A-58712F46A69E}"/>
          </ac:graphicFrameMkLst>
        </pc:graphicFrameChg>
        <pc:graphicFrameChg chg="add mod modGraphic">
          <ac:chgData name="Joey Ray Zahr" userId="9150008f-b0d5-4c48-a0fe-8b032f63645f" providerId="ADAL" clId="{07880C7B-BEDA-4ECB-BB9C-300DDF054D79}" dt="2025-04-02T03:09:57.918" v="4601" actId="20577"/>
          <ac:graphicFrameMkLst>
            <pc:docMk/>
            <pc:sldMk cId="1042857578" sldId="2263"/>
            <ac:graphicFrameMk id="8" creationId="{214A1249-A733-21B6-DAE9-9D36CEA889FB}"/>
          </ac:graphicFrameMkLst>
        </pc:graphicFrameChg>
      </pc:sldChg>
      <pc:sldChg chg="addSp delSp modSp mod ord">
        <pc:chgData name="Joey Ray Zahr" userId="9150008f-b0d5-4c48-a0fe-8b032f63645f" providerId="ADAL" clId="{07880C7B-BEDA-4ECB-BB9C-300DDF054D79}" dt="2025-04-02T03:41:14.558" v="5211" actId="14100"/>
        <pc:sldMkLst>
          <pc:docMk/>
          <pc:sldMk cId="1442350138" sldId="2267"/>
        </pc:sldMkLst>
        <pc:spChg chg="del">
          <ac:chgData name="Joey Ray Zahr" userId="9150008f-b0d5-4c48-a0fe-8b032f63645f" providerId="ADAL" clId="{07880C7B-BEDA-4ECB-BB9C-300DDF054D79}" dt="2025-04-02T03:37:11.103" v="5123" actId="478"/>
          <ac:spMkLst>
            <pc:docMk/>
            <pc:sldMk cId="1442350138" sldId="2267"/>
            <ac:spMk id="3" creationId="{CCFC18BA-9C3E-AC21-FE28-C015D3FE6A27}"/>
          </ac:spMkLst>
        </pc:spChg>
        <pc:spChg chg="add mod">
          <ac:chgData name="Joey Ray Zahr" userId="9150008f-b0d5-4c48-a0fe-8b032f63645f" providerId="ADAL" clId="{07880C7B-BEDA-4ECB-BB9C-300DDF054D79}" dt="2025-04-02T03:06:19.724" v="4593" actId="14100"/>
          <ac:spMkLst>
            <pc:docMk/>
            <pc:sldMk cId="1442350138" sldId="2267"/>
            <ac:spMk id="7" creationId="{BA8B3497-CF1B-3BB9-1D3C-79473E87E292}"/>
          </ac:spMkLst>
        </pc:spChg>
        <pc:spChg chg="mod">
          <ac:chgData name="Joey Ray Zahr" userId="9150008f-b0d5-4c48-a0fe-8b032f63645f" providerId="ADAL" clId="{07880C7B-BEDA-4ECB-BB9C-300DDF054D79}" dt="2025-04-02T03:06:13.901" v="4591" actId="1076"/>
          <ac:spMkLst>
            <pc:docMk/>
            <pc:sldMk cId="1442350138" sldId="2267"/>
            <ac:spMk id="29" creationId="{9CEBC841-5A5B-3F45-E34A-478BF4376C1B}"/>
          </ac:spMkLst>
        </pc:spChg>
        <pc:spChg chg="mod">
          <ac:chgData name="Joey Ray Zahr" userId="9150008f-b0d5-4c48-a0fe-8b032f63645f" providerId="ADAL" clId="{07880C7B-BEDA-4ECB-BB9C-300DDF054D79}" dt="2025-04-02T03:39:18.947" v="5203" actId="14100"/>
          <ac:spMkLst>
            <pc:docMk/>
            <pc:sldMk cId="1442350138" sldId="2267"/>
            <ac:spMk id="32" creationId="{18C9CEF7-2669-280A-3365-2DF95B29C6BB}"/>
          </ac:spMkLst>
        </pc:spChg>
        <pc:graphicFrameChg chg="mod modGraphic">
          <ac:chgData name="Joey Ray Zahr" userId="9150008f-b0d5-4c48-a0fe-8b032f63645f" providerId="ADAL" clId="{07880C7B-BEDA-4ECB-BB9C-300DDF054D79}" dt="2025-04-02T03:38:52.838" v="5200" actId="242"/>
          <ac:graphicFrameMkLst>
            <pc:docMk/>
            <pc:sldMk cId="1442350138" sldId="2267"/>
            <ac:graphicFrameMk id="8" creationId="{12D1685D-AD6C-DC72-6BDB-27C03A2DD038}"/>
          </ac:graphicFrameMkLst>
        </pc:graphicFrameChg>
        <pc:picChg chg="mod">
          <ac:chgData name="Joey Ray Zahr" userId="9150008f-b0d5-4c48-a0fe-8b032f63645f" providerId="ADAL" clId="{07880C7B-BEDA-4ECB-BB9C-300DDF054D79}" dt="2025-04-02T03:41:14.558" v="5211" actId="14100"/>
          <ac:picMkLst>
            <pc:docMk/>
            <pc:sldMk cId="1442350138" sldId="2267"/>
            <ac:picMk id="5126" creationId="{72294337-9265-9A40-67D6-165510B11D6A}"/>
          </ac:picMkLst>
        </pc:picChg>
        <pc:cxnChg chg="mod">
          <ac:chgData name="Joey Ray Zahr" userId="9150008f-b0d5-4c48-a0fe-8b032f63645f" providerId="ADAL" clId="{07880C7B-BEDA-4ECB-BB9C-300DDF054D79}" dt="2025-04-02T03:05:04.229" v="4581" actId="14100"/>
          <ac:cxnSpMkLst>
            <pc:docMk/>
            <pc:sldMk cId="1442350138" sldId="2267"/>
            <ac:cxnSpMk id="28" creationId="{EAC60310-2666-9687-86F2-E4DF0FD01E15}"/>
          </ac:cxnSpMkLst>
        </pc:cxnChg>
      </pc:sldChg>
      <pc:sldChg chg="modSp mod">
        <pc:chgData name="Joey Ray Zahr" userId="9150008f-b0d5-4c48-a0fe-8b032f63645f" providerId="ADAL" clId="{07880C7B-BEDA-4ECB-BB9C-300DDF054D79}" dt="2025-04-02T03:46:04.976" v="5266" actId="14100"/>
        <pc:sldMkLst>
          <pc:docMk/>
          <pc:sldMk cId="3535350961" sldId="2272"/>
        </pc:sldMkLst>
        <pc:picChg chg="mod">
          <ac:chgData name="Joey Ray Zahr" userId="9150008f-b0d5-4c48-a0fe-8b032f63645f" providerId="ADAL" clId="{07880C7B-BEDA-4ECB-BB9C-300DDF054D79}" dt="2025-04-02T03:46:04.976" v="5266" actId="14100"/>
          <ac:picMkLst>
            <pc:docMk/>
            <pc:sldMk cId="3535350961" sldId="2272"/>
            <ac:picMk id="13" creationId="{1EA8868E-F1BF-C8EB-D40A-40508ED8C304}"/>
          </ac:picMkLst>
        </pc:picChg>
      </pc:sldChg>
      <pc:sldChg chg="delSp mod ord">
        <pc:chgData name="Joey Ray Zahr" userId="9150008f-b0d5-4c48-a0fe-8b032f63645f" providerId="ADAL" clId="{07880C7B-BEDA-4ECB-BB9C-300DDF054D79}" dt="2025-04-02T04:03:00.814" v="5299" actId="478"/>
        <pc:sldMkLst>
          <pc:docMk/>
          <pc:sldMk cId="3089843796" sldId="2274"/>
        </pc:sldMkLst>
        <pc:spChg chg="del">
          <ac:chgData name="Joey Ray Zahr" userId="9150008f-b0d5-4c48-a0fe-8b032f63645f" providerId="ADAL" clId="{07880C7B-BEDA-4ECB-BB9C-300DDF054D79}" dt="2025-04-02T04:03:00.814" v="5299" actId="478"/>
          <ac:spMkLst>
            <pc:docMk/>
            <pc:sldMk cId="3089843796" sldId="2274"/>
            <ac:spMk id="3" creationId="{C683AF65-211A-8D0A-DC18-084B1805F9A2}"/>
          </ac:spMkLst>
        </pc:spChg>
      </pc:sldChg>
      <pc:sldChg chg="delSp mod">
        <pc:chgData name="Joey Ray Zahr" userId="9150008f-b0d5-4c48-a0fe-8b032f63645f" providerId="ADAL" clId="{07880C7B-BEDA-4ECB-BB9C-300DDF054D79}" dt="2025-04-02T03:36:58.150" v="5121" actId="478"/>
        <pc:sldMkLst>
          <pc:docMk/>
          <pc:sldMk cId="4220811490" sldId="2276"/>
        </pc:sldMkLst>
        <pc:cxnChg chg="del">
          <ac:chgData name="Joey Ray Zahr" userId="9150008f-b0d5-4c48-a0fe-8b032f63645f" providerId="ADAL" clId="{07880C7B-BEDA-4ECB-BB9C-300DDF054D79}" dt="2025-04-02T03:36:58.150" v="5121" actId="478"/>
          <ac:cxnSpMkLst>
            <pc:docMk/>
            <pc:sldMk cId="4220811490" sldId="2276"/>
            <ac:cxnSpMk id="32" creationId="{A9AAAE7E-CFAE-20CA-E969-92EBB7697DBC}"/>
          </ac:cxnSpMkLst>
        </pc:cxnChg>
      </pc:sldChg>
      <pc:sldChg chg="new ord">
        <pc:chgData name="Joey Ray Zahr" userId="9150008f-b0d5-4c48-a0fe-8b032f63645f" providerId="ADAL" clId="{07880C7B-BEDA-4ECB-BB9C-300DDF054D79}" dt="2025-04-02T03:43:16.525" v="5227"/>
        <pc:sldMkLst>
          <pc:docMk/>
          <pc:sldMk cId="2937661227" sldId="2277"/>
        </pc:sldMkLst>
      </pc:sldChg>
      <pc:sldMasterChg chg="modSp mod addSldLayout delSldLayout modSldLayout">
        <pc:chgData name="Joey Ray Zahr" userId="9150008f-b0d5-4c48-a0fe-8b032f63645f" providerId="ADAL" clId="{07880C7B-BEDA-4ECB-BB9C-300DDF054D79}" dt="2025-04-02T03:43:10.360" v="5224" actId="47"/>
        <pc:sldMasterMkLst>
          <pc:docMk/>
          <pc:sldMasterMk cId="108896749" sldId="2147483674"/>
        </pc:sldMasterMkLst>
        <pc:picChg chg="mod">
          <ac:chgData name="Joey Ray Zahr" userId="9150008f-b0d5-4c48-a0fe-8b032f63645f" providerId="ADAL" clId="{07880C7B-BEDA-4ECB-BB9C-300DDF054D79}" dt="2025-03-25T17:27:13.011" v="892" actId="1076"/>
          <ac:picMkLst>
            <pc:docMk/>
            <pc:sldMasterMk cId="108896749" sldId="2147483674"/>
            <ac:picMk id="23" creationId="{9C722079-65A3-F3A5-3451-03AB86AB537E}"/>
          </ac:picMkLst>
        </pc:picChg>
        <pc:sldLayoutChg chg="addSp delSp modSp mod">
          <pc:chgData name="Joey Ray Zahr" userId="9150008f-b0d5-4c48-a0fe-8b032f63645f" providerId="ADAL" clId="{07880C7B-BEDA-4ECB-BB9C-300DDF054D79}" dt="2025-03-25T17:32:42.011" v="1017"/>
          <pc:sldLayoutMkLst>
            <pc:docMk/>
            <pc:sldMasterMk cId="108896749" sldId="2147483674"/>
            <pc:sldLayoutMk cId="3428732608" sldId="2147483679"/>
          </pc:sldLayoutMkLst>
          <pc:spChg chg="add mod">
            <ac:chgData name="Joey Ray Zahr" userId="9150008f-b0d5-4c48-a0fe-8b032f63645f" providerId="ADAL" clId="{07880C7B-BEDA-4ECB-BB9C-300DDF054D79}" dt="2025-03-25T17:32:42.011" v="1017"/>
            <ac:spMkLst>
              <pc:docMk/>
              <pc:sldMasterMk cId="108896749" sldId="2147483674"/>
              <pc:sldLayoutMk cId="3428732608" sldId="2147483679"/>
              <ac:spMk id="13" creationId="{F0EA874D-CBEA-0C45-51CC-F68AA6DA05CD}"/>
            </ac:spMkLst>
          </pc:spChg>
          <pc:cxnChg chg="mod">
            <ac:chgData name="Joey Ray Zahr" userId="9150008f-b0d5-4c48-a0fe-8b032f63645f" providerId="ADAL" clId="{07880C7B-BEDA-4ECB-BB9C-300DDF054D79}" dt="2025-03-25T17:29:46.907" v="924" actId="1582"/>
            <ac:cxnSpMkLst>
              <pc:docMk/>
              <pc:sldMasterMk cId="108896749" sldId="2147483674"/>
              <pc:sldLayoutMk cId="3428732608" sldId="2147483679"/>
              <ac:cxnSpMk id="7" creationId="{6B8CDC80-B872-625A-1796-62B38E9E4722}"/>
            </ac:cxnSpMkLst>
          </pc:cxnChg>
        </pc:sldLayoutChg>
        <pc:sldLayoutChg chg="addSp delSp modSp mod">
          <pc:chgData name="Joey Ray Zahr" userId="9150008f-b0d5-4c48-a0fe-8b032f63645f" providerId="ADAL" clId="{07880C7B-BEDA-4ECB-BB9C-300DDF054D79}" dt="2025-03-25T17:32:46.081" v="1019"/>
          <pc:sldLayoutMkLst>
            <pc:docMk/>
            <pc:sldMasterMk cId="108896749" sldId="2147483674"/>
            <pc:sldLayoutMk cId="2977562269" sldId="2147483684"/>
          </pc:sldLayoutMkLst>
          <pc:spChg chg="add mod">
            <ac:chgData name="Joey Ray Zahr" userId="9150008f-b0d5-4c48-a0fe-8b032f63645f" providerId="ADAL" clId="{07880C7B-BEDA-4ECB-BB9C-300DDF054D79}" dt="2025-03-25T17:32:46.081" v="1019"/>
            <ac:spMkLst>
              <pc:docMk/>
              <pc:sldMasterMk cId="108896749" sldId="2147483674"/>
              <pc:sldLayoutMk cId="2977562269" sldId="2147483684"/>
              <ac:spMk id="8" creationId="{4D60EB77-47E2-579E-F4CE-6999E5D7C5F2}"/>
            </ac:spMkLst>
          </pc:spChg>
          <pc:cxnChg chg="add mod">
            <ac:chgData name="Joey Ray Zahr" userId="9150008f-b0d5-4c48-a0fe-8b032f63645f" providerId="ADAL" clId="{07880C7B-BEDA-4ECB-BB9C-300DDF054D79}" dt="2025-03-25T17:29:50.787" v="926"/>
            <ac:cxnSpMkLst>
              <pc:docMk/>
              <pc:sldMasterMk cId="108896749" sldId="2147483674"/>
              <pc:sldLayoutMk cId="2977562269" sldId="2147483684"/>
              <ac:cxnSpMk id="5" creationId="{88F788B8-8FF6-06D9-2AC8-76D6F0E95005}"/>
            </ac:cxnSpMkLst>
          </pc:cxnChg>
        </pc:sldLayoutChg>
        <pc:sldLayoutChg chg="addSp delSp modSp mod">
          <pc:chgData name="Joey Ray Zahr" userId="9150008f-b0d5-4c48-a0fe-8b032f63645f" providerId="ADAL" clId="{07880C7B-BEDA-4ECB-BB9C-300DDF054D79}" dt="2025-03-25T17:33:06.402" v="1031"/>
          <pc:sldLayoutMkLst>
            <pc:docMk/>
            <pc:sldMasterMk cId="108896749" sldId="2147483674"/>
            <pc:sldLayoutMk cId="297341965" sldId="2147483687"/>
          </pc:sldLayoutMkLst>
          <pc:spChg chg="add mod">
            <ac:chgData name="Joey Ray Zahr" userId="9150008f-b0d5-4c48-a0fe-8b032f63645f" providerId="ADAL" clId="{07880C7B-BEDA-4ECB-BB9C-300DDF054D79}" dt="2025-03-25T17:33:06.402" v="1031"/>
            <ac:spMkLst>
              <pc:docMk/>
              <pc:sldMasterMk cId="108896749" sldId="2147483674"/>
              <pc:sldLayoutMk cId="297341965" sldId="2147483687"/>
              <ac:spMk id="7" creationId="{07048E68-B804-33F4-B670-D42E99B446B6}"/>
            </ac:spMkLst>
          </pc:spChg>
          <pc:cxnChg chg="add mod">
            <ac:chgData name="Joey Ray Zahr" userId="9150008f-b0d5-4c48-a0fe-8b032f63645f" providerId="ADAL" clId="{07880C7B-BEDA-4ECB-BB9C-300DDF054D79}" dt="2025-03-25T17:30:15.141" v="938"/>
            <ac:cxnSpMkLst>
              <pc:docMk/>
              <pc:sldMasterMk cId="108896749" sldId="2147483674"/>
              <pc:sldLayoutMk cId="297341965" sldId="2147483687"/>
              <ac:cxnSpMk id="3" creationId="{FDDE79AC-E63E-470D-79FE-E5A6353DAAC8}"/>
            </ac:cxnSpMkLst>
          </pc:cxnChg>
        </pc:sldLayoutChg>
        <pc:sldLayoutChg chg="addSp delSp modSp mod">
          <pc:chgData name="Joey Ray Zahr" userId="9150008f-b0d5-4c48-a0fe-8b032f63645f" providerId="ADAL" clId="{07880C7B-BEDA-4ECB-BB9C-300DDF054D79}" dt="2025-03-25T17:32:55.791" v="1025"/>
          <pc:sldLayoutMkLst>
            <pc:docMk/>
            <pc:sldMasterMk cId="108896749" sldId="2147483674"/>
            <pc:sldLayoutMk cId="1516031984" sldId="2147483688"/>
          </pc:sldLayoutMkLst>
          <pc:spChg chg="add mod">
            <ac:chgData name="Joey Ray Zahr" userId="9150008f-b0d5-4c48-a0fe-8b032f63645f" providerId="ADAL" clId="{07880C7B-BEDA-4ECB-BB9C-300DDF054D79}" dt="2025-03-25T17:32:55.791" v="1025"/>
            <ac:spMkLst>
              <pc:docMk/>
              <pc:sldMasterMk cId="108896749" sldId="2147483674"/>
              <pc:sldLayoutMk cId="1516031984" sldId="2147483688"/>
              <ac:spMk id="6" creationId="{EF77AE70-0F63-9879-EC89-7FC78D6E99AC}"/>
            </ac:spMkLst>
          </pc:spChg>
          <pc:cxnChg chg="add mod">
            <ac:chgData name="Joey Ray Zahr" userId="9150008f-b0d5-4c48-a0fe-8b032f63645f" providerId="ADAL" clId="{07880C7B-BEDA-4ECB-BB9C-300DDF054D79}" dt="2025-03-25T17:30:03.315" v="932"/>
            <ac:cxnSpMkLst>
              <pc:docMk/>
              <pc:sldMasterMk cId="108896749" sldId="2147483674"/>
              <pc:sldLayoutMk cId="1516031984" sldId="2147483688"/>
              <ac:cxnSpMk id="2" creationId="{5C830122-DE53-A350-9680-A572C14E4A46}"/>
            </ac:cxnSpMkLst>
          </pc:cxnChg>
        </pc:sldLayoutChg>
        <pc:sldLayoutChg chg="addSp delSp modSp mod">
          <pc:chgData name="Joey Ray Zahr" userId="9150008f-b0d5-4c48-a0fe-8b032f63645f" providerId="ADAL" clId="{07880C7B-BEDA-4ECB-BB9C-300DDF054D79}" dt="2025-03-25T17:32:49.203" v="1021"/>
          <pc:sldLayoutMkLst>
            <pc:docMk/>
            <pc:sldMasterMk cId="108896749" sldId="2147483674"/>
            <pc:sldLayoutMk cId="843728401" sldId="2147483689"/>
          </pc:sldLayoutMkLst>
          <pc:spChg chg="add mod">
            <ac:chgData name="Joey Ray Zahr" userId="9150008f-b0d5-4c48-a0fe-8b032f63645f" providerId="ADAL" clId="{07880C7B-BEDA-4ECB-BB9C-300DDF054D79}" dt="2025-03-25T17:32:49.203" v="1021"/>
            <ac:spMkLst>
              <pc:docMk/>
              <pc:sldMasterMk cId="108896749" sldId="2147483674"/>
              <pc:sldLayoutMk cId="843728401" sldId="2147483689"/>
              <ac:spMk id="8" creationId="{07A90963-F014-310C-094A-7ED3D9479049}"/>
            </ac:spMkLst>
          </pc:spChg>
          <pc:cxnChg chg="add mod">
            <ac:chgData name="Joey Ray Zahr" userId="9150008f-b0d5-4c48-a0fe-8b032f63645f" providerId="ADAL" clId="{07880C7B-BEDA-4ECB-BB9C-300DDF054D79}" dt="2025-03-25T17:29:53.650" v="928"/>
            <ac:cxnSpMkLst>
              <pc:docMk/>
              <pc:sldMasterMk cId="108896749" sldId="2147483674"/>
              <pc:sldLayoutMk cId="843728401" sldId="2147483689"/>
              <ac:cxnSpMk id="5" creationId="{3904E688-3A94-8DCC-520B-DCDA220A59C5}"/>
            </ac:cxnSpMkLst>
          </pc:cxnChg>
        </pc:sldLayoutChg>
        <pc:sldLayoutChg chg="addSp delSp modSp mod">
          <pc:chgData name="Joey Ray Zahr" userId="9150008f-b0d5-4c48-a0fe-8b032f63645f" providerId="ADAL" clId="{07880C7B-BEDA-4ECB-BB9C-300DDF054D79}" dt="2025-03-25T17:32:52.659" v="1023"/>
          <pc:sldLayoutMkLst>
            <pc:docMk/>
            <pc:sldMasterMk cId="108896749" sldId="2147483674"/>
            <pc:sldLayoutMk cId="3495220734" sldId="2147483690"/>
          </pc:sldLayoutMkLst>
          <pc:spChg chg="add mod">
            <ac:chgData name="Joey Ray Zahr" userId="9150008f-b0d5-4c48-a0fe-8b032f63645f" providerId="ADAL" clId="{07880C7B-BEDA-4ECB-BB9C-300DDF054D79}" dt="2025-03-25T17:32:52.659" v="1023"/>
            <ac:spMkLst>
              <pc:docMk/>
              <pc:sldMasterMk cId="108896749" sldId="2147483674"/>
              <pc:sldLayoutMk cId="3495220734" sldId="2147483690"/>
              <ac:spMk id="6" creationId="{D0451119-49D8-5808-CAED-7F810A62BE75}"/>
            </ac:spMkLst>
          </pc:spChg>
          <pc:cxnChg chg="add mod">
            <ac:chgData name="Joey Ray Zahr" userId="9150008f-b0d5-4c48-a0fe-8b032f63645f" providerId="ADAL" clId="{07880C7B-BEDA-4ECB-BB9C-300DDF054D79}" dt="2025-03-25T17:29:58.866" v="930"/>
            <ac:cxnSpMkLst>
              <pc:docMk/>
              <pc:sldMasterMk cId="108896749" sldId="2147483674"/>
              <pc:sldLayoutMk cId="3495220734" sldId="2147483690"/>
              <ac:cxnSpMk id="2" creationId="{9435E3A5-D281-9597-14C0-3AF3152DDE0B}"/>
            </ac:cxnSpMkLst>
          </pc:cxnChg>
        </pc:sldLayoutChg>
        <pc:sldLayoutChg chg="addSp delSp modSp mod">
          <pc:chgData name="Joey Ray Zahr" userId="9150008f-b0d5-4c48-a0fe-8b032f63645f" providerId="ADAL" clId="{07880C7B-BEDA-4ECB-BB9C-300DDF054D79}" dt="2025-03-25T17:32:58.731" v="1027"/>
          <pc:sldLayoutMkLst>
            <pc:docMk/>
            <pc:sldMasterMk cId="108896749" sldId="2147483674"/>
            <pc:sldLayoutMk cId="1221552074" sldId="2147483691"/>
          </pc:sldLayoutMkLst>
          <pc:spChg chg="add mod">
            <ac:chgData name="Joey Ray Zahr" userId="9150008f-b0d5-4c48-a0fe-8b032f63645f" providerId="ADAL" clId="{07880C7B-BEDA-4ECB-BB9C-300DDF054D79}" dt="2025-03-25T17:32:58.731" v="1027"/>
            <ac:spMkLst>
              <pc:docMk/>
              <pc:sldMasterMk cId="108896749" sldId="2147483674"/>
              <pc:sldLayoutMk cId="1221552074" sldId="2147483691"/>
              <ac:spMk id="8" creationId="{438F725F-2049-3633-F8CD-6590650F101D}"/>
            </ac:spMkLst>
          </pc:spChg>
          <pc:cxnChg chg="add mod">
            <ac:chgData name="Joey Ray Zahr" userId="9150008f-b0d5-4c48-a0fe-8b032f63645f" providerId="ADAL" clId="{07880C7B-BEDA-4ECB-BB9C-300DDF054D79}" dt="2025-03-25T17:30:07.452" v="934"/>
            <ac:cxnSpMkLst>
              <pc:docMk/>
              <pc:sldMasterMk cId="108896749" sldId="2147483674"/>
              <pc:sldLayoutMk cId="1221552074" sldId="2147483691"/>
              <ac:cxnSpMk id="5" creationId="{6FB2FC43-8BEC-E22A-8755-20A7508AA201}"/>
            </ac:cxnSpMkLst>
          </pc:cxnChg>
        </pc:sldLayoutChg>
        <pc:sldLayoutChg chg="addSp delSp modSp mod">
          <pc:chgData name="Joey Ray Zahr" userId="9150008f-b0d5-4c48-a0fe-8b032f63645f" providerId="ADAL" clId="{07880C7B-BEDA-4ECB-BB9C-300DDF054D79}" dt="2025-03-25T17:33:02.500" v="1029"/>
          <pc:sldLayoutMkLst>
            <pc:docMk/>
            <pc:sldMasterMk cId="108896749" sldId="2147483674"/>
            <pc:sldLayoutMk cId="4155466815" sldId="2147483692"/>
          </pc:sldLayoutMkLst>
          <pc:spChg chg="add mod">
            <ac:chgData name="Joey Ray Zahr" userId="9150008f-b0d5-4c48-a0fe-8b032f63645f" providerId="ADAL" clId="{07880C7B-BEDA-4ECB-BB9C-300DDF054D79}" dt="2025-03-25T17:33:02.500" v="1029"/>
            <ac:spMkLst>
              <pc:docMk/>
              <pc:sldMasterMk cId="108896749" sldId="2147483674"/>
              <pc:sldLayoutMk cId="4155466815" sldId="2147483692"/>
              <ac:spMk id="16" creationId="{39DF6BA8-AEF1-944F-C844-6D765A4AA614}"/>
            </ac:spMkLst>
          </pc:spChg>
          <pc:cxnChg chg="add mod">
            <ac:chgData name="Joey Ray Zahr" userId="9150008f-b0d5-4c48-a0fe-8b032f63645f" providerId="ADAL" clId="{07880C7B-BEDA-4ECB-BB9C-300DDF054D79}" dt="2025-03-25T17:30:10.694" v="936"/>
            <ac:cxnSpMkLst>
              <pc:docMk/>
              <pc:sldMasterMk cId="108896749" sldId="2147483674"/>
              <pc:sldLayoutMk cId="4155466815" sldId="2147483692"/>
              <ac:cxnSpMk id="2" creationId="{FAC6D583-7FC3-E68C-516C-9C9466858415}"/>
            </ac:cxnSpMkLst>
          </pc:cxnChg>
        </pc:sldLayoutChg>
        <pc:sldLayoutChg chg="addSp modSp mod">
          <pc:chgData name="Joey Ray Zahr" userId="9150008f-b0d5-4c48-a0fe-8b032f63645f" providerId="ADAL" clId="{07880C7B-BEDA-4ECB-BB9C-300DDF054D79}" dt="2025-03-25T17:32:36.019" v="1015" actId="1037"/>
          <pc:sldLayoutMkLst>
            <pc:docMk/>
            <pc:sldMasterMk cId="108896749" sldId="2147483674"/>
            <pc:sldLayoutMk cId="3037225722" sldId="2147483693"/>
          </pc:sldLayoutMkLst>
          <pc:spChg chg="add mod">
            <ac:chgData name="Joey Ray Zahr" userId="9150008f-b0d5-4c48-a0fe-8b032f63645f" providerId="ADAL" clId="{07880C7B-BEDA-4ECB-BB9C-300DDF054D79}" dt="2025-03-25T17:32:36.019" v="1015" actId="1037"/>
            <ac:spMkLst>
              <pc:docMk/>
              <pc:sldMasterMk cId="108896749" sldId="2147483674"/>
              <pc:sldLayoutMk cId="3037225722" sldId="2147483693"/>
              <ac:spMk id="3" creationId="{38B34AEA-424E-E6F3-E238-8165C0C2D089}"/>
            </ac:spMkLst>
          </pc:spChg>
        </pc:sldLayoutChg>
        <pc:sldLayoutChg chg="del">
          <pc:chgData name="Joey Ray Zahr" userId="9150008f-b0d5-4c48-a0fe-8b032f63645f" providerId="ADAL" clId="{07880C7B-BEDA-4ECB-BB9C-300DDF054D79}" dt="2025-04-02T03:43:10.360" v="5224" actId="47"/>
          <pc:sldLayoutMkLst>
            <pc:docMk/>
            <pc:sldMasterMk cId="108896749" sldId="2147483674"/>
            <pc:sldLayoutMk cId="2703187418" sldId="2147483694"/>
          </pc:sldLayoutMkLst>
        </pc:sldLayoutChg>
        <pc:sldLayoutChg chg="delSp add mod modTransition">
          <pc:chgData name="Joey Ray Zahr" userId="9150008f-b0d5-4c48-a0fe-8b032f63645f" providerId="ADAL" clId="{07880C7B-BEDA-4ECB-BB9C-300DDF054D79}" dt="2025-04-02T02:59:15.398" v="4219" actId="478"/>
          <pc:sldLayoutMkLst>
            <pc:docMk/>
            <pc:sldMasterMk cId="108896749" sldId="2147483674"/>
            <pc:sldLayoutMk cId="1573005759" sldId="2147483697"/>
          </pc:sldLayoutMkLst>
          <pc:spChg chg="del">
            <ac:chgData name="Joey Ray Zahr" userId="9150008f-b0d5-4c48-a0fe-8b032f63645f" providerId="ADAL" clId="{07880C7B-BEDA-4ECB-BB9C-300DDF054D79}" dt="2025-04-02T02:59:15.398" v="4219" actId="478"/>
            <ac:spMkLst>
              <pc:docMk/>
              <pc:sldMasterMk cId="108896749" sldId="2147483674"/>
              <pc:sldLayoutMk cId="1573005759" sldId="2147483697"/>
              <ac:spMk id="11" creationId="{778FF9A2-D036-D1CA-7F64-D989AE17E27C}"/>
            </ac:spMkLst>
          </pc:spChg>
          <pc:spChg chg="del">
            <ac:chgData name="Joey Ray Zahr" userId="9150008f-b0d5-4c48-a0fe-8b032f63645f" providerId="ADAL" clId="{07880C7B-BEDA-4ECB-BB9C-300DDF054D79}" dt="2025-04-02T02:59:15.088" v="4218" actId="478"/>
            <ac:spMkLst>
              <pc:docMk/>
              <pc:sldMasterMk cId="108896749" sldId="2147483674"/>
              <pc:sldLayoutMk cId="1573005759" sldId="2147483697"/>
              <ac:spMk id="17" creationId="{6461BAD3-0E23-E269-747C-EF2AA191735F}"/>
            </ac:spMkLst>
          </pc:spChg>
          <pc:cxnChg chg="del">
            <ac:chgData name="Joey Ray Zahr" userId="9150008f-b0d5-4c48-a0fe-8b032f63645f" providerId="ADAL" clId="{07880C7B-BEDA-4ECB-BB9C-300DDF054D79}" dt="2025-04-02T02:59:14.470" v="4217" actId="478"/>
            <ac:cxnSpMkLst>
              <pc:docMk/>
              <pc:sldMasterMk cId="108896749" sldId="2147483674"/>
              <pc:sldLayoutMk cId="1573005759" sldId="2147483697"/>
              <ac:cxnSpMk id="20" creationId="{8829D08B-2A35-80ED-F0D2-A3C661336930}"/>
            </ac:cxnSpMkLst>
          </pc:cxnChg>
        </pc:sldLayoutChg>
      </pc:sldMasterChg>
    </pc:docChg>
  </pc:docChgLst>
  <pc:docChgLst>
    <pc:chgData name="Christian Gillam" userId="S::cgill016@uottawa.ca::178737ef-0014-4dd8-b439-bc02dd9433a1" providerId="AD" clId="Web-{0E869524-F96E-E574-D72D-F45DA707A830}"/>
    <pc:docChg chg="addSld delSld modSld sldOrd">
      <pc:chgData name="Christian Gillam" userId="S::cgill016@uottawa.ca::178737ef-0014-4dd8-b439-bc02dd9433a1" providerId="AD" clId="Web-{0E869524-F96E-E574-D72D-F45DA707A830}" dt="2025-03-31T23:36:25.309" v="534" actId="20577"/>
      <pc:docMkLst>
        <pc:docMk/>
      </pc:docMkLst>
      <pc:sldChg chg="delSp modSp">
        <pc:chgData name="Christian Gillam" userId="S::cgill016@uottawa.ca::178737ef-0014-4dd8-b439-bc02dd9433a1" providerId="AD" clId="Web-{0E869524-F96E-E574-D72D-F45DA707A830}" dt="2025-03-31T23:34:14.682" v="526" actId="20577"/>
        <pc:sldMkLst>
          <pc:docMk/>
          <pc:sldMk cId="229152731" sldId="315"/>
        </pc:sldMkLst>
        <pc:spChg chg="mod">
          <ac:chgData name="Christian Gillam" userId="S::cgill016@uottawa.ca::178737ef-0014-4dd8-b439-bc02dd9433a1" providerId="AD" clId="Web-{0E869524-F96E-E574-D72D-F45DA707A830}" dt="2025-03-31T23:33:12.821" v="520" actId="14100"/>
          <ac:spMkLst>
            <pc:docMk/>
            <pc:sldMk cId="229152731" sldId="315"/>
            <ac:spMk id="3" creationId="{1FF0B9F9-0803-7615-F4C7-3BCEF5E203A5}"/>
          </ac:spMkLst>
        </pc:spChg>
        <pc:spChg chg="mod">
          <ac:chgData name="Christian Gillam" userId="S::cgill016@uottawa.ca::178737ef-0014-4dd8-b439-bc02dd9433a1" providerId="AD" clId="Web-{0E869524-F96E-E574-D72D-F45DA707A830}" dt="2025-03-31T23:33:33.103" v="522" actId="14100"/>
          <ac:spMkLst>
            <pc:docMk/>
            <pc:sldMk cId="229152731" sldId="315"/>
            <ac:spMk id="4" creationId="{97806DB4-987A-AA82-DF98-57356410C9EB}"/>
          </ac:spMkLst>
        </pc:spChg>
        <pc:spChg chg="mod">
          <ac:chgData name="Christian Gillam" userId="S::cgill016@uottawa.ca::178737ef-0014-4dd8-b439-bc02dd9433a1" providerId="AD" clId="Web-{0E869524-F96E-E574-D72D-F45DA707A830}" dt="2025-03-31T19:47:02.797" v="268" actId="20577"/>
          <ac:spMkLst>
            <pc:docMk/>
            <pc:sldMk cId="229152731" sldId="315"/>
            <ac:spMk id="7" creationId="{F15F6A29-BB29-E1C6-BACC-63A89B82628D}"/>
          </ac:spMkLst>
        </pc:spChg>
        <pc:spChg chg="del">
          <ac:chgData name="Christian Gillam" userId="S::cgill016@uottawa.ca::178737ef-0014-4dd8-b439-bc02dd9433a1" providerId="AD" clId="Web-{0E869524-F96E-E574-D72D-F45DA707A830}" dt="2025-03-31T19:53:04.609" v="269"/>
          <ac:spMkLst>
            <pc:docMk/>
            <pc:sldMk cId="229152731" sldId="315"/>
            <ac:spMk id="8" creationId="{5F943527-2164-F161-CEE7-9957B23E2CAB}"/>
          </ac:spMkLst>
        </pc:spChg>
        <pc:spChg chg="mod">
          <ac:chgData name="Christian Gillam" userId="S::cgill016@uottawa.ca::178737ef-0014-4dd8-b439-bc02dd9433a1" providerId="AD" clId="Web-{0E869524-F96E-E574-D72D-F45DA707A830}" dt="2025-03-31T23:32:29.477" v="514" actId="1076"/>
          <ac:spMkLst>
            <pc:docMk/>
            <pc:sldMk cId="229152731" sldId="315"/>
            <ac:spMk id="9" creationId="{77C0178A-8729-83CD-CF6D-D6A9714B2B3E}"/>
          </ac:spMkLst>
        </pc:spChg>
        <pc:spChg chg="mod">
          <ac:chgData name="Christian Gillam" userId="S::cgill016@uottawa.ca::178737ef-0014-4dd8-b439-bc02dd9433a1" providerId="AD" clId="Web-{0E869524-F96E-E574-D72D-F45DA707A830}" dt="2025-03-31T23:32:29.430" v="513" actId="1076"/>
          <ac:spMkLst>
            <pc:docMk/>
            <pc:sldMk cId="229152731" sldId="315"/>
            <ac:spMk id="15" creationId="{5325B6D1-45D5-E9D2-64C2-C9B410FB2B99}"/>
          </ac:spMkLst>
        </pc:spChg>
        <pc:spChg chg="mod">
          <ac:chgData name="Christian Gillam" userId="S::cgill016@uottawa.ca::178737ef-0014-4dd8-b439-bc02dd9433a1" providerId="AD" clId="Web-{0E869524-F96E-E574-D72D-F45DA707A830}" dt="2025-03-31T23:34:14.682" v="526" actId="20577"/>
          <ac:spMkLst>
            <pc:docMk/>
            <pc:sldMk cId="229152731" sldId="315"/>
            <ac:spMk id="16" creationId="{80720DA1-F568-D69C-6968-B107078A959D}"/>
          </ac:spMkLst>
        </pc:spChg>
        <pc:spChg chg="mod">
          <ac:chgData name="Christian Gillam" userId="S::cgill016@uottawa.ca::178737ef-0014-4dd8-b439-bc02dd9433a1" providerId="AD" clId="Web-{0E869524-F96E-E574-D72D-F45DA707A830}" dt="2025-03-31T23:32:51.399" v="515" actId="1076"/>
          <ac:spMkLst>
            <pc:docMk/>
            <pc:sldMk cId="229152731" sldId="315"/>
            <ac:spMk id="17" creationId="{5F5DD303-B63B-D7FE-EE85-7954675ACD29}"/>
          </ac:spMkLst>
        </pc:spChg>
        <pc:spChg chg="mod">
          <ac:chgData name="Christian Gillam" userId="S::cgill016@uottawa.ca::178737ef-0014-4dd8-b439-bc02dd9433a1" providerId="AD" clId="Web-{0E869524-F96E-E574-D72D-F45DA707A830}" dt="2025-03-31T23:33:53.744" v="524" actId="1076"/>
          <ac:spMkLst>
            <pc:docMk/>
            <pc:sldMk cId="229152731" sldId="315"/>
            <ac:spMk id="18" creationId="{472D1FD2-13F5-9A83-774D-0FA028DDA8B8}"/>
          </ac:spMkLst>
        </pc:spChg>
        <pc:spChg chg="mod">
          <ac:chgData name="Christian Gillam" userId="S::cgill016@uottawa.ca::178737ef-0014-4dd8-b439-bc02dd9433a1" providerId="AD" clId="Web-{0E869524-F96E-E574-D72D-F45DA707A830}" dt="2025-03-31T23:32:51.446" v="516" actId="1076"/>
          <ac:spMkLst>
            <pc:docMk/>
            <pc:sldMk cId="229152731" sldId="315"/>
            <ac:spMk id="20" creationId="{15BA42BB-0335-B18C-C60F-95E202AB26AB}"/>
          </ac:spMkLst>
        </pc:spChg>
      </pc:sldChg>
      <pc:sldChg chg="addSp delSp modSp new del">
        <pc:chgData name="Christian Gillam" userId="S::cgill016@uottawa.ca::178737ef-0014-4dd8-b439-bc02dd9433a1" providerId="AD" clId="Web-{0E869524-F96E-E574-D72D-F45DA707A830}" dt="2025-03-31T23:31:25.007" v="511"/>
        <pc:sldMkLst>
          <pc:docMk/>
          <pc:sldMk cId="2168724459" sldId="2227"/>
        </pc:sldMkLst>
        <pc:spChg chg="del mod ord">
          <ac:chgData name="Christian Gillam" userId="S::cgill016@uottawa.ca::178737ef-0014-4dd8-b439-bc02dd9433a1" providerId="AD" clId="Web-{0E869524-F96E-E574-D72D-F45DA707A830}" dt="2025-03-31T21:18:04.103" v="312"/>
          <ac:spMkLst>
            <pc:docMk/>
            <pc:sldMk cId="2168724459" sldId="2227"/>
            <ac:spMk id="3" creationId="{E93B6699-CCD0-792F-3765-9CB1DFAC465A}"/>
          </ac:spMkLst>
        </pc:spChg>
        <pc:spChg chg="mod">
          <ac:chgData name="Christian Gillam" userId="S::cgill016@uottawa.ca::178737ef-0014-4dd8-b439-bc02dd9433a1" providerId="AD" clId="Web-{0E869524-F96E-E574-D72D-F45DA707A830}" dt="2025-03-31T20:15:17.017" v="281" actId="20577"/>
          <ac:spMkLst>
            <pc:docMk/>
            <pc:sldMk cId="2168724459" sldId="2227"/>
            <ac:spMk id="4" creationId="{8E9DB769-6FCD-B100-7DBC-8D4BC9318380}"/>
          </ac:spMkLst>
        </pc:spChg>
        <pc:spChg chg="del">
          <ac:chgData name="Christian Gillam" userId="S::cgill016@uottawa.ca::178737ef-0014-4dd8-b439-bc02dd9433a1" providerId="AD" clId="Web-{0E869524-F96E-E574-D72D-F45DA707A830}" dt="2025-03-31T21:19:03.995" v="322"/>
          <ac:spMkLst>
            <pc:docMk/>
            <pc:sldMk cId="2168724459" sldId="2227"/>
            <ac:spMk id="5" creationId="{3B8850CC-7DB9-BC35-EDA4-5F979F2EC238}"/>
          </ac:spMkLst>
        </pc:spChg>
        <pc:spChg chg="add del">
          <ac:chgData name="Christian Gillam" userId="S::cgill016@uottawa.ca::178737ef-0014-4dd8-b439-bc02dd9433a1" providerId="AD" clId="Web-{0E869524-F96E-E574-D72D-F45DA707A830}" dt="2025-03-31T21:14:56.241" v="287"/>
          <ac:spMkLst>
            <pc:docMk/>
            <pc:sldMk cId="2168724459" sldId="2227"/>
            <ac:spMk id="6" creationId="{0EC5B40B-DFD9-B5C2-F36A-559F82673301}"/>
          </ac:spMkLst>
        </pc:spChg>
        <pc:spChg chg="add del mod">
          <ac:chgData name="Christian Gillam" userId="S::cgill016@uottawa.ca::178737ef-0014-4dd8-b439-bc02dd9433a1" providerId="AD" clId="Web-{0E869524-F96E-E574-D72D-F45DA707A830}" dt="2025-03-31T21:18:23.728" v="315"/>
          <ac:spMkLst>
            <pc:docMk/>
            <pc:sldMk cId="2168724459" sldId="2227"/>
            <ac:spMk id="188" creationId="{2B9AF78B-011C-AEC9-4F97-3CBAFEAD526E}"/>
          </ac:spMkLst>
        </pc:spChg>
        <pc:spChg chg="add del">
          <ac:chgData name="Christian Gillam" userId="S::cgill016@uottawa.ca::178737ef-0014-4dd8-b439-bc02dd9433a1" providerId="AD" clId="Web-{0E869524-F96E-E574-D72D-F45DA707A830}" dt="2025-03-31T21:19:55.261" v="326"/>
          <ac:spMkLst>
            <pc:docMk/>
            <pc:sldMk cId="2168724459" sldId="2227"/>
            <ac:spMk id="279" creationId="{D7A79851-60AC-D2AB-18B4-A6F999D89CAE}"/>
          </ac:spMkLst>
        </pc:spChg>
        <pc:spChg chg="add">
          <ac:chgData name="Christian Gillam" userId="S::cgill016@uottawa.ca::178737ef-0014-4dd8-b439-bc02dd9433a1" providerId="AD" clId="Web-{0E869524-F96E-E574-D72D-F45DA707A830}" dt="2025-03-31T21:20:24.730" v="330"/>
          <ac:spMkLst>
            <pc:docMk/>
            <pc:sldMk cId="2168724459" sldId="2227"/>
            <ac:spMk id="307" creationId="{A709C75F-71E5-6FB3-C0ED-287ACAFBD64B}"/>
          </ac:spMkLst>
        </pc:spChg>
        <pc:spChg chg="add del">
          <ac:chgData name="Christian Gillam" userId="S::cgill016@uottawa.ca::178737ef-0014-4dd8-b439-bc02dd9433a1" providerId="AD" clId="Web-{0E869524-F96E-E574-D72D-F45DA707A830}" dt="2025-03-31T21:20:25.277" v="332"/>
          <ac:spMkLst>
            <pc:docMk/>
            <pc:sldMk cId="2168724459" sldId="2227"/>
            <ac:spMk id="308" creationId="{6FAE5CA9-0D90-EFC2-6913-4F347DE3F9DB}"/>
          </ac:spMkLst>
        </pc:spChg>
        <pc:spChg chg="add">
          <ac:chgData name="Christian Gillam" userId="S::cgill016@uottawa.ca::178737ef-0014-4dd8-b439-bc02dd9433a1" providerId="AD" clId="Web-{0E869524-F96E-E574-D72D-F45DA707A830}" dt="2025-03-31T21:20:44.762" v="334"/>
          <ac:spMkLst>
            <pc:docMk/>
            <pc:sldMk cId="2168724459" sldId="2227"/>
            <ac:spMk id="318" creationId="{BA998FA6-418D-89CB-6B3C-6F26B8170180}"/>
          </ac:spMkLst>
        </pc:spChg>
        <pc:spChg chg="add del">
          <ac:chgData name="Christian Gillam" userId="S::cgill016@uottawa.ca::178737ef-0014-4dd8-b439-bc02dd9433a1" providerId="AD" clId="Web-{0E869524-F96E-E574-D72D-F45DA707A830}" dt="2025-03-31T21:20:45.340" v="336"/>
          <ac:spMkLst>
            <pc:docMk/>
            <pc:sldMk cId="2168724459" sldId="2227"/>
            <ac:spMk id="319" creationId="{709FB68D-2EE4-01F5-C097-8C067711AB1E}"/>
          </ac:spMkLst>
        </pc:spChg>
        <pc:spChg chg="add del">
          <ac:chgData name="Christian Gillam" userId="S::cgill016@uottawa.ca::178737ef-0014-4dd8-b439-bc02dd9433a1" providerId="AD" clId="Web-{0E869524-F96E-E574-D72D-F45DA707A830}" dt="2025-03-31T21:20:45.715" v="338"/>
          <ac:spMkLst>
            <pc:docMk/>
            <pc:sldMk cId="2168724459" sldId="2227"/>
            <ac:spMk id="320" creationId="{75400A83-6826-5BD2-0E67-6DD8782DD129}"/>
          </ac:spMkLst>
        </pc:spChg>
        <pc:graphicFrameChg chg="add mod ord modGraphic">
          <ac:chgData name="Christian Gillam" userId="S::cgill016@uottawa.ca::178737ef-0014-4dd8-b439-bc02dd9433a1" providerId="AD" clId="Web-{0E869524-F96E-E574-D72D-F45DA707A830}" dt="2025-03-31T21:58:55.831" v="394" actId="20577"/>
          <ac:graphicFrameMkLst>
            <pc:docMk/>
            <pc:sldMk cId="2168724459" sldId="2227"/>
            <ac:graphicFrameMk id="8" creationId="{2F061250-990B-1577-4ECA-E7EB45FBF37A}"/>
          </ac:graphicFrameMkLst>
        </pc:graphicFrameChg>
      </pc:sldChg>
      <pc:sldChg chg="add replId">
        <pc:chgData name="Christian Gillam" userId="S::cgill016@uottawa.ca::178737ef-0014-4dd8-b439-bc02dd9433a1" providerId="AD" clId="Web-{0E869524-F96E-E574-D72D-F45DA707A830}" dt="2025-03-31T21:15:18.366" v="292"/>
        <pc:sldMkLst>
          <pc:docMk/>
          <pc:sldMk cId="4293254202" sldId="2228"/>
        </pc:sldMkLst>
      </pc:sldChg>
      <pc:sldChg chg="addSp delSp modSp add ord replId">
        <pc:chgData name="Christian Gillam" userId="S::cgill016@uottawa.ca::178737ef-0014-4dd8-b439-bc02dd9433a1" providerId="AD" clId="Web-{0E869524-F96E-E574-D72D-F45DA707A830}" dt="2025-03-31T23:36:25.309" v="534" actId="20577"/>
        <pc:sldMkLst>
          <pc:docMk/>
          <pc:sldMk cId="4273748011" sldId="2231"/>
        </pc:sldMkLst>
        <pc:spChg chg="add mod">
          <ac:chgData name="Christian Gillam" userId="S::cgill016@uottawa.ca::178737ef-0014-4dd8-b439-bc02dd9433a1" providerId="AD" clId="Web-{0E869524-F96E-E574-D72D-F45DA707A830}" dt="2025-03-31T23:36:25.309" v="534" actId="20577"/>
          <ac:spMkLst>
            <pc:docMk/>
            <pc:sldMk cId="4273748011" sldId="2231"/>
            <ac:spMk id="14" creationId="{B7CC9C70-B56E-5F4F-B28C-77FEF96085D7}"/>
          </ac:spMkLst>
        </pc:spChg>
        <pc:spChg chg="add mod">
          <ac:chgData name="Christian Gillam" userId="S::cgill016@uottawa.ca::178737ef-0014-4dd8-b439-bc02dd9433a1" providerId="AD" clId="Web-{0E869524-F96E-E574-D72D-F45DA707A830}" dt="2025-03-31T23:31:04.287" v="507" actId="1076"/>
          <ac:spMkLst>
            <pc:docMk/>
            <pc:sldMk cId="4273748011" sldId="2231"/>
            <ac:spMk id="15" creationId="{1746EBB1-A0A2-31BF-D5EA-CA9852F13A54}"/>
          </ac:spMkLst>
        </pc:spChg>
        <pc:spChg chg="add mod">
          <ac:chgData name="Christian Gillam" userId="S::cgill016@uottawa.ca::178737ef-0014-4dd8-b439-bc02dd9433a1" providerId="AD" clId="Web-{0E869524-F96E-E574-D72D-F45DA707A830}" dt="2025-03-31T23:31:04.584" v="508" actId="1076"/>
          <ac:spMkLst>
            <pc:docMk/>
            <pc:sldMk cId="4273748011" sldId="2231"/>
            <ac:spMk id="16" creationId="{4E9A29A4-133D-6F58-7923-67A933E278CF}"/>
          </ac:spMkLst>
        </pc:spChg>
        <pc:spChg chg="add mod">
          <ac:chgData name="Christian Gillam" userId="S::cgill016@uottawa.ca::178737ef-0014-4dd8-b439-bc02dd9433a1" providerId="AD" clId="Web-{0E869524-F96E-E574-D72D-F45DA707A830}" dt="2025-03-31T23:36:25.012" v="532" actId="20577"/>
          <ac:spMkLst>
            <pc:docMk/>
            <pc:sldMk cId="4273748011" sldId="2231"/>
            <ac:spMk id="17" creationId="{7C808A9A-6172-373D-8EA2-1495DC6ACB14}"/>
          </ac:spMkLst>
        </pc:spChg>
        <pc:spChg chg="del">
          <ac:chgData name="Christian Gillam" userId="S::cgill016@uottawa.ca::178737ef-0014-4dd8-b439-bc02dd9433a1" providerId="AD" clId="Web-{0E869524-F96E-E574-D72D-F45DA707A830}" dt="2025-03-31T23:24:27.702" v="463"/>
          <ac:spMkLst>
            <pc:docMk/>
            <pc:sldMk cId="4273748011" sldId="2231"/>
            <ac:spMk id="318" creationId="{D45653D5-7E1D-E545-C627-5001D71E8A00}"/>
          </ac:spMkLst>
        </pc:spChg>
        <pc:graphicFrameChg chg="del">
          <ac:chgData name="Christian Gillam" userId="S::cgill016@uottawa.ca::178737ef-0014-4dd8-b439-bc02dd9433a1" providerId="AD" clId="Web-{0E869524-F96E-E574-D72D-F45DA707A830}" dt="2025-03-31T23:11:04.655" v="396"/>
          <ac:graphicFrameMkLst>
            <pc:docMk/>
            <pc:sldMk cId="4273748011" sldId="2231"/>
            <ac:graphicFrameMk id="8" creationId="{C3A20EB6-8E27-C90A-D54A-EFD6C157FCDF}"/>
          </ac:graphicFrameMkLst>
        </pc:graphicFrameChg>
      </pc:sldChg>
    </pc:docChg>
  </pc:docChgLst>
  <pc:docChgLst>
    <pc:chgData clId="Web-{0E869524-F96E-E574-D72D-F45DA707A830}"/>
    <pc:docChg chg="delSld">
      <pc:chgData name="" userId="" providerId="" clId="Web-{0E869524-F96E-E574-D72D-F45DA707A830}" dt="2025-03-31T23:10:31.279" v="0"/>
      <pc:docMkLst>
        <pc:docMk/>
      </pc:docMkLst>
      <pc:sldChg chg="del">
        <pc:chgData name="" userId="" providerId="" clId="Web-{0E869524-F96E-E574-D72D-F45DA707A830}" dt="2025-03-31T23:10:31.279" v="0"/>
        <pc:sldMkLst>
          <pc:docMk/>
          <pc:sldMk cId="4293254202" sldId="2228"/>
        </pc:sldMkLst>
      </pc:sldChg>
    </pc:docChg>
  </pc:docChgLst>
  <pc:docChgLst>
    <pc:chgData name="Armaan" userId="a351e95c-5450-4e5f-a2d5-0f74c8f92915" providerId="ADAL" clId="{F10A96C8-1BA1-4A13-93E2-EAEA15CA80FF}"/>
    <pc:docChg chg="custSel modSld">
      <pc:chgData name="Armaan" userId="a351e95c-5450-4e5f-a2d5-0f74c8f92915" providerId="ADAL" clId="{F10A96C8-1BA1-4A13-93E2-EAEA15CA80FF}" dt="2025-03-26T18:53:05.985" v="64" actId="27918"/>
      <pc:docMkLst>
        <pc:docMk/>
      </pc:docMkLst>
      <pc:sldChg chg="addSp delSp modSp mod">
        <pc:chgData name="Armaan" userId="a351e95c-5450-4e5f-a2d5-0f74c8f92915" providerId="ADAL" clId="{F10A96C8-1BA1-4A13-93E2-EAEA15CA80FF}" dt="2025-03-26T18:53:05.985" v="64" actId="27918"/>
        <pc:sldMkLst>
          <pc:docMk/>
          <pc:sldMk cId="2009459704" sldId="309"/>
        </pc:sldMkLst>
        <pc:spChg chg="mod">
          <ac:chgData name="Armaan" userId="a351e95c-5450-4e5f-a2d5-0f74c8f92915" providerId="ADAL" clId="{F10A96C8-1BA1-4A13-93E2-EAEA15CA80FF}" dt="2025-03-26T18:45:31.379" v="44" actId="1076"/>
          <ac:spMkLst>
            <pc:docMk/>
            <pc:sldMk cId="2009459704" sldId="309"/>
            <ac:spMk id="7" creationId="{CDB47209-5B7D-CFB8-E0CB-009035FF3EA2}"/>
          </ac:spMkLst>
        </pc:spChg>
        <pc:spChg chg="mod">
          <ac:chgData name="Armaan" userId="a351e95c-5450-4e5f-a2d5-0f74c8f92915" providerId="ADAL" clId="{F10A96C8-1BA1-4A13-93E2-EAEA15CA80FF}" dt="2025-03-26T18:45:31.379" v="44" actId="1076"/>
          <ac:spMkLst>
            <pc:docMk/>
            <pc:sldMk cId="2009459704" sldId="309"/>
            <ac:spMk id="10" creationId="{C6F0C47B-F88F-5032-DDB0-04A0E770D7E0}"/>
          </ac:spMkLst>
        </pc:spChg>
        <pc:spChg chg="mod">
          <ac:chgData name="Armaan" userId="a351e95c-5450-4e5f-a2d5-0f74c8f92915" providerId="ADAL" clId="{F10A96C8-1BA1-4A13-93E2-EAEA15CA80FF}" dt="2025-03-26T18:45:31.379" v="44" actId="1076"/>
          <ac:spMkLst>
            <pc:docMk/>
            <pc:sldMk cId="2009459704" sldId="309"/>
            <ac:spMk id="12" creationId="{4F699005-B1BE-794B-1617-F846515FDC0E}"/>
          </ac:spMkLst>
        </pc:spChg>
        <pc:spChg chg="mod">
          <ac:chgData name="Armaan" userId="a351e95c-5450-4e5f-a2d5-0f74c8f92915" providerId="ADAL" clId="{F10A96C8-1BA1-4A13-93E2-EAEA15CA80FF}" dt="2025-03-26T18:47:27.619" v="50" actId="1076"/>
          <ac:spMkLst>
            <pc:docMk/>
            <pc:sldMk cId="2009459704" sldId="309"/>
            <ac:spMk id="14" creationId="{6FA3EA21-A682-C498-D51F-186DF4456812}"/>
          </ac:spMkLst>
        </pc:spChg>
        <pc:spChg chg="mod">
          <ac:chgData name="Armaan" userId="a351e95c-5450-4e5f-a2d5-0f74c8f92915" providerId="ADAL" clId="{F10A96C8-1BA1-4A13-93E2-EAEA15CA80FF}" dt="2025-03-26T18:45:31.379" v="44" actId="1076"/>
          <ac:spMkLst>
            <pc:docMk/>
            <pc:sldMk cId="2009459704" sldId="309"/>
            <ac:spMk id="15" creationId="{1E2324D0-3456-E583-4B67-C1D3F3AA6FD8}"/>
          </ac:spMkLst>
        </pc:spChg>
        <pc:graphicFrameChg chg="mod">
          <ac:chgData name="Armaan" userId="a351e95c-5450-4e5f-a2d5-0f74c8f92915" providerId="ADAL" clId="{F10A96C8-1BA1-4A13-93E2-EAEA15CA80FF}" dt="2025-03-26T18:45:31.379" v="44" actId="1076"/>
          <ac:graphicFrameMkLst>
            <pc:docMk/>
            <pc:sldMk cId="2009459704" sldId="309"/>
            <ac:graphicFrameMk id="6" creationId="{B74DE81B-7FC9-3325-3ECE-55B0A6BBB5E5}"/>
          </ac:graphicFrameMkLst>
        </pc:graphicFrameChg>
        <pc:graphicFrameChg chg="mod">
          <ac:chgData name="Armaan" userId="a351e95c-5450-4e5f-a2d5-0f74c8f92915" providerId="ADAL" clId="{F10A96C8-1BA1-4A13-93E2-EAEA15CA80FF}" dt="2025-03-26T18:45:31.379" v="44" actId="1076"/>
          <ac:graphicFrameMkLst>
            <pc:docMk/>
            <pc:sldMk cId="2009459704" sldId="309"/>
            <ac:graphicFrameMk id="16" creationId="{C48665AE-930D-5C20-11F4-08E335F5F242}"/>
          </ac:graphicFrameMkLst>
        </pc:graphicFrameChg>
        <pc:graphicFrameChg chg="mod">
          <ac:chgData name="Armaan" userId="a351e95c-5450-4e5f-a2d5-0f74c8f92915" providerId="ADAL" clId="{F10A96C8-1BA1-4A13-93E2-EAEA15CA80FF}" dt="2025-03-26T18:45:31.379" v="44" actId="1076"/>
          <ac:graphicFrameMkLst>
            <pc:docMk/>
            <pc:sldMk cId="2009459704" sldId="309"/>
            <ac:graphicFrameMk id="20" creationId="{25D3DC49-E1AA-4AC3-11BA-0C217BC756EE}"/>
          </ac:graphicFrameMkLst>
        </pc:graphicFrameChg>
        <pc:cxnChg chg="mod">
          <ac:chgData name="Armaan" userId="a351e95c-5450-4e5f-a2d5-0f74c8f92915" providerId="ADAL" clId="{F10A96C8-1BA1-4A13-93E2-EAEA15CA80FF}" dt="2025-03-26T18:45:31.379" v="44" actId="1076"/>
          <ac:cxnSpMkLst>
            <pc:docMk/>
            <pc:sldMk cId="2009459704" sldId="309"/>
            <ac:cxnSpMk id="9" creationId="{6E5BDF91-AFF5-BF43-2C79-1AD9877A2ACF}"/>
          </ac:cxnSpMkLst>
        </pc:cxnChg>
        <pc:cxnChg chg="mod">
          <ac:chgData name="Armaan" userId="a351e95c-5450-4e5f-a2d5-0f74c8f92915" providerId="ADAL" clId="{F10A96C8-1BA1-4A13-93E2-EAEA15CA80FF}" dt="2025-03-26T18:45:31.379" v="44" actId="1076"/>
          <ac:cxnSpMkLst>
            <pc:docMk/>
            <pc:sldMk cId="2009459704" sldId="309"/>
            <ac:cxnSpMk id="11" creationId="{6EE94C07-E2DD-A5C3-16AD-910590713FAA}"/>
          </ac:cxnSpMkLst>
        </pc:cxnChg>
        <pc:cxnChg chg="mod">
          <ac:chgData name="Armaan" userId="a351e95c-5450-4e5f-a2d5-0f74c8f92915" providerId="ADAL" clId="{F10A96C8-1BA1-4A13-93E2-EAEA15CA80FF}" dt="2025-03-26T18:45:31.379" v="44" actId="1076"/>
          <ac:cxnSpMkLst>
            <pc:docMk/>
            <pc:sldMk cId="2009459704" sldId="309"/>
            <ac:cxnSpMk id="13" creationId="{EB0C5DD2-FD2E-5459-B7D9-67AC962D59F7}"/>
          </ac:cxnSpMkLst>
        </pc:cxnChg>
      </pc:sldChg>
    </pc:docChg>
  </pc:docChgLst>
  <pc:docChgLst>
    <pc:chgData name="Armaan Kumar" userId="S::akuma045@uottawa.ca::a351e95c-5450-4e5f-a2d5-0f74c8f92915" providerId="AD" clId="Web-{229A05A4-72E6-AC7F-242F-CEFAE0BD0EFB}"/>
    <pc:docChg chg="modSld">
      <pc:chgData name="Armaan Kumar" userId="S::akuma045@uottawa.ca::a351e95c-5450-4e5f-a2d5-0f74c8f92915" providerId="AD" clId="Web-{229A05A4-72E6-AC7F-242F-CEFAE0BD0EFB}" dt="2025-03-31T00:15:51.566" v="5" actId="20577"/>
      <pc:docMkLst>
        <pc:docMk/>
      </pc:docMkLst>
      <pc:sldChg chg="addSp delSp modSp">
        <pc:chgData name="Armaan Kumar" userId="S::akuma045@uottawa.ca::a351e95c-5450-4e5f-a2d5-0f74c8f92915" providerId="AD" clId="Web-{229A05A4-72E6-AC7F-242F-CEFAE0BD0EFB}" dt="2025-03-31T00:15:51.566" v="5" actId="20577"/>
        <pc:sldMkLst>
          <pc:docMk/>
          <pc:sldMk cId="3148264271" sldId="2207"/>
        </pc:sldMkLst>
        <pc:spChg chg="mod">
          <ac:chgData name="Armaan Kumar" userId="S::akuma045@uottawa.ca::a351e95c-5450-4e5f-a2d5-0f74c8f92915" providerId="AD" clId="Web-{229A05A4-72E6-AC7F-242F-CEFAE0BD0EFB}" dt="2025-03-31T00:15:51.566" v="5" actId="20577"/>
          <ac:spMkLst>
            <pc:docMk/>
            <pc:sldMk cId="3148264271" sldId="2207"/>
            <ac:spMk id="2" creationId="{07811262-26F1-0E42-9BB0-86695214258B}"/>
          </ac:spMkLst>
        </pc:spChg>
        <pc:graphicFrameChg chg="add del mod modGraphic">
          <ac:chgData name="Armaan Kumar" userId="S::akuma045@uottawa.ca::a351e95c-5450-4e5f-a2d5-0f74c8f92915" providerId="AD" clId="Web-{229A05A4-72E6-AC7F-242F-CEFAE0BD0EFB}" dt="2025-03-31T00:14:37.673" v="2"/>
          <ac:graphicFrameMkLst>
            <pc:docMk/>
            <pc:sldMk cId="3148264271" sldId="2207"/>
            <ac:graphicFrameMk id="29" creationId="{E8A1379D-9CE3-B31B-2423-896098228845}"/>
          </ac:graphicFrameMkLst>
        </pc:graphicFrameChg>
        <pc:graphicFrameChg chg="add mod modGraphic">
          <ac:chgData name="Armaan Kumar" userId="S::akuma045@uottawa.ca::a351e95c-5450-4e5f-a2d5-0f74c8f92915" providerId="AD" clId="Web-{229A05A4-72E6-AC7F-242F-CEFAE0BD0EFB}" dt="2025-03-31T00:15:06.018" v="4" actId="1076"/>
          <ac:graphicFrameMkLst>
            <pc:docMk/>
            <pc:sldMk cId="3148264271" sldId="2207"/>
            <ac:graphicFrameMk id="50" creationId="{7487F621-7E91-DB0F-915F-11CD62C215CE}"/>
          </ac:graphicFrameMkLst>
        </pc:graphicFrameChg>
      </pc:sldChg>
    </pc:docChg>
  </pc:docChgLst>
  <pc:docChgLst>
    <pc:chgData name="Michael Penney" userId="S::mpenn030@uottawa.ca::4f9b80c6-1a49-4d2e-92c5-79759f092c89" providerId="AD" clId="Web-{0CD57F88-987B-6CFA-C723-3D7F2E790AEC}"/>
    <pc:docChg chg="modSld">
      <pc:chgData name="Michael Penney" userId="S::mpenn030@uottawa.ca::4f9b80c6-1a49-4d2e-92c5-79759f092c89" providerId="AD" clId="Web-{0CD57F88-987B-6CFA-C723-3D7F2E790AEC}" dt="2025-03-23T03:27:55.046" v="70"/>
      <pc:docMkLst>
        <pc:docMk/>
      </pc:docMkLst>
      <pc:sldChg chg="modSp">
        <pc:chgData name="Michael Penney" userId="S::mpenn030@uottawa.ca::4f9b80c6-1a49-4d2e-92c5-79759f092c89" providerId="AD" clId="Web-{0CD57F88-987B-6CFA-C723-3D7F2E790AEC}" dt="2025-03-23T03:27:55.046" v="70"/>
        <pc:sldMkLst>
          <pc:docMk/>
          <pc:sldMk cId="1568165937" sldId="257"/>
        </pc:sldMkLst>
      </pc:sldChg>
    </pc:docChg>
  </pc:docChgLst>
  <pc:docChgLst>
    <pc:chgData name="Joey Ray Zahr" userId="9150008f-b0d5-4c48-a0fe-8b032f63645f" providerId="ADAL" clId="{A6EE05DB-A226-F64D-9363-CB575B5B0DD3}"/>
    <pc:docChg chg="modSld">
      <pc:chgData name="Joey Ray Zahr" userId="9150008f-b0d5-4c48-a0fe-8b032f63645f" providerId="ADAL" clId="{A6EE05DB-A226-F64D-9363-CB575B5B0DD3}" dt="2025-03-31T19:27:32.670" v="10" actId="729"/>
      <pc:docMkLst>
        <pc:docMk/>
      </pc:docMkLst>
      <pc:sldChg chg="mod modShow">
        <pc:chgData name="Joey Ray Zahr" userId="9150008f-b0d5-4c48-a0fe-8b032f63645f" providerId="ADAL" clId="{A6EE05DB-A226-F64D-9363-CB575B5B0DD3}" dt="2025-03-31T19:27:19.171" v="5" actId="729"/>
        <pc:sldMkLst>
          <pc:docMk/>
          <pc:sldMk cId="1516102587" sldId="310"/>
        </pc:sldMkLst>
      </pc:sldChg>
      <pc:sldChg chg="mod modShow">
        <pc:chgData name="Joey Ray Zahr" userId="9150008f-b0d5-4c48-a0fe-8b032f63645f" providerId="ADAL" clId="{A6EE05DB-A226-F64D-9363-CB575B5B0DD3}" dt="2025-03-31T19:27:22.687" v="7" actId="729"/>
        <pc:sldMkLst>
          <pc:docMk/>
          <pc:sldMk cId="2105206661" sldId="311"/>
        </pc:sldMkLst>
      </pc:sldChg>
      <pc:sldChg chg="mod modShow">
        <pc:chgData name="Joey Ray Zahr" userId="9150008f-b0d5-4c48-a0fe-8b032f63645f" providerId="ADAL" clId="{A6EE05DB-A226-F64D-9363-CB575B5B0DD3}" dt="2025-03-31T19:27:20.804" v="6" actId="729"/>
        <pc:sldMkLst>
          <pc:docMk/>
          <pc:sldMk cId="2059122757" sldId="312"/>
        </pc:sldMkLst>
      </pc:sldChg>
      <pc:sldChg chg="mod modShow">
        <pc:chgData name="Joey Ray Zahr" userId="9150008f-b0d5-4c48-a0fe-8b032f63645f" providerId="ADAL" clId="{A6EE05DB-A226-F64D-9363-CB575B5B0DD3}" dt="2025-03-31T19:26:16.621" v="1" actId="729"/>
        <pc:sldMkLst>
          <pc:docMk/>
          <pc:sldMk cId="2063434367" sldId="317"/>
        </pc:sldMkLst>
      </pc:sldChg>
      <pc:sldChg chg="mod modShow">
        <pc:chgData name="Joey Ray Zahr" userId="9150008f-b0d5-4c48-a0fe-8b032f63645f" providerId="ADAL" clId="{A6EE05DB-A226-F64D-9363-CB575B5B0DD3}" dt="2025-03-31T19:26:18.618" v="2" actId="729"/>
        <pc:sldMkLst>
          <pc:docMk/>
          <pc:sldMk cId="1262616228" sldId="318"/>
        </pc:sldMkLst>
      </pc:sldChg>
      <pc:sldChg chg="mod modShow">
        <pc:chgData name="Joey Ray Zahr" userId="9150008f-b0d5-4c48-a0fe-8b032f63645f" providerId="ADAL" clId="{A6EE05DB-A226-F64D-9363-CB575B5B0DD3}" dt="2025-03-31T19:27:30.221" v="8" actId="729"/>
        <pc:sldMkLst>
          <pc:docMk/>
          <pc:sldMk cId="580168930" sldId="2197"/>
        </pc:sldMkLst>
      </pc:sldChg>
      <pc:sldChg chg="mod modShow">
        <pc:chgData name="Joey Ray Zahr" userId="9150008f-b0d5-4c48-a0fe-8b032f63645f" providerId="ADAL" clId="{A6EE05DB-A226-F64D-9363-CB575B5B0DD3}" dt="2025-03-31T19:27:31.538" v="9" actId="729"/>
        <pc:sldMkLst>
          <pc:docMk/>
          <pc:sldMk cId="804543693" sldId="2198"/>
        </pc:sldMkLst>
      </pc:sldChg>
      <pc:sldChg chg="mod modShow">
        <pc:chgData name="Joey Ray Zahr" userId="9150008f-b0d5-4c48-a0fe-8b032f63645f" providerId="ADAL" clId="{A6EE05DB-A226-F64D-9363-CB575B5B0DD3}" dt="2025-03-31T19:27:32.670" v="10" actId="729"/>
        <pc:sldMkLst>
          <pc:docMk/>
          <pc:sldMk cId="3347741321" sldId="2199"/>
        </pc:sldMkLst>
      </pc:sldChg>
      <pc:sldChg chg="modSp">
        <pc:chgData name="Joey Ray Zahr" userId="9150008f-b0d5-4c48-a0fe-8b032f63645f" providerId="ADAL" clId="{A6EE05DB-A226-F64D-9363-CB575B5B0DD3}" dt="2025-03-31T19:27:09.395" v="4"/>
        <pc:sldMkLst>
          <pc:docMk/>
          <pc:sldMk cId="4021520181" sldId="2220"/>
        </pc:sldMkLst>
        <pc:graphicFrameChg chg="mod">
          <ac:chgData name="Joey Ray Zahr" userId="9150008f-b0d5-4c48-a0fe-8b032f63645f" providerId="ADAL" clId="{A6EE05DB-A226-F64D-9363-CB575B5B0DD3}" dt="2025-03-31T19:27:09.395" v="4"/>
          <ac:graphicFrameMkLst>
            <pc:docMk/>
            <pc:sldMk cId="4021520181" sldId="2220"/>
            <ac:graphicFrameMk id="15" creationId="{A0F5CAC2-5EFD-9B79-FC6F-0B7D90F92183}"/>
          </ac:graphicFrameMkLst>
        </pc:graphicFrameChg>
      </pc:sldChg>
      <pc:sldChg chg="mod modShow">
        <pc:chgData name="Joey Ray Zahr" userId="9150008f-b0d5-4c48-a0fe-8b032f63645f" providerId="ADAL" clId="{A6EE05DB-A226-F64D-9363-CB575B5B0DD3}" dt="2025-03-31T19:25:48.590" v="0" actId="729"/>
        <pc:sldMkLst>
          <pc:docMk/>
          <pc:sldMk cId="3705022991" sldId="2226"/>
        </pc:sldMkLst>
      </pc:sldChg>
    </pc:docChg>
  </pc:docChgLst>
  <pc:docChgLst>
    <pc:chgData name="Armaan Kumar" userId="S::akuma045@uottawa.ca::a351e95c-5450-4e5f-a2d5-0f74c8f92915" providerId="AD" clId="Web-{3DDC484C-0C98-53DF-46AD-AE1FD2507E5C}"/>
    <pc:docChg chg="modSld">
      <pc:chgData name="Armaan Kumar" userId="S::akuma045@uottawa.ca::a351e95c-5450-4e5f-a2d5-0f74c8f92915" providerId="AD" clId="Web-{3DDC484C-0C98-53DF-46AD-AE1FD2507E5C}" dt="2025-03-31T19:51:54.699" v="5"/>
      <pc:docMkLst>
        <pc:docMk/>
      </pc:docMkLst>
      <pc:sldChg chg="addSp modSp">
        <pc:chgData name="Armaan Kumar" userId="S::akuma045@uottawa.ca::a351e95c-5450-4e5f-a2d5-0f74c8f92915" providerId="AD" clId="Web-{3DDC484C-0C98-53DF-46AD-AE1FD2507E5C}" dt="2025-03-31T19:51:54.699" v="5"/>
        <pc:sldMkLst>
          <pc:docMk/>
          <pc:sldMk cId="1631883058" sldId="280"/>
        </pc:sldMkLst>
        <pc:graphicFrameChg chg="mod topLvl modGraphic">
          <ac:chgData name="Armaan Kumar" userId="S::akuma045@uottawa.ca::a351e95c-5450-4e5f-a2d5-0f74c8f92915" providerId="AD" clId="Web-{3DDC484C-0C98-53DF-46AD-AE1FD2507E5C}" dt="2025-03-31T19:51:54.699" v="5"/>
          <ac:graphicFrameMkLst>
            <pc:docMk/>
            <pc:sldMk cId="1631883058" sldId="280"/>
            <ac:graphicFrameMk id="106" creationId="{DA895DAE-65BB-43D8-8A59-2DB92BD48D5C}"/>
          </ac:graphicFrameMkLst>
        </pc:graphicFrameChg>
      </pc:sldChg>
    </pc:docChg>
  </pc:docChgLst>
  <pc:docChgLst>
    <pc:chgData name="Christian Gillam" userId="S::cgill016@uottawa.ca::178737ef-0014-4dd8-b439-bc02dd9433a1" providerId="AD" clId="Web-{165C369F-EEC4-6D50-3AA8-9B71362A7309}"/>
    <pc:docChg chg="addSld delSld modSld">
      <pc:chgData name="Christian Gillam" userId="S::cgill016@uottawa.ca::178737ef-0014-4dd8-b439-bc02dd9433a1" providerId="AD" clId="Web-{165C369F-EEC4-6D50-3AA8-9B71362A7309}" dt="2025-03-29T19:50:28.646" v="193"/>
      <pc:docMkLst>
        <pc:docMk/>
      </pc:docMkLst>
      <pc:sldChg chg="del">
        <pc:chgData name="Christian Gillam" userId="S::cgill016@uottawa.ca::178737ef-0014-4dd8-b439-bc02dd9433a1" providerId="AD" clId="Web-{165C369F-EEC4-6D50-3AA8-9B71362A7309}" dt="2025-03-29T19:50:20.068" v="192"/>
        <pc:sldMkLst>
          <pc:docMk/>
          <pc:sldMk cId="12544497" sldId="2189"/>
        </pc:sldMkLst>
      </pc:sldChg>
      <pc:sldChg chg="addSp modSp">
        <pc:chgData name="Christian Gillam" userId="S::cgill016@uottawa.ca::178737ef-0014-4dd8-b439-bc02dd9433a1" providerId="AD" clId="Web-{165C369F-EEC4-6D50-3AA8-9B71362A7309}" dt="2025-03-29T19:49:59.645" v="191" actId="20577"/>
        <pc:sldMkLst>
          <pc:docMk/>
          <pc:sldMk cId="833649747" sldId="2190"/>
        </pc:sldMkLst>
        <pc:spChg chg="add mod">
          <ac:chgData name="Christian Gillam" userId="S::cgill016@uottawa.ca::178737ef-0014-4dd8-b439-bc02dd9433a1" providerId="AD" clId="Web-{165C369F-EEC4-6D50-3AA8-9B71362A7309}" dt="2025-03-29T19:49:59.645" v="191" actId="20577"/>
          <ac:spMkLst>
            <pc:docMk/>
            <pc:sldMk cId="833649747" sldId="2190"/>
            <ac:spMk id="5" creationId="{DB4CDBE1-9246-5A94-E6A7-0F7A4B0A373D}"/>
          </ac:spMkLst>
        </pc:spChg>
        <pc:spChg chg="mod">
          <ac:chgData name="Christian Gillam" userId="S::cgill016@uottawa.ca::178737ef-0014-4dd8-b439-bc02dd9433a1" providerId="AD" clId="Web-{165C369F-EEC4-6D50-3AA8-9B71362A7309}" dt="2025-03-29T19:47:54.237" v="42" actId="20577"/>
          <ac:spMkLst>
            <pc:docMk/>
            <pc:sldMk cId="833649747" sldId="2190"/>
            <ac:spMk id="20" creationId="{5C33051F-E1F3-D5B9-562D-D5E562150434}"/>
          </ac:spMkLst>
        </pc:spChg>
        <pc:spChg chg="mod">
          <ac:chgData name="Christian Gillam" userId="S::cgill016@uottawa.ca::178737ef-0014-4dd8-b439-bc02dd9433a1" providerId="AD" clId="Web-{165C369F-EEC4-6D50-3AA8-9B71362A7309}" dt="2025-03-29T19:49:23.942" v="131" actId="20577"/>
          <ac:spMkLst>
            <pc:docMk/>
            <pc:sldMk cId="833649747" sldId="2190"/>
            <ac:spMk id="22" creationId="{9DCC9CB4-C82F-DA95-BE22-D269B5E08F9D}"/>
          </ac:spMkLst>
        </pc:spChg>
      </pc:sldChg>
      <pc:sldChg chg="add replId">
        <pc:chgData name="Christian Gillam" userId="S::cgill016@uottawa.ca::178737ef-0014-4dd8-b439-bc02dd9433a1" providerId="AD" clId="Web-{165C369F-EEC4-6D50-3AA8-9B71362A7309}" dt="2025-03-29T19:50:28.646" v="193"/>
        <pc:sldMkLst>
          <pc:docMk/>
          <pc:sldMk cId="2569525770" sldId="2191"/>
        </pc:sldMkLst>
      </pc:sldChg>
    </pc:docChg>
  </pc:docChgLst>
  <pc:docChgLst>
    <pc:chgData name="Armaan Kumar" userId="S::akuma045@uottawa.ca::a351e95c-5450-4e5f-a2d5-0f74c8f92915" providerId="AD" clId="Web-{727B0D7C-B6B5-45BD-2271-C34092A78230}"/>
    <pc:docChg chg="modSld">
      <pc:chgData name="Armaan Kumar" userId="S::akuma045@uottawa.ca::a351e95c-5450-4e5f-a2d5-0f74c8f92915" providerId="AD" clId="Web-{727B0D7C-B6B5-45BD-2271-C34092A78230}" dt="2025-03-31T19:25:28.786" v="3" actId="20577"/>
      <pc:docMkLst>
        <pc:docMk/>
      </pc:docMkLst>
      <pc:sldChg chg="addSp modSp">
        <pc:chgData name="Armaan Kumar" userId="S::akuma045@uottawa.ca::a351e95c-5450-4e5f-a2d5-0f74c8f92915" providerId="AD" clId="Web-{727B0D7C-B6B5-45BD-2271-C34092A78230}" dt="2025-03-31T18:43:14.486" v="0"/>
        <pc:sldMkLst>
          <pc:docMk/>
          <pc:sldMk cId="1631883058" sldId="280"/>
        </pc:sldMkLst>
        <pc:graphicFrameChg chg="mod topLvl modGraphic">
          <ac:chgData name="Armaan Kumar" userId="S::akuma045@uottawa.ca::a351e95c-5450-4e5f-a2d5-0f74c8f92915" providerId="AD" clId="Web-{727B0D7C-B6B5-45BD-2271-C34092A78230}" dt="2025-03-31T18:43:14.486" v="0"/>
          <ac:graphicFrameMkLst>
            <pc:docMk/>
            <pc:sldMk cId="1631883058" sldId="280"/>
            <ac:graphicFrameMk id="106" creationId="{DA895DAE-65BB-43D8-8A59-2DB92BD48D5C}"/>
          </ac:graphicFrameMkLst>
        </pc:graphicFrameChg>
      </pc:sldChg>
      <pc:sldChg chg="modSp">
        <pc:chgData name="Armaan Kumar" userId="S::akuma045@uottawa.ca::a351e95c-5450-4e5f-a2d5-0f74c8f92915" providerId="AD" clId="Web-{727B0D7C-B6B5-45BD-2271-C34092A78230}" dt="2025-03-31T19:25:28.786" v="3" actId="20577"/>
        <pc:sldMkLst>
          <pc:docMk/>
          <pc:sldMk cId="605004554" sldId="2215"/>
        </pc:sldMkLst>
        <pc:spChg chg="mod">
          <ac:chgData name="Armaan Kumar" userId="S::akuma045@uottawa.ca::a351e95c-5450-4e5f-a2d5-0f74c8f92915" providerId="AD" clId="Web-{727B0D7C-B6B5-45BD-2271-C34092A78230}" dt="2025-03-31T19:25:28.786" v="3" actId="20577"/>
          <ac:spMkLst>
            <pc:docMk/>
            <pc:sldMk cId="605004554" sldId="2215"/>
            <ac:spMk id="2" creationId="{B8FFE6F6-14FC-BEDC-4662-BDD0FDF2F220}"/>
          </ac:spMkLst>
        </pc:spChg>
      </pc:sldChg>
    </pc:docChg>
  </pc:docChgLst>
  <pc:docChgLst>
    <pc:chgData name="Armaan Kumar" userId="S::akuma045@uottawa.ca::a351e95c-5450-4e5f-a2d5-0f74c8f92915" providerId="AD" clId="Web-{5B7C161C-7E2A-B0C0-E286-6036AA319CC5}"/>
    <pc:docChg chg="modSld">
      <pc:chgData name="Armaan Kumar" userId="S::akuma045@uottawa.ca::a351e95c-5450-4e5f-a2d5-0f74c8f92915" providerId="AD" clId="Web-{5B7C161C-7E2A-B0C0-E286-6036AA319CC5}" dt="2025-04-02T17:33:38.575" v="32" actId="1076"/>
      <pc:docMkLst>
        <pc:docMk/>
      </pc:docMkLst>
      <pc:sldChg chg="addSp delSp modSp">
        <pc:chgData name="Armaan Kumar" userId="S::akuma045@uottawa.ca::a351e95c-5450-4e5f-a2d5-0f74c8f92915" providerId="AD" clId="Web-{5B7C161C-7E2A-B0C0-E286-6036AA319CC5}" dt="2025-04-02T17:33:38.575" v="32" actId="1076"/>
        <pc:sldMkLst>
          <pc:docMk/>
          <pc:sldMk cId="1042857578" sldId="2263"/>
        </pc:sldMkLst>
        <pc:spChg chg="add del mod">
          <ac:chgData name="Armaan Kumar" userId="S::akuma045@uottawa.ca::a351e95c-5450-4e5f-a2d5-0f74c8f92915" providerId="AD" clId="Web-{5B7C161C-7E2A-B0C0-E286-6036AA319CC5}" dt="2025-04-02T17:32:54.903" v="18"/>
          <ac:spMkLst>
            <pc:docMk/>
            <pc:sldMk cId="1042857578" sldId="2263"/>
            <ac:spMk id="14" creationId="{48F47EA9-E8F4-3B2C-469C-476664D1C763}"/>
          </ac:spMkLst>
        </pc:spChg>
        <pc:spChg chg="mod">
          <ac:chgData name="Armaan Kumar" userId="S::akuma045@uottawa.ca::a351e95c-5450-4e5f-a2d5-0f74c8f92915" providerId="AD" clId="Web-{5B7C161C-7E2A-B0C0-E286-6036AA319CC5}" dt="2025-04-02T17:33:38.575" v="32" actId="1076"/>
          <ac:spMkLst>
            <pc:docMk/>
            <pc:sldMk cId="1042857578" sldId="2263"/>
            <ac:spMk id="25" creationId="{8E5C8B46-49BD-148D-AB9B-5CCFB5AF3738}"/>
          </ac:spMkLst>
        </pc:spChg>
        <pc:spChg chg="mod">
          <ac:chgData name="Armaan Kumar" userId="S::akuma045@uottawa.ca::a351e95c-5450-4e5f-a2d5-0f74c8f92915" providerId="AD" clId="Web-{5B7C161C-7E2A-B0C0-E286-6036AA319CC5}" dt="2025-04-02T17:32:12.090" v="1" actId="20577"/>
          <ac:spMkLst>
            <pc:docMk/>
            <pc:sldMk cId="1042857578" sldId="2263"/>
            <ac:spMk id="38" creationId="{AC4D3630-388C-0869-98DD-818B3CEAFF34}"/>
          </ac:spMkLst>
        </pc:spChg>
        <pc:spChg chg="add del mod">
          <ac:chgData name="Armaan Kumar" userId="S::akuma045@uottawa.ca::a351e95c-5450-4e5f-a2d5-0f74c8f92915" providerId="AD" clId="Web-{5B7C161C-7E2A-B0C0-E286-6036AA319CC5}" dt="2025-04-02T17:33:31.387" v="30" actId="1076"/>
          <ac:spMkLst>
            <pc:docMk/>
            <pc:sldMk cId="1042857578" sldId="2263"/>
            <ac:spMk id="42" creationId="{3DBCB7AE-3616-784F-FDA2-ACA18357EA92}"/>
          </ac:spMkLst>
        </pc:spChg>
        <pc:graphicFrameChg chg="add del mod">
          <ac:chgData name="Armaan Kumar" userId="S::akuma045@uottawa.ca::a351e95c-5450-4e5f-a2d5-0f74c8f92915" providerId="AD" clId="Web-{5B7C161C-7E2A-B0C0-E286-6036AA319CC5}" dt="2025-04-02T17:32:40.559" v="9"/>
          <ac:graphicFrameMkLst>
            <pc:docMk/>
            <pc:sldMk cId="1042857578" sldId="2263"/>
            <ac:graphicFrameMk id="5" creationId="{E1A23055-9C95-39AC-2C9B-4A267A1E8678}"/>
          </ac:graphicFrameMkLst>
        </pc:graphicFrameChg>
        <pc:graphicFrameChg chg="add del mod">
          <ac:chgData name="Armaan Kumar" userId="S::akuma045@uottawa.ca::a351e95c-5450-4e5f-a2d5-0f74c8f92915" providerId="AD" clId="Web-{5B7C161C-7E2A-B0C0-E286-6036AA319CC5}" dt="2025-04-02T17:32:45.762" v="13"/>
          <ac:graphicFrameMkLst>
            <pc:docMk/>
            <pc:sldMk cId="1042857578" sldId="2263"/>
            <ac:graphicFrameMk id="13" creationId="{2041AFBD-0BA3-D8E0-FC07-BA22F2A127BF}"/>
          </ac:graphicFrameMkLst>
        </pc:graphicFrameChg>
      </pc:sldChg>
    </pc:docChg>
  </pc:docChgLst>
  <pc:docChgLst>
    <pc:chgData name="Armaan Kumar" userId="S::akuma045@uottawa.ca::a351e95c-5450-4e5f-a2d5-0f74c8f92915" providerId="AD" clId="Web-{BDE088BF-494E-8479-7AF3-5CE6C6D375A1}"/>
    <pc:docChg chg="modSld">
      <pc:chgData name="Armaan Kumar" userId="S::akuma045@uottawa.ca::a351e95c-5450-4e5f-a2d5-0f74c8f92915" providerId="AD" clId="Web-{BDE088BF-494E-8479-7AF3-5CE6C6D375A1}" dt="2025-04-02T17:34:04.539" v="4" actId="20577"/>
      <pc:docMkLst>
        <pc:docMk/>
      </pc:docMkLst>
      <pc:sldChg chg="modSp">
        <pc:chgData name="Armaan Kumar" userId="S::akuma045@uottawa.ca::a351e95c-5450-4e5f-a2d5-0f74c8f92915" providerId="AD" clId="Web-{BDE088BF-494E-8479-7AF3-5CE6C6D375A1}" dt="2025-04-02T17:34:04.539" v="4" actId="20577"/>
        <pc:sldMkLst>
          <pc:docMk/>
          <pc:sldMk cId="807869692" sldId="2203"/>
        </pc:sldMkLst>
        <pc:spChg chg="mod">
          <ac:chgData name="Armaan Kumar" userId="S::akuma045@uottawa.ca::a351e95c-5450-4e5f-a2d5-0f74c8f92915" providerId="AD" clId="Web-{BDE088BF-494E-8479-7AF3-5CE6C6D375A1}" dt="2025-04-02T17:34:04.539" v="4" actId="20577"/>
          <ac:spMkLst>
            <pc:docMk/>
            <pc:sldMk cId="807869692" sldId="2203"/>
            <ac:spMk id="3" creationId="{0CD95456-9592-7419-D4C5-AB1666A648AE}"/>
          </ac:spMkLst>
        </pc:spChg>
      </pc:sldChg>
    </pc:docChg>
  </pc:docChgLst>
  <pc:docChgLst>
    <pc:chgData name="Armaan Kumar" userId="S::akuma045@uottawa.ca::a351e95c-5450-4e5f-a2d5-0f74c8f92915" providerId="AD" clId="Web-{1F833104-5D52-9705-2EEB-AD2059777A24}"/>
    <pc:docChg chg="modSld">
      <pc:chgData name="Armaan Kumar" userId="S::akuma045@uottawa.ca::a351e95c-5450-4e5f-a2d5-0f74c8f92915" providerId="AD" clId="Web-{1F833104-5D52-9705-2EEB-AD2059777A24}" dt="2025-03-23T20:36:08.712" v="0"/>
      <pc:docMkLst>
        <pc:docMk/>
      </pc:docMkLst>
      <pc:sldChg chg="addSp modSp">
        <pc:chgData name="Armaan Kumar" userId="S::akuma045@uottawa.ca::a351e95c-5450-4e5f-a2d5-0f74c8f92915" providerId="AD" clId="Web-{1F833104-5D52-9705-2EEB-AD2059777A24}" dt="2025-03-23T20:36:08.712" v="0"/>
        <pc:sldMkLst>
          <pc:docMk/>
          <pc:sldMk cId="2089323016" sldId="278"/>
        </pc:sldMkLst>
      </pc:sldChg>
    </pc:docChg>
  </pc:docChgLst>
  <pc:docChgLst>
    <pc:chgData name="Armaan Kumar" userId="S::akuma045@uottawa.ca::a351e95c-5450-4e5f-a2d5-0f74c8f92915" providerId="AD" clId="Web-{31CF7452-C6AD-821E-CFB9-ECBDFEF5AE16}"/>
    <pc:docChg chg="modSld">
      <pc:chgData name="Armaan Kumar" userId="S::akuma045@uottawa.ca::a351e95c-5450-4e5f-a2d5-0f74c8f92915" providerId="AD" clId="Web-{31CF7452-C6AD-821E-CFB9-ECBDFEF5AE16}" dt="2025-03-31T22:50:49.012" v="55" actId="20577"/>
      <pc:docMkLst>
        <pc:docMk/>
      </pc:docMkLst>
      <pc:sldChg chg="mod modShow">
        <pc:chgData name="Armaan Kumar" userId="S::akuma045@uottawa.ca::a351e95c-5450-4e5f-a2d5-0f74c8f92915" providerId="AD" clId="Web-{31CF7452-C6AD-821E-CFB9-ECBDFEF5AE16}" dt="2025-03-31T22:49:14.511" v="0"/>
        <pc:sldMkLst>
          <pc:docMk/>
          <pc:sldMk cId="3341212199" sldId="2206"/>
        </pc:sldMkLst>
      </pc:sldChg>
      <pc:sldChg chg="modSp">
        <pc:chgData name="Armaan Kumar" userId="S::akuma045@uottawa.ca::a351e95c-5450-4e5f-a2d5-0f74c8f92915" providerId="AD" clId="Web-{31CF7452-C6AD-821E-CFB9-ECBDFEF5AE16}" dt="2025-03-31T22:50:49.012" v="55" actId="20577"/>
        <pc:sldMkLst>
          <pc:docMk/>
          <pc:sldMk cId="2168724459" sldId="2227"/>
        </pc:sldMkLst>
        <pc:spChg chg="mod">
          <ac:chgData name="Armaan Kumar" userId="S::akuma045@uottawa.ca::a351e95c-5450-4e5f-a2d5-0f74c8f92915" providerId="AD" clId="Web-{31CF7452-C6AD-821E-CFB9-ECBDFEF5AE16}" dt="2025-03-31T22:50:49.012" v="55" actId="20577"/>
          <ac:spMkLst>
            <pc:docMk/>
            <pc:sldMk cId="2168724459" sldId="2227"/>
            <ac:spMk id="2" creationId="{DB023DB5-E4B8-A7BB-FB11-D3B9DCC03823}"/>
          </ac:spMkLst>
        </pc:spChg>
      </pc:sldChg>
    </pc:docChg>
  </pc:docChgLst>
  <pc:docChgLst>
    <pc:chgData name="Armaan Kumar" userId="S::akuma045@uottawa.ca::a351e95c-5450-4e5f-a2d5-0f74c8f92915" providerId="AD" clId="Web-{0C98BABF-32DC-F879-5A6F-01270D173577}"/>
    <pc:docChg chg="modSld">
      <pc:chgData name="Armaan Kumar" userId="S::akuma045@uottawa.ca::a351e95c-5450-4e5f-a2d5-0f74c8f92915" providerId="AD" clId="Web-{0C98BABF-32DC-F879-5A6F-01270D173577}" dt="2025-03-31T18:03:28.468" v="10"/>
      <pc:docMkLst>
        <pc:docMk/>
      </pc:docMkLst>
      <pc:sldChg chg="modSp">
        <pc:chgData name="Armaan Kumar" userId="S::akuma045@uottawa.ca::a351e95c-5450-4e5f-a2d5-0f74c8f92915" providerId="AD" clId="Web-{0C98BABF-32DC-F879-5A6F-01270D173577}" dt="2025-03-31T18:02:44.187" v="8" actId="14100"/>
        <pc:sldMkLst>
          <pc:docMk/>
          <pc:sldMk cId="166744532" sldId="264"/>
        </pc:sldMkLst>
        <pc:spChg chg="mod">
          <ac:chgData name="Armaan Kumar" userId="S::akuma045@uottawa.ca::a351e95c-5450-4e5f-a2d5-0f74c8f92915" providerId="AD" clId="Web-{0C98BABF-32DC-F879-5A6F-01270D173577}" dt="2025-03-31T18:02:44.187" v="8" actId="14100"/>
          <ac:spMkLst>
            <pc:docMk/>
            <pc:sldMk cId="166744532" sldId="264"/>
            <ac:spMk id="8" creationId="{9066229D-2F3E-6042-BB79-7968DE364688}"/>
          </ac:spMkLst>
        </pc:spChg>
      </pc:sldChg>
      <pc:sldChg chg="addSp modSp">
        <pc:chgData name="Armaan Kumar" userId="S::akuma045@uottawa.ca::a351e95c-5450-4e5f-a2d5-0f74c8f92915" providerId="AD" clId="Web-{0C98BABF-32DC-F879-5A6F-01270D173577}" dt="2025-03-31T18:03:28.468" v="10"/>
        <pc:sldMkLst>
          <pc:docMk/>
          <pc:sldMk cId="1631883058" sldId="280"/>
        </pc:sldMkLst>
        <pc:graphicFrameChg chg="mod topLvl modGraphic">
          <ac:chgData name="Armaan Kumar" userId="S::akuma045@uottawa.ca::a351e95c-5450-4e5f-a2d5-0f74c8f92915" providerId="AD" clId="Web-{0C98BABF-32DC-F879-5A6F-01270D173577}" dt="2025-03-31T18:03:28.468" v="10"/>
          <ac:graphicFrameMkLst>
            <pc:docMk/>
            <pc:sldMk cId="1631883058" sldId="280"/>
            <ac:graphicFrameMk id="106" creationId="{DA895DAE-65BB-43D8-8A59-2DB92BD48D5C}"/>
          </ac:graphicFrameMkLst>
        </pc:graphicFrameChg>
      </pc:sldChg>
      <pc:sldChg chg="modSp">
        <pc:chgData name="Armaan Kumar" userId="S::akuma045@uottawa.ca::a351e95c-5450-4e5f-a2d5-0f74c8f92915" providerId="AD" clId="Web-{0C98BABF-32DC-F879-5A6F-01270D173577}" dt="2025-03-31T17:58:55.204" v="7" actId="14100"/>
        <pc:sldMkLst>
          <pc:docMk/>
          <pc:sldMk cId="2231801104" sldId="287"/>
        </pc:sldMkLst>
        <pc:spChg chg="mod">
          <ac:chgData name="Armaan Kumar" userId="S::akuma045@uottawa.ca::a351e95c-5450-4e5f-a2d5-0f74c8f92915" providerId="AD" clId="Web-{0C98BABF-32DC-F879-5A6F-01270D173577}" dt="2025-03-31T17:58:55.204" v="7" actId="14100"/>
          <ac:spMkLst>
            <pc:docMk/>
            <pc:sldMk cId="2231801104" sldId="287"/>
            <ac:spMk id="22" creationId="{DE4EBD26-88C6-EB65-D6DA-E28DBE36E00B}"/>
          </ac:spMkLst>
        </pc:spChg>
      </pc:sldChg>
    </pc:docChg>
  </pc:docChgLst>
  <pc:docChgLst>
    <pc:chgData name="Thomas Giroux" userId="a5e6b51b-05f9-4411-bff2-2d0750f3d155" providerId="ADAL" clId="{74470E2C-8369-7945-865F-A43BB419584A}"/>
    <pc:docChg chg="undo redo custSel addSld delSld modSld sldOrd">
      <pc:chgData name="Thomas Giroux" userId="a5e6b51b-05f9-4411-bff2-2d0750f3d155" providerId="ADAL" clId="{74470E2C-8369-7945-865F-A43BB419584A}" dt="2025-04-02T17:03:07.603" v="13545" actId="478"/>
      <pc:docMkLst>
        <pc:docMk/>
      </pc:docMkLst>
      <pc:sldChg chg="addSp delSp modSp mod">
        <pc:chgData name="Thomas Giroux" userId="a5e6b51b-05f9-4411-bff2-2d0750f3d155" providerId="ADAL" clId="{74470E2C-8369-7945-865F-A43BB419584A}" dt="2025-03-25T19:35:57.636" v="1614" actId="692"/>
        <pc:sldMkLst>
          <pc:docMk/>
          <pc:sldMk cId="3214686972" sldId="266"/>
        </pc:sldMkLst>
        <pc:spChg chg="mod">
          <ac:chgData name="Thomas Giroux" userId="a5e6b51b-05f9-4411-bff2-2d0750f3d155" providerId="ADAL" clId="{74470E2C-8369-7945-865F-A43BB419584A}" dt="2025-03-23T02:54:41.093" v="21" actId="20577"/>
          <ac:spMkLst>
            <pc:docMk/>
            <pc:sldMk cId="3214686972" sldId="266"/>
            <ac:spMk id="3" creationId="{12EE2067-7A26-58F9-7108-69AE9D6DBC21}"/>
          </ac:spMkLst>
        </pc:spChg>
        <pc:spChg chg="mod">
          <ac:chgData name="Thomas Giroux" userId="a5e6b51b-05f9-4411-bff2-2d0750f3d155" providerId="ADAL" clId="{74470E2C-8369-7945-865F-A43BB419584A}" dt="2025-03-23T20:40:38.851" v="540" actId="20577"/>
          <ac:spMkLst>
            <pc:docMk/>
            <pc:sldMk cId="3214686972" sldId="266"/>
            <ac:spMk id="4" creationId="{977CAD91-B626-27A5-68B6-F5C8F19F01F8}"/>
          </ac:spMkLst>
        </pc:spChg>
        <pc:spChg chg="mod">
          <ac:chgData name="Thomas Giroux" userId="a5e6b51b-05f9-4411-bff2-2d0750f3d155" providerId="ADAL" clId="{74470E2C-8369-7945-865F-A43BB419584A}" dt="2025-03-23T23:30:44.567" v="578" actId="20577"/>
          <ac:spMkLst>
            <pc:docMk/>
            <pc:sldMk cId="3214686972" sldId="266"/>
            <ac:spMk id="7" creationId="{CD1B8F4D-6B49-B2EF-6DDF-609B87BE6C33}"/>
          </ac:spMkLst>
        </pc:spChg>
        <pc:spChg chg="add mod">
          <ac:chgData name="Thomas Giroux" userId="a5e6b51b-05f9-4411-bff2-2d0750f3d155" providerId="ADAL" clId="{74470E2C-8369-7945-865F-A43BB419584A}" dt="2025-03-23T14:47:56.539" v="506" actId="1076"/>
          <ac:spMkLst>
            <pc:docMk/>
            <pc:sldMk cId="3214686972" sldId="266"/>
            <ac:spMk id="19" creationId="{5AC97E72-32BA-8FDF-6E01-16C1650F1C9C}"/>
          </ac:spMkLst>
        </pc:spChg>
        <pc:graphicFrameChg chg="mod">
          <ac:chgData name="Thomas Giroux" userId="a5e6b51b-05f9-4411-bff2-2d0750f3d155" providerId="ADAL" clId="{74470E2C-8369-7945-865F-A43BB419584A}" dt="2025-03-25T19:35:57.636" v="1614" actId="692"/>
          <ac:graphicFrameMkLst>
            <pc:docMk/>
            <pc:sldMk cId="3214686972" sldId="266"/>
            <ac:graphicFrameMk id="13" creationId="{50D4ED66-01E7-9601-030D-3FBC166F6479}"/>
          </ac:graphicFrameMkLst>
        </pc:graphicFrameChg>
        <pc:graphicFrameChg chg="add mod">
          <ac:chgData name="Thomas Giroux" userId="a5e6b51b-05f9-4411-bff2-2d0750f3d155" providerId="ADAL" clId="{74470E2C-8369-7945-865F-A43BB419584A}" dt="2025-03-24T03:08:47.281" v="1565"/>
          <ac:graphicFrameMkLst>
            <pc:docMk/>
            <pc:sldMk cId="3214686972" sldId="266"/>
            <ac:graphicFrameMk id="16" creationId="{EEA5DA10-21F4-CD7C-D81B-0F651397744A}"/>
          </ac:graphicFrameMkLst>
        </pc:graphicFrameChg>
        <pc:cxnChg chg="add mod">
          <ac:chgData name="Thomas Giroux" userId="a5e6b51b-05f9-4411-bff2-2d0750f3d155" providerId="ADAL" clId="{74470E2C-8369-7945-865F-A43BB419584A}" dt="2025-03-23T14:47:13.556" v="491" actId="1582"/>
          <ac:cxnSpMkLst>
            <pc:docMk/>
            <pc:sldMk cId="3214686972" sldId="266"/>
            <ac:cxnSpMk id="18" creationId="{4A1F15B3-351B-A7E3-0EDD-7F11D381C45C}"/>
          </ac:cxnSpMkLst>
        </pc:cxnChg>
      </pc:sldChg>
      <pc:sldChg chg="delSp modSp mod">
        <pc:chgData name="Thomas Giroux" userId="a5e6b51b-05f9-4411-bff2-2d0750f3d155" providerId="ADAL" clId="{74470E2C-8369-7945-865F-A43BB419584A}" dt="2025-03-31T18:52:00.087" v="11007" actId="478"/>
        <pc:sldMkLst>
          <pc:docMk/>
          <pc:sldMk cId="1752903940" sldId="267"/>
        </pc:sldMkLst>
      </pc:sldChg>
      <pc:sldChg chg="addSp delSp modSp new del mod modClrScheme chgLayout">
        <pc:chgData name="Thomas Giroux" userId="a5e6b51b-05f9-4411-bff2-2d0750f3d155" providerId="ADAL" clId="{74470E2C-8369-7945-865F-A43BB419584A}" dt="2025-04-01T23:39:29.081" v="11835" actId="2696"/>
        <pc:sldMkLst>
          <pc:docMk/>
          <pc:sldMk cId="3658756422" sldId="271"/>
        </pc:sldMkLst>
      </pc:sldChg>
      <pc:sldChg chg="addSp delSp modSp new del mod modClrScheme chgLayout">
        <pc:chgData name="Thomas Giroux" userId="a5e6b51b-05f9-4411-bff2-2d0750f3d155" providerId="ADAL" clId="{74470E2C-8369-7945-865F-A43BB419584A}" dt="2025-03-23T23:28:27.479" v="542" actId="2696"/>
        <pc:sldMkLst>
          <pc:docMk/>
          <pc:sldMk cId="975269204" sldId="283"/>
        </pc:sldMkLst>
      </pc:sldChg>
      <pc:sldChg chg="addSp delSp modSp new del mod modClrScheme chgLayout">
        <pc:chgData name="Thomas Giroux" userId="a5e6b51b-05f9-4411-bff2-2d0750f3d155" providerId="ADAL" clId="{74470E2C-8369-7945-865F-A43BB419584A}" dt="2025-03-23T14:18:06.639" v="387" actId="2696"/>
        <pc:sldMkLst>
          <pc:docMk/>
          <pc:sldMk cId="2014856467" sldId="283"/>
        </pc:sldMkLst>
      </pc:sldChg>
      <pc:sldChg chg="addSp delSp modSp new del mod modClrScheme chgLayout">
        <pc:chgData name="Thomas Giroux" userId="a5e6b51b-05f9-4411-bff2-2d0750f3d155" providerId="ADAL" clId="{74470E2C-8369-7945-865F-A43BB419584A}" dt="2025-03-24T01:48:54.229" v="1381" actId="2696"/>
        <pc:sldMkLst>
          <pc:docMk/>
          <pc:sldMk cId="2222434060" sldId="284"/>
        </pc:sldMkLst>
      </pc:sldChg>
      <pc:sldChg chg="modSp mod">
        <pc:chgData name="Thomas Giroux" userId="a5e6b51b-05f9-4411-bff2-2d0750f3d155" providerId="ADAL" clId="{74470E2C-8369-7945-865F-A43BB419584A}" dt="2025-03-30T19:47:50.029" v="9451" actId="20577"/>
        <pc:sldMkLst>
          <pc:docMk/>
          <pc:sldMk cId="2231801104" sldId="287"/>
        </pc:sldMkLst>
        <pc:spChg chg="mod">
          <ac:chgData name="Thomas Giroux" userId="a5e6b51b-05f9-4411-bff2-2d0750f3d155" providerId="ADAL" clId="{74470E2C-8369-7945-865F-A43BB419584A}" dt="2025-03-30T19:47:50.029" v="9451" actId="20577"/>
          <ac:spMkLst>
            <pc:docMk/>
            <pc:sldMk cId="2231801104" sldId="287"/>
            <ac:spMk id="91" creationId="{BD0A095F-6F35-F238-7F54-31625E60B9A1}"/>
          </ac:spMkLst>
        </pc:spChg>
      </pc:sldChg>
      <pc:sldChg chg="del">
        <pc:chgData name="Thomas Giroux" userId="a5e6b51b-05f9-4411-bff2-2d0750f3d155" providerId="ADAL" clId="{74470E2C-8369-7945-865F-A43BB419584A}" dt="2025-03-31T18:47:56.411" v="10981" actId="2696"/>
        <pc:sldMkLst>
          <pc:docMk/>
          <pc:sldMk cId="4107216613" sldId="292"/>
        </pc:sldMkLst>
      </pc:sldChg>
      <pc:sldChg chg="addSp delSp modSp mod modClrScheme chgLayout">
        <pc:chgData name="Thomas Giroux" userId="a5e6b51b-05f9-4411-bff2-2d0750f3d155" providerId="ADAL" clId="{74470E2C-8369-7945-865F-A43BB419584A}" dt="2025-04-01T22:31:29.872" v="11178" actId="700"/>
        <pc:sldMkLst>
          <pc:docMk/>
          <pc:sldMk cId="4024668292" sldId="298"/>
        </pc:sldMkLst>
        <pc:spChg chg="add del">
          <ac:chgData name="Thomas Giroux" userId="a5e6b51b-05f9-4411-bff2-2d0750f3d155" providerId="ADAL" clId="{74470E2C-8369-7945-865F-A43BB419584A}" dt="2025-04-01T22:31:29.872" v="11178" actId="700"/>
          <ac:spMkLst>
            <pc:docMk/>
            <pc:sldMk cId="4024668292" sldId="298"/>
            <ac:spMk id="2" creationId="{35C6684F-695F-0854-82F8-CE4B199DFE89}"/>
          </ac:spMkLst>
        </pc:spChg>
        <pc:spChg chg="mod ord">
          <ac:chgData name="Thomas Giroux" userId="a5e6b51b-05f9-4411-bff2-2d0750f3d155" providerId="ADAL" clId="{74470E2C-8369-7945-865F-A43BB419584A}" dt="2025-04-01T22:31:29.872" v="11178" actId="700"/>
          <ac:spMkLst>
            <pc:docMk/>
            <pc:sldMk cId="4024668292" sldId="298"/>
            <ac:spMk id="3" creationId="{E8EFD91F-04E7-EE3E-C9E8-A81CC7F87952}"/>
          </ac:spMkLst>
        </pc:spChg>
        <pc:spChg chg="mod ord">
          <ac:chgData name="Thomas Giroux" userId="a5e6b51b-05f9-4411-bff2-2d0750f3d155" providerId="ADAL" clId="{74470E2C-8369-7945-865F-A43BB419584A}" dt="2025-04-01T22:31:29.872" v="11178" actId="700"/>
          <ac:spMkLst>
            <pc:docMk/>
            <pc:sldMk cId="4024668292" sldId="298"/>
            <ac:spMk id="4" creationId="{A9B17A7D-6CDB-4865-973A-C6729205C047}"/>
          </ac:spMkLst>
        </pc:spChg>
        <pc:spChg chg="mod ord">
          <ac:chgData name="Thomas Giroux" userId="a5e6b51b-05f9-4411-bff2-2d0750f3d155" providerId="ADAL" clId="{74470E2C-8369-7945-865F-A43BB419584A}" dt="2025-04-01T22:31:29.872" v="11178" actId="700"/>
          <ac:spMkLst>
            <pc:docMk/>
            <pc:sldMk cId="4024668292" sldId="298"/>
            <ac:spMk id="5" creationId="{2666208A-E724-CF11-A935-10F02DD1B2E2}"/>
          </ac:spMkLst>
        </pc:spChg>
        <pc:spChg chg="mod ord">
          <ac:chgData name="Thomas Giroux" userId="a5e6b51b-05f9-4411-bff2-2d0750f3d155" providerId="ADAL" clId="{74470E2C-8369-7945-865F-A43BB419584A}" dt="2025-04-01T22:31:29.872" v="11178" actId="700"/>
          <ac:spMkLst>
            <pc:docMk/>
            <pc:sldMk cId="4024668292" sldId="298"/>
            <ac:spMk id="6" creationId="{1F5A4483-C65A-4BA3-2240-48C155700A6A}"/>
          </ac:spMkLst>
        </pc:spChg>
        <pc:spChg chg="mod ord">
          <ac:chgData name="Thomas Giroux" userId="a5e6b51b-05f9-4411-bff2-2d0750f3d155" providerId="ADAL" clId="{74470E2C-8369-7945-865F-A43BB419584A}" dt="2025-04-01T22:31:29.872" v="11178" actId="700"/>
          <ac:spMkLst>
            <pc:docMk/>
            <pc:sldMk cId="4024668292" sldId="298"/>
            <ac:spMk id="7" creationId="{EAFE44E2-5158-B5FB-B1F4-191350A8E2BF}"/>
          </ac:spMkLst>
        </pc:spChg>
        <pc:spChg chg="mod ord">
          <ac:chgData name="Thomas Giroux" userId="a5e6b51b-05f9-4411-bff2-2d0750f3d155" providerId="ADAL" clId="{74470E2C-8369-7945-865F-A43BB419584A}" dt="2025-04-01T22:31:29.872" v="11178" actId="700"/>
          <ac:spMkLst>
            <pc:docMk/>
            <pc:sldMk cId="4024668292" sldId="298"/>
            <ac:spMk id="8" creationId="{BED0275D-06DD-02A1-4D1E-82D720633BAE}"/>
          </ac:spMkLst>
        </pc:spChg>
        <pc:spChg chg="add del">
          <ac:chgData name="Thomas Giroux" userId="a5e6b51b-05f9-4411-bff2-2d0750f3d155" providerId="ADAL" clId="{74470E2C-8369-7945-865F-A43BB419584A}" dt="2025-04-01T22:31:29.872" v="11178" actId="700"/>
          <ac:spMkLst>
            <pc:docMk/>
            <pc:sldMk cId="4024668292" sldId="298"/>
            <ac:spMk id="9" creationId="{333DF362-ABA9-3C50-12AE-6ACF386D1387}"/>
          </ac:spMkLst>
        </pc:spChg>
        <pc:spChg chg="mod ord">
          <ac:chgData name="Thomas Giroux" userId="a5e6b51b-05f9-4411-bff2-2d0750f3d155" providerId="ADAL" clId="{74470E2C-8369-7945-865F-A43BB419584A}" dt="2025-04-01T22:31:29.872" v="11178" actId="700"/>
          <ac:spMkLst>
            <pc:docMk/>
            <pc:sldMk cId="4024668292" sldId="298"/>
            <ac:spMk id="12" creationId="{FAC6377F-6FE3-5A88-537B-2D8C562B4C63}"/>
          </ac:spMkLst>
        </pc:spChg>
        <pc:graphicFrameChg chg="mod ord">
          <ac:chgData name="Thomas Giroux" userId="a5e6b51b-05f9-4411-bff2-2d0750f3d155" providerId="ADAL" clId="{74470E2C-8369-7945-865F-A43BB419584A}" dt="2025-04-01T22:31:29.872" v="11178" actId="700"/>
          <ac:graphicFrameMkLst>
            <pc:docMk/>
            <pc:sldMk cId="4024668292" sldId="298"/>
            <ac:graphicFrameMk id="18" creationId="{272D2836-BE51-54C2-071E-93BFB234B62F}"/>
          </ac:graphicFrameMkLst>
        </pc:graphicFrameChg>
      </pc:sldChg>
      <pc:sldChg chg="addSp delSp modSp new mod">
        <pc:chgData name="Thomas Giroux" userId="a5e6b51b-05f9-4411-bff2-2d0750f3d155" providerId="ADAL" clId="{74470E2C-8369-7945-865F-A43BB419584A}" dt="2025-03-25T19:41:48.636" v="1618"/>
        <pc:sldMkLst>
          <pc:docMk/>
          <pc:sldMk cId="951529637" sldId="300"/>
        </pc:sldMkLst>
        <pc:spChg chg="mod">
          <ac:chgData name="Thomas Giroux" userId="a5e6b51b-05f9-4411-bff2-2d0750f3d155" providerId="ADAL" clId="{74470E2C-8369-7945-865F-A43BB419584A}" dt="2025-03-24T00:24:08.976" v="1181" actId="20577"/>
          <ac:spMkLst>
            <pc:docMk/>
            <pc:sldMk cId="951529637" sldId="300"/>
            <ac:spMk id="3" creationId="{0F25ECEB-1DFA-13B2-08D3-66A6D1EA1309}"/>
          </ac:spMkLst>
        </pc:spChg>
        <pc:spChg chg="mod">
          <ac:chgData name="Thomas Giroux" userId="a5e6b51b-05f9-4411-bff2-2d0750f3d155" providerId="ADAL" clId="{74470E2C-8369-7945-865F-A43BB419584A}" dt="2025-03-23T20:40:32.099" v="529" actId="20577"/>
          <ac:spMkLst>
            <pc:docMk/>
            <pc:sldMk cId="951529637" sldId="300"/>
            <ac:spMk id="4" creationId="{CAE0AFD2-9A5E-D174-444C-171F53FBDFA0}"/>
          </ac:spMkLst>
        </pc:spChg>
        <pc:spChg chg="mod">
          <ac:chgData name="Thomas Giroux" userId="a5e6b51b-05f9-4411-bff2-2d0750f3d155" providerId="ADAL" clId="{74470E2C-8369-7945-865F-A43BB419584A}" dt="2025-03-24T02:39:39.450" v="1541" actId="20577"/>
          <ac:spMkLst>
            <pc:docMk/>
            <pc:sldMk cId="951529637" sldId="300"/>
            <ac:spMk id="6" creationId="{14706D1D-B262-9522-A3ED-1FC2712BCBCA}"/>
          </ac:spMkLst>
        </pc:spChg>
        <pc:spChg chg="mod">
          <ac:chgData name="Thomas Giroux" userId="a5e6b51b-05f9-4411-bff2-2d0750f3d155" providerId="ADAL" clId="{74470E2C-8369-7945-865F-A43BB419584A}" dt="2025-03-24T03:07:33.177" v="1561" actId="114"/>
          <ac:spMkLst>
            <pc:docMk/>
            <pc:sldMk cId="951529637" sldId="300"/>
            <ac:spMk id="7" creationId="{7964A91A-402C-3360-FF0D-047E8EC1046E}"/>
          </ac:spMkLst>
        </pc:spChg>
        <pc:graphicFrameChg chg="add mod">
          <ac:chgData name="Thomas Giroux" userId="a5e6b51b-05f9-4411-bff2-2d0750f3d155" providerId="ADAL" clId="{74470E2C-8369-7945-865F-A43BB419584A}" dt="2025-03-25T19:41:48.636" v="1618"/>
          <ac:graphicFrameMkLst>
            <pc:docMk/>
            <pc:sldMk cId="951529637" sldId="300"/>
            <ac:graphicFrameMk id="9" creationId="{3F1250A4-A9CF-4B94-762F-8DA34893A2CF}"/>
          </ac:graphicFrameMkLst>
        </pc:graphicFrameChg>
        <pc:graphicFrameChg chg="add mod">
          <ac:chgData name="Thomas Giroux" userId="a5e6b51b-05f9-4411-bff2-2d0750f3d155" providerId="ADAL" clId="{74470E2C-8369-7945-865F-A43BB419584A}" dt="2025-03-24T03:07:03.204" v="1551"/>
          <ac:graphicFrameMkLst>
            <pc:docMk/>
            <pc:sldMk cId="951529637" sldId="300"/>
            <ac:graphicFrameMk id="10" creationId="{CFD77A0A-6787-1953-83E7-144ED7F65541}"/>
          </ac:graphicFrameMkLst>
        </pc:graphicFrameChg>
      </pc:sldChg>
      <pc:sldChg chg="addSp delSp modSp mod">
        <pc:chgData name="Thomas Giroux" userId="a5e6b51b-05f9-4411-bff2-2d0750f3d155" providerId="ADAL" clId="{74470E2C-8369-7945-865F-A43BB419584A}" dt="2025-03-29T15:57:43.958" v="6130" actId="478"/>
        <pc:sldMkLst>
          <pc:docMk/>
          <pc:sldMk cId="3482756237" sldId="304"/>
        </pc:sldMkLst>
      </pc:sldChg>
      <pc:sldChg chg="modSp add mod">
        <pc:chgData name="Thomas Giroux" userId="a5e6b51b-05f9-4411-bff2-2d0750f3d155" providerId="ADAL" clId="{74470E2C-8369-7945-865F-A43BB419584A}" dt="2025-03-23T23:28:34.920" v="563" actId="20577"/>
        <pc:sldMkLst>
          <pc:docMk/>
          <pc:sldMk cId="1956212865" sldId="305"/>
        </pc:sldMkLst>
      </pc:sldChg>
      <pc:sldChg chg="addSp delSp modSp new mod">
        <pc:chgData name="Thomas Giroux" userId="a5e6b51b-05f9-4411-bff2-2d0750f3d155" providerId="ADAL" clId="{74470E2C-8369-7945-865F-A43BB419584A}" dt="2025-04-02T02:31:07.697" v="12499"/>
        <pc:sldMkLst>
          <pc:docMk/>
          <pc:sldMk cId="1580044436" sldId="306"/>
        </pc:sldMkLst>
        <pc:spChg chg="mod">
          <ac:chgData name="Thomas Giroux" userId="a5e6b51b-05f9-4411-bff2-2d0750f3d155" providerId="ADAL" clId="{74470E2C-8369-7945-865F-A43BB419584A}" dt="2025-03-24T02:02:24.256" v="1528" actId="20577"/>
          <ac:spMkLst>
            <pc:docMk/>
            <pc:sldMk cId="1580044436" sldId="306"/>
            <ac:spMk id="3" creationId="{34E372A0-0237-FA9F-3EBA-CF64FAE97C4F}"/>
          </ac:spMkLst>
        </pc:spChg>
        <pc:spChg chg="mod">
          <ac:chgData name="Thomas Giroux" userId="a5e6b51b-05f9-4411-bff2-2d0750f3d155" providerId="ADAL" clId="{74470E2C-8369-7945-865F-A43BB419584A}" dt="2025-03-23T23:33:32.264" v="597" actId="20577"/>
          <ac:spMkLst>
            <pc:docMk/>
            <pc:sldMk cId="1580044436" sldId="306"/>
            <ac:spMk id="4" creationId="{5108E0E9-DC02-0C11-7C6A-1FB3A595536C}"/>
          </ac:spMkLst>
        </pc:spChg>
        <pc:spChg chg="mod">
          <ac:chgData name="Thomas Giroux" userId="a5e6b51b-05f9-4411-bff2-2d0750f3d155" providerId="ADAL" clId="{74470E2C-8369-7945-865F-A43BB419584A}" dt="2025-03-24T01:17:58.611" v="1352" actId="20577"/>
          <ac:spMkLst>
            <pc:docMk/>
            <pc:sldMk cId="1580044436" sldId="306"/>
            <ac:spMk id="6" creationId="{938BD273-5760-FF45-F027-61A7DF0CDE72}"/>
          </ac:spMkLst>
        </pc:spChg>
        <pc:spChg chg="mod">
          <ac:chgData name="Thomas Giroux" userId="a5e6b51b-05f9-4411-bff2-2d0750f3d155" providerId="ADAL" clId="{74470E2C-8369-7945-865F-A43BB419584A}" dt="2025-03-24T01:58:17.527" v="1417" actId="20577"/>
          <ac:spMkLst>
            <pc:docMk/>
            <pc:sldMk cId="1580044436" sldId="306"/>
            <ac:spMk id="7" creationId="{6DB23456-D880-480E-FF9E-13188D4E0284}"/>
          </ac:spMkLst>
        </pc:spChg>
        <pc:spChg chg="add del mod">
          <ac:chgData name="Thomas Giroux" userId="a5e6b51b-05f9-4411-bff2-2d0750f3d155" providerId="ADAL" clId="{74470E2C-8369-7945-865F-A43BB419584A}" dt="2025-04-02T02:31:07.697" v="12499"/>
          <ac:spMkLst>
            <pc:docMk/>
            <pc:sldMk cId="1580044436" sldId="306"/>
            <ac:spMk id="8" creationId="{4AD682BF-C5B0-D316-6E36-C7521794991A}"/>
          </ac:spMkLst>
        </pc:spChg>
        <pc:graphicFrameChg chg="add mod">
          <ac:chgData name="Thomas Giroux" userId="a5e6b51b-05f9-4411-bff2-2d0750f3d155" providerId="ADAL" clId="{74470E2C-8369-7945-865F-A43BB419584A}" dt="2025-04-02T02:31:07.697" v="12499"/>
          <ac:graphicFrameMkLst>
            <pc:docMk/>
            <pc:sldMk cId="1580044436" sldId="306"/>
            <ac:graphicFrameMk id="9" creationId="{E64F697E-B73E-5A30-07BA-E74755D1FE7C}"/>
          </ac:graphicFrameMkLst>
        </pc:graphicFrameChg>
        <pc:graphicFrameChg chg="add mod">
          <ac:chgData name="Thomas Giroux" userId="a5e6b51b-05f9-4411-bff2-2d0750f3d155" providerId="ADAL" clId="{74470E2C-8369-7945-865F-A43BB419584A}" dt="2025-03-25T19:36:43.391" v="1616" actId="692"/>
          <ac:graphicFrameMkLst>
            <pc:docMk/>
            <pc:sldMk cId="1580044436" sldId="306"/>
            <ac:graphicFrameMk id="12" creationId="{4643EF8F-277F-3ACE-087A-242F66565044}"/>
          </ac:graphicFrameMkLst>
        </pc:graphicFrameChg>
        <pc:graphicFrameChg chg="add del mod">
          <ac:chgData name="Thomas Giroux" userId="a5e6b51b-05f9-4411-bff2-2d0750f3d155" providerId="ADAL" clId="{74470E2C-8369-7945-865F-A43BB419584A}" dt="2025-04-02T02:31:01.382" v="12497" actId="478"/>
          <ac:graphicFrameMkLst>
            <pc:docMk/>
            <pc:sldMk cId="1580044436" sldId="306"/>
            <ac:graphicFrameMk id="13" creationId="{DAB367B8-FB8B-C971-CECB-F846B50F0A74}"/>
          </ac:graphicFrameMkLst>
        </pc:graphicFrameChg>
      </pc:sldChg>
      <pc:sldChg chg="modSp add del mod">
        <pc:chgData name="Thomas Giroux" userId="a5e6b51b-05f9-4411-bff2-2d0750f3d155" providerId="ADAL" clId="{74470E2C-8369-7945-865F-A43BB419584A}" dt="2025-04-01T22:31:19.461" v="11176" actId="2696"/>
        <pc:sldMkLst>
          <pc:docMk/>
          <pc:sldMk cId="2063434367" sldId="317"/>
        </pc:sldMkLst>
      </pc:sldChg>
      <pc:sldChg chg="addSp delSp modSp new del mod modClrScheme chgLayout">
        <pc:chgData name="Thomas Giroux" userId="a5e6b51b-05f9-4411-bff2-2d0750f3d155" providerId="ADAL" clId="{74470E2C-8369-7945-865F-A43BB419584A}" dt="2025-03-30T17:14:08.213" v="8980" actId="2696"/>
        <pc:sldMkLst>
          <pc:docMk/>
          <pc:sldMk cId="2526356922" sldId="2170"/>
        </pc:sldMkLst>
      </pc:sldChg>
      <pc:sldChg chg="addSp delSp modSp new mod modClrScheme chgLayout">
        <pc:chgData name="Thomas Giroux" userId="a5e6b51b-05f9-4411-bff2-2d0750f3d155" providerId="ADAL" clId="{74470E2C-8369-7945-865F-A43BB419584A}" dt="2025-04-02T03:50:55.186" v="12570"/>
        <pc:sldMkLst>
          <pc:docMk/>
          <pc:sldMk cId="711477750" sldId="2171"/>
        </pc:sldMkLst>
        <pc:spChg chg="del">
          <ac:chgData name="Thomas Giroux" userId="a5e6b51b-05f9-4411-bff2-2d0750f3d155" providerId="ADAL" clId="{74470E2C-8369-7945-865F-A43BB419584A}" dt="2025-04-01T17:36:20.853" v="11047" actId="478"/>
          <ac:spMkLst>
            <pc:docMk/>
            <pc:sldMk cId="711477750" sldId="2171"/>
            <ac:spMk id="2" creationId="{83FF17AA-CEBE-563E-1E40-AC09036B81ED}"/>
          </ac:spMkLst>
        </pc:spChg>
        <pc:spChg chg="del">
          <ac:chgData name="Thomas Giroux" userId="a5e6b51b-05f9-4411-bff2-2d0750f3d155" providerId="ADAL" clId="{74470E2C-8369-7945-865F-A43BB419584A}" dt="2025-04-01T17:31:10.237" v="11043" actId="478"/>
          <ac:spMkLst>
            <pc:docMk/>
            <pc:sldMk cId="711477750" sldId="2171"/>
            <ac:spMk id="3" creationId="{34D4DC26-C4AE-D995-B274-6D174CAE6912}"/>
          </ac:spMkLst>
        </pc:spChg>
        <pc:spChg chg="add del mod">
          <ac:chgData name="Thomas Giroux" userId="a5e6b51b-05f9-4411-bff2-2d0750f3d155" providerId="ADAL" clId="{74470E2C-8369-7945-865F-A43BB419584A}" dt="2025-04-02T03:50:55.186" v="12570"/>
          <ac:spMkLst>
            <pc:docMk/>
            <pc:sldMk cId="711477750" sldId="2171"/>
            <ac:spMk id="3" creationId="{BA4BBDF9-A58D-0448-11D9-4F40B16FDA2C}"/>
          </ac:spMkLst>
        </pc:spChg>
        <pc:spChg chg="add del mod">
          <ac:chgData name="Thomas Giroux" userId="a5e6b51b-05f9-4411-bff2-2d0750f3d155" providerId="ADAL" clId="{74470E2C-8369-7945-865F-A43BB419584A}" dt="2025-04-01T17:36:14.185" v="11046"/>
          <ac:spMkLst>
            <pc:docMk/>
            <pc:sldMk cId="711477750" sldId="2171"/>
            <ac:spMk id="5" creationId="{DC829830-4AAE-2DCC-4524-53B1F9E9DBE2}"/>
          </ac:spMkLst>
        </pc:spChg>
        <pc:spChg chg="add mod ord">
          <ac:chgData name="Thomas Giroux" userId="a5e6b51b-05f9-4411-bff2-2d0750f3d155" providerId="ADAL" clId="{74470E2C-8369-7945-865F-A43BB419584A}" dt="2025-03-27T21:19:56.782" v="1951" actId="20577"/>
          <ac:spMkLst>
            <pc:docMk/>
            <pc:sldMk cId="711477750" sldId="2171"/>
            <ac:spMk id="7" creationId="{1764EE52-CA7F-BB08-0307-C75F4771891A}"/>
          </ac:spMkLst>
        </pc:spChg>
        <pc:spChg chg="add mod ord">
          <ac:chgData name="Thomas Giroux" userId="a5e6b51b-05f9-4411-bff2-2d0750f3d155" providerId="ADAL" clId="{74470E2C-8369-7945-865F-A43BB419584A}" dt="2025-03-27T21:36:09.193" v="2393" actId="20577"/>
          <ac:spMkLst>
            <pc:docMk/>
            <pc:sldMk cId="711477750" sldId="2171"/>
            <ac:spMk id="8" creationId="{7BCB62F4-9EA2-D219-1487-A2B6548685CF}"/>
          </ac:spMkLst>
        </pc:spChg>
        <pc:spChg chg="mod">
          <ac:chgData name="Thomas Giroux" userId="a5e6b51b-05f9-4411-bff2-2d0750f3d155" providerId="ADAL" clId="{74470E2C-8369-7945-865F-A43BB419584A}" dt="2025-03-27T21:20:16.594" v="2006" actId="20577"/>
          <ac:spMkLst>
            <pc:docMk/>
            <pc:sldMk cId="711477750" sldId="2171"/>
            <ac:spMk id="9" creationId="{1CA1F7D6-D5C9-9E7A-61A8-E0AADDC233F5}"/>
          </ac:spMkLst>
        </pc:spChg>
        <pc:spChg chg="add mod ord">
          <ac:chgData name="Thomas Giroux" userId="a5e6b51b-05f9-4411-bff2-2d0750f3d155" providerId="ADAL" clId="{74470E2C-8369-7945-865F-A43BB419584A}" dt="2025-04-01T17:31:05.222" v="11042" actId="20577"/>
          <ac:spMkLst>
            <pc:docMk/>
            <pc:sldMk cId="711477750" sldId="2171"/>
            <ac:spMk id="10" creationId="{9FB5ACA8-4C57-02E1-B71F-D1FBB9D93F5E}"/>
          </ac:spMkLst>
        </pc:spChg>
        <pc:spChg chg="add mod ord">
          <ac:chgData name="Thomas Giroux" userId="a5e6b51b-05f9-4411-bff2-2d0750f3d155" providerId="ADAL" clId="{74470E2C-8369-7945-865F-A43BB419584A}" dt="2025-03-28T00:36:59.488" v="4212" actId="20577"/>
          <ac:spMkLst>
            <pc:docMk/>
            <pc:sldMk cId="711477750" sldId="2171"/>
            <ac:spMk id="11" creationId="{51145143-1772-8369-34BF-3C97553124CB}"/>
          </ac:spMkLst>
        </pc:spChg>
        <pc:spChg chg="add mod ord">
          <ac:chgData name="Thomas Giroux" userId="a5e6b51b-05f9-4411-bff2-2d0750f3d155" providerId="ADAL" clId="{74470E2C-8369-7945-865F-A43BB419584A}" dt="2025-03-27T21:41:53.030" v="2583" actId="20577"/>
          <ac:spMkLst>
            <pc:docMk/>
            <pc:sldMk cId="711477750" sldId="2171"/>
            <ac:spMk id="12" creationId="{3E5E6FE0-F584-AFC5-7AD5-8E380748D8F9}"/>
          </ac:spMkLst>
        </pc:spChg>
        <pc:spChg chg="mod">
          <ac:chgData name="Thomas Giroux" userId="a5e6b51b-05f9-4411-bff2-2d0750f3d155" providerId="ADAL" clId="{74470E2C-8369-7945-865F-A43BB419584A}" dt="2025-03-28T00:34:51.993" v="4178"/>
          <ac:spMkLst>
            <pc:docMk/>
            <pc:sldMk cId="711477750" sldId="2171"/>
            <ac:spMk id="13" creationId="{22F92771-18C1-7004-8645-81CAE6332994}"/>
          </ac:spMkLst>
        </pc:spChg>
        <pc:spChg chg="add del mod">
          <ac:chgData name="Thomas Giroux" userId="a5e6b51b-05f9-4411-bff2-2d0750f3d155" providerId="ADAL" clId="{74470E2C-8369-7945-865F-A43BB419584A}" dt="2025-04-01T17:53:34.844" v="11146"/>
          <ac:spMkLst>
            <pc:docMk/>
            <pc:sldMk cId="711477750" sldId="2171"/>
            <ac:spMk id="16" creationId="{23C500AE-B399-952F-71C4-123CA7063533}"/>
          </ac:spMkLst>
        </pc:spChg>
        <pc:spChg chg="add del mod">
          <ac:chgData name="Thomas Giroux" userId="a5e6b51b-05f9-4411-bff2-2d0750f3d155" providerId="ADAL" clId="{74470E2C-8369-7945-865F-A43BB419584A}" dt="2025-04-01T17:49:41.890" v="11138"/>
          <ac:spMkLst>
            <pc:docMk/>
            <pc:sldMk cId="711477750" sldId="2171"/>
            <ac:spMk id="18" creationId="{6032A561-B5EC-4F06-1758-B798AA868E0C}"/>
          </ac:spMkLst>
        </pc:spChg>
        <pc:spChg chg="add del mod">
          <ac:chgData name="Thomas Giroux" userId="a5e6b51b-05f9-4411-bff2-2d0750f3d155" providerId="ADAL" clId="{74470E2C-8369-7945-865F-A43BB419584A}" dt="2025-04-01T17:50:41.038" v="11142"/>
          <ac:spMkLst>
            <pc:docMk/>
            <pc:sldMk cId="711477750" sldId="2171"/>
            <ac:spMk id="21" creationId="{F4524468-A95B-9780-1254-F76920F1197A}"/>
          </ac:spMkLst>
        </pc:spChg>
        <pc:graphicFrameChg chg="add mod">
          <ac:chgData name="Thomas Giroux" userId="a5e6b51b-05f9-4411-bff2-2d0750f3d155" providerId="ADAL" clId="{74470E2C-8369-7945-865F-A43BB419584A}" dt="2025-04-02T03:50:55.186" v="12570"/>
          <ac:graphicFrameMkLst>
            <pc:docMk/>
            <pc:sldMk cId="711477750" sldId="2171"/>
            <ac:graphicFrameMk id="4" creationId="{D7F9D7AB-2F2D-543A-C370-04DABB7E841F}"/>
          </ac:graphicFrameMkLst>
        </pc:graphicFrameChg>
        <pc:graphicFrameChg chg="add del mod">
          <ac:chgData name="Thomas Giroux" userId="a5e6b51b-05f9-4411-bff2-2d0750f3d155" providerId="ADAL" clId="{74470E2C-8369-7945-865F-A43BB419584A}" dt="2025-04-01T17:41:43.774" v="11061" actId="478"/>
          <ac:graphicFrameMkLst>
            <pc:docMk/>
            <pc:sldMk cId="711477750" sldId="2171"/>
            <ac:graphicFrameMk id="6" creationId="{2610C8EE-B3F8-80EF-B601-5B1059990032}"/>
          </ac:graphicFrameMkLst>
        </pc:graphicFrameChg>
        <pc:graphicFrameChg chg="add del mod">
          <ac:chgData name="Thomas Giroux" userId="a5e6b51b-05f9-4411-bff2-2d0750f3d155" providerId="ADAL" clId="{74470E2C-8369-7945-865F-A43BB419584A}" dt="2025-04-01T17:49:44.257" v="11139" actId="478"/>
          <ac:graphicFrameMkLst>
            <pc:docMk/>
            <pc:sldMk cId="711477750" sldId="2171"/>
            <ac:graphicFrameMk id="19" creationId="{EFED53D3-FB00-46F9-B7C5-0A43D3B052D3}"/>
          </ac:graphicFrameMkLst>
        </pc:graphicFrameChg>
        <pc:graphicFrameChg chg="add mod">
          <ac:chgData name="Thomas Giroux" userId="a5e6b51b-05f9-4411-bff2-2d0750f3d155" providerId="ADAL" clId="{74470E2C-8369-7945-865F-A43BB419584A}" dt="2025-04-01T17:50:40.961" v="11141"/>
          <ac:graphicFrameMkLst>
            <pc:docMk/>
            <pc:sldMk cId="711477750" sldId="2171"/>
            <ac:graphicFrameMk id="22" creationId="{3D1B2202-FE46-1DFC-9D9F-1B08431F938F}"/>
          </ac:graphicFrameMkLst>
        </pc:graphicFrameChg>
        <pc:graphicFrameChg chg="add mod modGraphic">
          <ac:chgData name="Thomas Giroux" userId="a5e6b51b-05f9-4411-bff2-2d0750f3d155" providerId="ADAL" clId="{74470E2C-8369-7945-865F-A43BB419584A}" dt="2025-04-01T17:50:50.355" v="11144" actId="14100"/>
          <ac:graphicFrameMkLst>
            <pc:docMk/>
            <pc:sldMk cId="711477750" sldId="2171"/>
            <ac:graphicFrameMk id="23" creationId="{ADC48837-9FC4-2575-3981-AA5CE50FFC65}"/>
          </ac:graphicFrameMkLst>
        </pc:graphicFrameChg>
        <pc:graphicFrameChg chg="add del mod">
          <ac:chgData name="Thomas Giroux" userId="a5e6b51b-05f9-4411-bff2-2d0750f3d155" providerId="ADAL" clId="{74470E2C-8369-7945-865F-A43BB419584A}" dt="2025-04-02T03:50:46.820" v="12568" actId="478"/>
          <ac:graphicFrameMkLst>
            <pc:docMk/>
            <pc:sldMk cId="711477750" sldId="2171"/>
            <ac:graphicFrameMk id="24" creationId="{D7F9D7AB-2F2D-543A-C370-04DABB7E841F}"/>
          </ac:graphicFrameMkLst>
        </pc:graphicFrameChg>
        <pc:graphicFrameChg chg="add del mod">
          <ac:chgData name="Thomas Giroux" userId="a5e6b51b-05f9-4411-bff2-2d0750f3d155" providerId="ADAL" clId="{74470E2C-8369-7945-865F-A43BB419584A}" dt="2025-04-01T17:35:46.859" v="11044" actId="478"/>
          <ac:graphicFrameMkLst>
            <pc:docMk/>
            <pc:sldMk cId="711477750" sldId="2171"/>
            <ac:graphicFrameMk id="29" creationId="{07CC9741-F3A4-34D1-2C0B-A31FAA4CF5D5}"/>
          </ac:graphicFrameMkLst>
        </pc:graphicFrameChg>
        <pc:graphicFrameChg chg="add del mod modGraphic">
          <ac:chgData name="Thomas Giroux" userId="a5e6b51b-05f9-4411-bff2-2d0750f3d155" providerId="ADAL" clId="{74470E2C-8369-7945-865F-A43BB419584A}" dt="2025-04-01T17:49:40.410" v="11137" actId="478"/>
          <ac:graphicFrameMkLst>
            <pc:docMk/>
            <pc:sldMk cId="711477750" sldId="2171"/>
            <ac:graphicFrameMk id="31" creationId="{AF24246A-8FED-FF16-BD65-084BD5636350}"/>
          </ac:graphicFrameMkLst>
        </pc:graphicFrameChg>
      </pc:sldChg>
      <pc:sldChg chg="addSp delSp modSp new mod modClrScheme chgLayout">
        <pc:chgData name="Thomas Giroux" userId="a5e6b51b-05f9-4411-bff2-2d0750f3d155" providerId="ADAL" clId="{74470E2C-8369-7945-865F-A43BB419584A}" dt="2025-04-02T03:50:26.776" v="12567"/>
        <pc:sldMkLst>
          <pc:docMk/>
          <pc:sldMk cId="2071243324" sldId="2172"/>
        </pc:sldMkLst>
        <pc:spChg chg="del">
          <ac:chgData name="Thomas Giroux" userId="a5e6b51b-05f9-4411-bff2-2d0750f3d155" providerId="ADAL" clId="{74470E2C-8369-7945-865F-A43BB419584A}" dt="2025-04-01T17:37:59.091" v="11048" actId="478"/>
          <ac:spMkLst>
            <pc:docMk/>
            <pc:sldMk cId="2071243324" sldId="2172"/>
            <ac:spMk id="2" creationId="{E8AED278-D363-810D-3909-BAE0D38F99C1}"/>
          </ac:spMkLst>
        </pc:spChg>
        <pc:spChg chg="del">
          <ac:chgData name="Thomas Giroux" userId="a5e6b51b-05f9-4411-bff2-2d0750f3d155" providerId="ADAL" clId="{74470E2C-8369-7945-865F-A43BB419584A}" dt="2025-04-01T17:38:42.980" v="11056" actId="478"/>
          <ac:spMkLst>
            <pc:docMk/>
            <pc:sldMk cId="2071243324" sldId="2172"/>
            <ac:spMk id="3" creationId="{D3C777A1-005A-0343-4DB9-BABBF02F1F6F}"/>
          </ac:spMkLst>
        </pc:spChg>
        <pc:spChg chg="add del mod">
          <ac:chgData name="Thomas Giroux" userId="a5e6b51b-05f9-4411-bff2-2d0750f3d155" providerId="ADAL" clId="{74470E2C-8369-7945-865F-A43BB419584A}" dt="2025-04-02T03:49:29.336" v="12561"/>
          <ac:spMkLst>
            <pc:docMk/>
            <pc:sldMk cId="2071243324" sldId="2172"/>
            <ac:spMk id="3" creationId="{D6A86FC3-381D-5BC1-4E81-47B52C103179}"/>
          </ac:spMkLst>
        </pc:spChg>
        <pc:spChg chg="mod ord">
          <ac:chgData name="Thomas Giroux" userId="a5e6b51b-05f9-4411-bff2-2d0750f3d155" providerId="ADAL" clId="{74470E2C-8369-7945-865F-A43BB419584A}" dt="2025-04-02T01:30:38.809" v="12248" actId="20577"/>
          <ac:spMkLst>
            <pc:docMk/>
            <pc:sldMk cId="2071243324" sldId="2172"/>
            <ac:spMk id="4" creationId="{169025F0-5B02-ED0E-9155-2DDB9A96D098}"/>
          </ac:spMkLst>
        </pc:spChg>
        <pc:spChg chg="del">
          <ac:chgData name="Thomas Giroux" userId="a5e6b51b-05f9-4411-bff2-2d0750f3d155" providerId="ADAL" clId="{74470E2C-8369-7945-865F-A43BB419584A}" dt="2025-04-01T17:38:45.977" v="11057" actId="478"/>
          <ac:spMkLst>
            <pc:docMk/>
            <pc:sldMk cId="2071243324" sldId="2172"/>
            <ac:spMk id="5" creationId="{8EAC536C-89E8-7202-B801-84241120DF7F}"/>
          </ac:spMkLst>
        </pc:spChg>
        <pc:spChg chg="add del mod">
          <ac:chgData name="Thomas Giroux" userId="a5e6b51b-05f9-4411-bff2-2d0750f3d155" providerId="ADAL" clId="{74470E2C-8369-7945-865F-A43BB419584A}" dt="2025-04-02T03:49:51.835" v="12564"/>
          <ac:spMkLst>
            <pc:docMk/>
            <pc:sldMk cId="2071243324" sldId="2172"/>
            <ac:spMk id="7" creationId="{29A583E1-DE10-31D6-E8AB-3F920AC564E3}"/>
          </ac:spMkLst>
        </pc:spChg>
        <pc:spChg chg="del">
          <ac:chgData name="Thomas Giroux" userId="a5e6b51b-05f9-4411-bff2-2d0750f3d155" providerId="ADAL" clId="{74470E2C-8369-7945-865F-A43BB419584A}" dt="2025-04-01T17:38:57.065" v="11059" actId="478"/>
          <ac:spMkLst>
            <pc:docMk/>
            <pc:sldMk cId="2071243324" sldId="2172"/>
            <ac:spMk id="7" creationId="{D347F0FF-0B3B-C0A6-C542-D4DE62CC950C}"/>
          </ac:spMkLst>
        </pc:spChg>
        <pc:spChg chg="add del mod">
          <ac:chgData name="Thomas Giroux" userId="a5e6b51b-05f9-4411-bff2-2d0750f3d155" providerId="ADAL" clId="{74470E2C-8369-7945-865F-A43BB419584A}" dt="2025-04-01T17:38:22.741" v="11052"/>
          <ac:spMkLst>
            <pc:docMk/>
            <pc:sldMk cId="2071243324" sldId="2172"/>
            <ac:spMk id="9" creationId="{B7AB02F8-A660-73F9-1FAA-2CAD9888F135}"/>
          </ac:spMkLst>
        </pc:spChg>
        <pc:spChg chg="add del mod">
          <ac:chgData name="Thomas Giroux" userId="a5e6b51b-05f9-4411-bff2-2d0750f3d155" providerId="ADAL" clId="{74470E2C-8369-7945-865F-A43BB419584A}" dt="2025-04-02T03:50:26.776" v="12567"/>
          <ac:spMkLst>
            <pc:docMk/>
            <pc:sldMk cId="2071243324" sldId="2172"/>
            <ac:spMk id="10" creationId="{6F0232B1-BB02-3D32-A7EB-BA14326307F7}"/>
          </ac:spMkLst>
        </pc:spChg>
        <pc:spChg chg="mod ord">
          <ac:chgData name="Thomas Giroux" userId="a5e6b51b-05f9-4411-bff2-2d0750f3d155" providerId="ADAL" clId="{74470E2C-8369-7945-865F-A43BB419584A}" dt="2025-04-01T17:46:54.506" v="11113" actId="20577"/>
          <ac:spMkLst>
            <pc:docMk/>
            <pc:sldMk cId="2071243324" sldId="2172"/>
            <ac:spMk id="11" creationId="{581E4F0D-E128-846B-0A12-9013885E55C7}"/>
          </ac:spMkLst>
        </pc:spChg>
        <pc:spChg chg="add mod ord">
          <ac:chgData name="Thomas Giroux" userId="a5e6b51b-05f9-4411-bff2-2d0750f3d155" providerId="ADAL" clId="{74470E2C-8369-7945-865F-A43BB419584A}" dt="2025-03-27T21:35:33.336" v="2334" actId="20577"/>
          <ac:spMkLst>
            <pc:docMk/>
            <pc:sldMk cId="2071243324" sldId="2172"/>
            <ac:spMk id="14" creationId="{E57C4383-D75C-2D2E-4211-B627145570B2}"/>
          </ac:spMkLst>
        </pc:spChg>
        <pc:spChg chg="add mod ord">
          <ac:chgData name="Thomas Giroux" userId="a5e6b51b-05f9-4411-bff2-2d0750f3d155" providerId="ADAL" clId="{74470E2C-8369-7945-865F-A43BB419584A}" dt="2025-03-27T21:47:15.938" v="3116" actId="20577"/>
          <ac:spMkLst>
            <pc:docMk/>
            <pc:sldMk cId="2071243324" sldId="2172"/>
            <ac:spMk id="15" creationId="{252AD323-639C-57C6-EFA6-A3083CA6B0AB}"/>
          </ac:spMkLst>
        </pc:spChg>
        <pc:spChg chg="add mod ord">
          <ac:chgData name="Thomas Giroux" userId="a5e6b51b-05f9-4411-bff2-2d0750f3d155" providerId="ADAL" clId="{74470E2C-8369-7945-865F-A43BB419584A}" dt="2025-03-27T21:32:28.852" v="2255" actId="20577"/>
          <ac:spMkLst>
            <pc:docMk/>
            <pc:sldMk cId="2071243324" sldId="2172"/>
            <ac:spMk id="16" creationId="{37C7590B-2FA4-2E44-A256-9094037D28B6}"/>
          </ac:spMkLst>
        </pc:spChg>
        <pc:spChg chg="add del mod">
          <ac:chgData name="Thomas Giroux" userId="a5e6b51b-05f9-4411-bff2-2d0750f3d155" providerId="ADAL" clId="{74470E2C-8369-7945-865F-A43BB419584A}" dt="2025-04-01T17:44:23.805" v="11064"/>
          <ac:spMkLst>
            <pc:docMk/>
            <pc:sldMk cId="2071243324" sldId="2172"/>
            <ac:spMk id="17" creationId="{54EDBA52-29BC-7EE7-D030-98F5B0820D4D}"/>
          </ac:spMkLst>
        </pc:spChg>
        <pc:spChg chg="mod">
          <ac:chgData name="Thomas Giroux" userId="a5e6b51b-05f9-4411-bff2-2d0750f3d155" providerId="ADAL" clId="{74470E2C-8369-7945-865F-A43BB419584A}" dt="2025-04-01T17:44:33.737" v="11090" actId="20577"/>
          <ac:spMkLst>
            <pc:docMk/>
            <pc:sldMk cId="2071243324" sldId="2172"/>
            <ac:spMk id="18" creationId="{29DD47B3-1997-F5B2-6357-28696CF1D936}"/>
          </ac:spMkLst>
        </pc:spChg>
        <pc:spChg chg="add del mod">
          <ac:chgData name="Thomas Giroux" userId="a5e6b51b-05f9-4411-bff2-2d0750f3d155" providerId="ADAL" clId="{74470E2C-8369-7945-865F-A43BB419584A}" dt="2025-04-01T17:46:46.798" v="11093"/>
          <ac:spMkLst>
            <pc:docMk/>
            <pc:sldMk cId="2071243324" sldId="2172"/>
            <ac:spMk id="21" creationId="{920D01DE-2D06-8407-5971-7C0A52384FF7}"/>
          </ac:spMkLst>
        </pc:spChg>
        <pc:spChg chg="add mod ord">
          <ac:chgData name="Thomas Giroux" userId="a5e6b51b-05f9-4411-bff2-2d0750f3d155" providerId="ADAL" clId="{74470E2C-8369-7945-865F-A43BB419584A}" dt="2025-04-01T17:49:06.990" v="11136" actId="20577"/>
          <ac:spMkLst>
            <pc:docMk/>
            <pc:sldMk cId="2071243324" sldId="2172"/>
            <ac:spMk id="22" creationId="{A236C730-5CFE-FC50-81BB-7A18C720D59C}"/>
          </ac:spMkLst>
        </pc:spChg>
        <pc:spChg chg="add del mod">
          <ac:chgData name="Thomas Giroux" userId="a5e6b51b-05f9-4411-bff2-2d0750f3d155" providerId="ADAL" clId="{74470E2C-8369-7945-865F-A43BB419584A}" dt="2025-04-01T17:48:52.722" v="11116"/>
          <ac:spMkLst>
            <pc:docMk/>
            <pc:sldMk cId="2071243324" sldId="2172"/>
            <ac:spMk id="28" creationId="{4D304874-6365-AA43-2D92-2828FCCC1F63}"/>
          </ac:spMkLst>
        </pc:spChg>
        <pc:graphicFrameChg chg="add mod">
          <ac:chgData name="Thomas Giroux" userId="a5e6b51b-05f9-4411-bff2-2d0750f3d155" providerId="ADAL" clId="{74470E2C-8369-7945-865F-A43BB419584A}" dt="2025-04-02T03:49:29.336" v="12561"/>
          <ac:graphicFrameMkLst>
            <pc:docMk/>
            <pc:sldMk cId="2071243324" sldId="2172"/>
            <ac:graphicFrameMk id="5" creationId="{87C82FE1-36FF-45D5-4F0F-93365C62F5B7}"/>
          </ac:graphicFrameMkLst>
        </pc:graphicFrameChg>
        <pc:graphicFrameChg chg="add del mod">
          <ac:chgData name="Thomas Giroux" userId="a5e6b51b-05f9-4411-bff2-2d0750f3d155" providerId="ADAL" clId="{74470E2C-8369-7945-865F-A43BB419584A}" dt="2025-04-01T17:38:17.751" v="11049" actId="478"/>
          <ac:graphicFrameMkLst>
            <pc:docMk/>
            <pc:sldMk cId="2071243324" sldId="2172"/>
            <ac:graphicFrameMk id="6" creationId="{4E5CF5B6-6180-88EF-C647-81EBE58504BA}"/>
          </ac:graphicFrameMkLst>
        </pc:graphicFrameChg>
        <pc:graphicFrameChg chg="add mod">
          <ac:chgData name="Thomas Giroux" userId="a5e6b51b-05f9-4411-bff2-2d0750f3d155" providerId="ADAL" clId="{74470E2C-8369-7945-865F-A43BB419584A}" dt="2025-04-02T03:49:51.835" v="12564"/>
          <ac:graphicFrameMkLst>
            <pc:docMk/>
            <pc:sldMk cId="2071243324" sldId="2172"/>
            <ac:graphicFrameMk id="8" creationId="{C87B7209-29BF-10FB-6DA7-57F79BCCA464}"/>
          </ac:graphicFrameMkLst>
        </pc:graphicFrameChg>
        <pc:graphicFrameChg chg="add mod">
          <ac:chgData name="Thomas Giroux" userId="a5e6b51b-05f9-4411-bff2-2d0750f3d155" providerId="ADAL" clId="{74470E2C-8369-7945-865F-A43BB419584A}" dt="2025-04-01T17:38:22.650" v="11051"/>
          <ac:graphicFrameMkLst>
            <pc:docMk/>
            <pc:sldMk cId="2071243324" sldId="2172"/>
            <ac:graphicFrameMk id="10" creationId="{DC0003B5-3ED6-9058-211F-F117C17DAA76}"/>
          </ac:graphicFrameMkLst>
        </pc:graphicFrameChg>
        <pc:graphicFrameChg chg="add mod modGraphic">
          <ac:chgData name="Thomas Giroux" userId="a5e6b51b-05f9-4411-bff2-2d0750f3d155" providerId="ADAL" clId="{74470E2C-8369-7945-865F-A43BB419584A}" dt="2025-04-01T17:38:53.289" v="11058" actId="1076"/>
          <ac:graphicFrameMkLst>
            <pc:docMk/>
            <pc:sldMk cId="2071243324" sldId="2172"/>
            <ac:graphicFrameMk id="12" creationId="{48B19038-B8AB-590C-745B-34522ADEC8E3}"/>
          </ac:graphicFrameMkLst>
        </pc:graphicFrameChg>
        <pc:graphicFrameChg chg="add mod">
          <ac:chgData name="Thomas Giroux" userId="a5e6b51b-05f9-4411-bff2-2d0750f3d155" providerId="ADAL" clId="{74470E2C-8369-7945-865F-A43BB419584A}" dt="2025-04-02T03:50:26.776" v="12567"/>
          <ac:graphicFrameMkLst>
            <pc:docMk/>
            <pc:sldMk cId="2071243324" sldId="2172"/>
            <ac:graphicFrameMk id="13" creationId="{FD7077CD-21A8-3D87-086A-5A5211B6AF54}"/>
          </ac:graphicFrameMkLst>
        </pc:graphicFrameChg>
        <pc:graphicFrameChg chg="add del mod">
          <ac:chgData name="Thomas Giroux" userId="a5e6b51b-05f9-4411-bff2-2d0750f3d155" providerId="ADAL" clId="{74470E2C-8369-7945-865F-A43BB419584A}" dt="2025-04-02T03:45:59.564" v="12559" actId="478"/>
          <ac:graphicFrameMkLst>
            <pc:docMk/>
            <pc:sldMk cId="2071243324" sldId="2172"/>
            <ac:graphicFrameMk id="19" creationId="{87C82FE1-36FF-45D5-4F0F-93365C62F5B7}"/>
          </ac:graphicFrameMkLst>
        </pc:graphicFrameChg>
        <pc:graphicFrameChg chg="add del mod">
          <ac:chgData name="Thomas Giroux" userId="a5e6b51b-05f9-4411-bff2-2d0750f3d155" providerId="ADAL" clId="{74470E2C-8369-7945-865F-A43BB419584A}" dt="2025-04-01T17:44:21.554" v="11062" actId="478"/>
          <ac:graphicFrameMkLst>
            <pc:docMk/>
            <pc:sldMk cId="2071243324" sldId="2172"/>
            <ac:graphicFrameMk id="23" creationId="{3AD62F52-267E-E5FF-ECC6-C5D180EA4C4E}"/>
          </ac:graphicFrameMkLst>
        </pc:graphicFrameChg>
        <pc:graphicFrameChg chg="add del mod">
          <ac:chgData name="Thomas Giroux" userId="a5e6b51b-05f9-4411-bff2-2d0750f3d155" providerId="ADAL" clId="{74470E2C-8369-7945-865F-A43BB419584A}" dt="2025-04-02T03:49:41.615" v="12562" actId="478"/>
          <ac:graphicFrameMkLst>
            <pc:docMk/>
            <pc:sldMk cId="2071243324" sldId="2172"/>
            <ac:graphicFrameMk id="24" creationId="{C87B7209-29BF-10FB-6DA7-57F79BCCA464}"/>
          </ac:graphicFrameMkLst>
        </pc:graphicFrameChg>
        <pc:graphicFrameChg chg="add del mod">
          <ac:chgData name="Thomas Giroux" userId="a5e6b51b-05f9-4411-bff2-2d0750f3d155" providerId="ADAL" clId="{74470E2C-8369-7945-865F-A43BB419584A}" dt="2025-04-01T17:46:45.261" v="11091" actId="478"/>
          <ac:graphicFrameMkLst>
            <pc:docMk/>
            <pc:sldMk cId="2071243324" sldId="2172"/>
            <ac:graphicFrameMk id="26" creationId="{AA1C0033-4860-5152-6C76-7CF7F9E9261D}"/>
          </ac:graphicFrameMkLst>
        </pc:graphicFrameChg>
        <pc:graphicFrameChg chg="add del mod">
          <ac:chgData name="Thomas Giroux" userId="a5e6b51b-05f9-4411-bff2-2d0750f3d155" providerId="ADAL" clId="{74470E2C-8369-7945-865F-A43BB419584A}" dt="2025-04-01T17:47:03.105" v="11114" actId="478"/>
          <ac:graphicFrameMkLst>
            <pc:docMk/>
            <pc:sldMk cId="2071243324" sldId="2172"/>
            <ac:graphicFrameMk id="27" creationId="{C53F0311-58F6-4065-2492-54959A1AA356}"/>
          </ac:graphicFrameMkLst>
        </pc:graphicFrameChg>
        <pc:graphicFrameChg chg="add del mod">
          <ac:chgData name="Thomas Giroux" userId="a5e6b51b-05f9-4411-bff2-2d0750f3d155" providerId="ADAL" clId="{74470E2C-8369-7945-865F-A43BB419584A}" dt="2025-04-02T03:50:05.472" v="12565" actId="478"/>
          <ac:graphicFrameMkLst>
            <pc:docMk/>
            <pc:sldMk cId="2071243324" sldId="2172"/>
            <ac:graphicFrameMk id="29" creationId="{FD7077CD-21A8-3D87-086A-5A5211B6AF54}"/>
          </ac:graphicFrameMkLst>
        </pc:graphicFrameChg>
      </pc:sldChg>
      <pc:sldChg chg="addSp delSp modSp new mod ord modClrScheme chgLayout">
        <pc:chgData name="Thomas Giroux" userId="a5e6b51b-05f9-4411-bff2-2d0750f3d155" providerId="ADAL" clId="{74470E2C-8369-7945-865F-A43BB419584A}" dt="2025-04-02T03:04:10.120" v="12558" actId="14100"/>
        <pc:sldMkLst>
          <pc:docMk/>
          <pc:sldMk cId="99878240" sldId="2174"/>
        </pc:sldMkLst>
        <pc:spChg chg="mod">
          <ac:chgData name="Thomas Giroux" userId="a5e6b51b-05f9-4411-bff2-2d0750f3d155" providerId="ADAL" clId="{74470E2C-8369-7945-865F-A43BB419584A}" dt="2025-03-31T18:46:59.833" v="10961"/>
          <ac:spMkLst>
            <pc:docMk/>
            <pc:sldMk cId="99878240" sldId="2174"/>
            <ac:spMk id="2" creationId="{9C1FADC1-399A-6B7D-6C72-9A90E555A455}"/>
          </ac:spMkLst>
        </pc:spChg>
        <pc:spChg chg="mod">
          <ac:chgData name="Thomas Giroux" userId="a5e6b51b-05f9-4411-bff2-2d0750f3d155" providerId="ADAL" clId="{74470E2C-8369-7945-865F-A43BB419584A}" dt="2025-03-28T19:36:50.269" v="4619" actId="20577"/>
          <ac:spMkLst>
            <pc:docMk/>
            <pc:sldMk cId="99878240" sldId="2174"/>
            <ac:spMk id="7" creationId="{22A2C65A-FAED-0DB1-1399-8B361FB5117C}"/>
          </ac:spMkLst>
        </pc:spChg>
        <pc:spChg chg="add del mod">
          <ac:chgData name="Thomas Giroux" userId="a5e6b51b-05f9-4411-bff2-2d0750f3d155" providerId="ADAL" clId="{74470E2C-8369-7945-865F-A43BB419584A}" dt="2025-04-01T22:58:37.565" v="11541"/>
          <ac:spMkLst>
            <pc:docMk/>
            <pc:sldMk cId="99878240" sldId="2174"/>
            <ac:spMk id="8" creationId="{3C0C9873-8635-953B-2E67-F1ADD2F55D59}"/>
          </ac:spMkLst>
        </pc:spChg>
        <pc:spChg chg="add mod ord">
          <ac:chgData name="Thomas Giroux" userId="a5e6b51b-05f9-4411-bff2-2d0750f3d155" providerId="ADAL" clId="{74470E2C-8369-7945-865F-A43BB419584A}" dt="2025-03-28T19:37:17.396" v="4670" actId="20577"/>
          <ac:spMkLst>
            <pc:docMk/>
            <pc:sldMk cId="99878240" sldId="2174"/>
            <ac:spMk id="9" creationId="{87115979-9F7E-B653-38A8-7055EEE32051}"/>
          </ac:spMkLst>
        </pc:spChg>
        <pc:spChg chg="add mod ord">
          <ac:chgData name="Thomas Giroux" userId="a5e6b51b-05f9-4411-bff2-2d0750f3d155" providerId="ADAL" clId="{74470E2C-8369-7945-865F-A43BB419584A}" dt="2025-03-29T20:27:30.453" v="8281" actId="114"/>
          <ac:spMkLst>
            <pc:docMk/>
            <pc:sldMk cId="99878240" sldId="2174"/>
            <ac:spMk id="10" creationId="{DE44CE6E-7600-6A4D-A9F0-808FAAA234B4}"/>
          </ac:spMkLst>
        </pc:spChg>
        <pc:spChg chg="mod">
          <ac:chgData name="Thomas Giroux" userId="a5e6b51b-05f9-4411-bff2-2d0750f3d155" providerId="ADAL" clId="{74470E2C-8369-7945-865F-A43BB419584A}" dt="2025-03-28T19:37:34.581" v="4692" actId="20577"/>
          <ac:spMkLst>
            <pc:docMk/>
            <pc:sldMk cId="99878240" sldId="2174"/>
            <ac:spMk id="12" creationId="{2BD02593-F42A-73A6-6241-48387F6559F6}"/>
          </ac:spMkLst>
        </pc:spChg>
        <pc:spChg chg="add del mod">
          <ac:chgData name="Thomas Giroux" userId="a5e6b51b-05f9-4411-bff2-2d0750f3d155" providerId="ADAL" clId="{74470E2C-8369-7945-865F-A43BB419584A}" dt="2025-04-01T22:59:20.958" v="11548"/>
          <ac:spMkLst>
            <pc:docMk/>
            <pc:sldMk cId="99878240" sldId="2174"/>
            <ac:spMk id="16" creationId="{6F5C474E-D26C-ECC6-B0A8-435FE3EF577D}"/>
          </ac:spMkLst>
        </pc:spChg>
        <pc:spChg chg="add del mod">
          <ac:chgData name="Thomas Giroux" userId="a5e6b51b-05f9-4411-bff2-2d0750f3d155" providerId="ADAL" clId="{74470E2C-8369-7945-865F-A43BB419584A}" dt="2025-04-02T03:03:48.130" v="12552"/>
          <ac:spMkLst>
            <pc:docMk/>
            <pc:sldMk cId="99878240" sldId="2174"/>
            <ac:spMk id="21" creationId="{9F5E52A2-E693-5C3B-95EF-EF207888DA50}"/>
          </ac:spMkLst>
        </pc:spChg>
        <pc:spChg chg="add del mod">
          <ac:chgData name="Thomas Giroux" userId="a5e6b51b-05f9-4411-bff2-2d0750f3d155" providerId="ADAL" clId="{74470E2C-8369-7945-865F-A43BB419584A}" dt="2025-04-02T03:04:05.923" v="12556" actId="478"/>
          <ac:spMkLst>
            <pc:docMk/>
            <pc:sldMk cId="99878240" sldId="2174"/>
            <ac:spMk id="26" creationId="{D72DEFC7-6DD4-27EC-E776-1C477F6CF3E9}"/>
          </ac:spMkLst>
        </pc:spChg>
        <pc:graphicFrameChg chg="add mod">
          <ac:chgData name="Thomas Giroux" userId="a5e6b51b-05f9-4411-bff2-2d0750f3d155" providerId="ADAL" clId="{74470E2C-8369-7945-865F-A43BB419584A}" dt="2025-04-01T22:58:37.480" v="11540"/>
          <ac:graphicFrameMkLst>
            <pc:docMk/>
            <pc:sldMk cId="99878240" sldId="2174"/>
            <ac:graphicFrameMk id="11" creationId="{1CDCB445-31AA-35C5-6988-62AD71645584}"/>
          </ac:graphicFrameMkLst>
        </pc:graphicFrameChg>
        <pc:graphicFrameChg chg="add del mod modGraphic">
          <ac:chgData name="Thomas Giroux" userId="a5e6b51b-05f9-4411-bff2-2d0750f3d155" providerId="ADAL" clId="{74470E2C-8369-7945-865F-A43BB419584A}" dt="2025-04-01T22:58:52.699" v="11545" actId="478"/>
          <ac:graphicFrameMkLst>
            <pc:docMk/>
            <pc:sldMk cId="99878240" sldId="2174"/>
            <ac:graphicFrameMk id="13" creationId="{B8FEA142-53F4-D8E6-7F44-189BD4C3087B}"/>
          </ac:graphicFrameMkLst>
        </pc:graphicFrameChg>
        <pc:graphicFrameChg chg="del">
          <ac:chgData name="Thomas Giroux" userId="a5e6b51b-05f9-4411-bff2-2d0750f3d155" providerId="ADAL" clId="{74470E2C-8369-7945-865F-A43BB419584A}" dt="2025-04-02T03:03:41.576" v="12549" actId="478"/>
          <ac:graphicFrameMkLst>
            <pc:docMk/>
            <pc:sldMk cId="99878240" sldId="2174"/>
            <ac:graphicFrameMk id="14" creationId="{7416FF9B-981D-91CC-5F75-047BA5E574BB}"/>
          </ac:graphicFrameMkLst>
        </pc:graphicFrameChg>
        <pc:graphicFrameChg chg="add mod">
          <ac:chgData name="Thomas Giroux" userId="a5e6b51b-05f9-4411-bff2-2d0750f3d155" providerId="ADAL" clId="{74470E2C-8369-7945-865F-A43BB419584A}" dt="2025-04-01T22:59:20.868" v="11547"/>
          <ac:graphicFrameMkLst>
            <pc:docMk/>
            <pc:sldMk cId="99878240" sldId="2174"/>
            <ac:graphicFrameMk id="17" creationId="{C470C0A4-31BB-E6BE-300B-1732390CC860}"/>
          </ac:graphicFrameMkLst>
        </pc:graphicFrameChg>
        <pc:graphicFrameChg chg="add del mod modGraphic">
          <ac:chgData name="Thomas Giroux" userId="a5e6b51b-05f9-4411-bff2-2d0750f3d155" providerId="ADAL" clId="{74470E2C-8369-7945-865F-A43BB419584A}" dt="2025-04-01T22:58:00.096" v="11538" actId="478"/>
          <ac:graphicFrameMkLst>
            <pc:docMk/>
            <pc:sldMk cId="99878240" sldId="2174"/>
            <ac:graphicFrameMk id="18" creationId="{B1D6163C-40B9-34AA-ED02-A4A696BE6F13}"/>
          </ac:graphicFrameMkLst>
        </pc:graphicFrameChg>
        <pc:graphicFrameChg chg="add mod modGraphic">
          <ac:chgData name="Thomas Giroux" userId="a5e6b51b-05f9-4411-bff2-2d0750f3d155" providerId="ADAL" clId="{74470E2C-8369-7945-865F-A43BB419584A}" dt="2025-04-01T23:34:22.320" v="11834" actId="20577"/>
          <ac:graphicFrameMkLst>
            <pc:docMk/>
            <pc:sldMk cId="99878240" sldId="2174"/>
            <ac:graphicFrameMk id="19" creationId="{13859A5B-7537-8969-C37D-60AC46A8A97C}"/>
          </ac:graphicFrameMkLst>
        </pc:graphicFrameChg>
        <pc:graphicFrameChg chg="add mod">
          <ac:chgData name="Thomas Giroux" userId="a5e6b51b-05f9-4411-bff2-2d0750f3d155" providerId="ADAL" clId="{74470E2C-8369-7945-865F-A43BB419584A}" dt="2025-04-02T03:03:47.918" v="12551"/>
          <ac:graphicFrameMkLst>
            <pc:docMk/>
            <pc:sldMk cId="99878240" sldId="2174"/>
            <ac:graphicFrameMk id="22" creationId="{49EF42F2-B837-36BE-ADA1-981CFCD12FD0}"/>
          </ac:graphicFrameMkLst>
        </pc:graphicFrameChg>
        <pc:graphicFrameChg chg="add del mod modGraphic">
          <ac:chgData name="Thomas Giroux" userId="a5e6b51b-05f9-4411-bff2-2d0750f3d155" providerId="ADAL" clId="{74470E2C-8369-7945-865F-A43BB419584A}" dt="2025-04-02T03:04:10.120" v="12558" actId="14100"/>
          <ac:graphicFrameMkLst>
            <pc:docMk/>
            <pc:sldMk cId="99878240" sldId="2174"/>
            <ac:graphicFrameMk id="23" creationId="{C46BD306-73FE-2512-DC7F-65F8D063D6B9}"/>
          </ac:graphicFrameMkLst>
        </pc:graphicFrameChg>
        <pc:graphicFrameChg chg="add mod modGraphic">
          <ac:chgData name="Thomas Giroux" userId="a5e6b51b-05f9-4411-bff2-2d0750f3d155" providerId="ADAL" clId="{74470E2C-8369-7945-865F-A43BB419584A}" dt="2025-03-29T21:45:30.857" v="8292" actId="14100"/>
          <ac:graphicFrameMkLst>
            <pc:docMk/>
            <pc:sldMk cId="99878240" sldId="2174"/>
            <ac:graphicFrameMk id="24" creationId="{7C59455E-FF07-C056-6D59-43FE5AF8512D}"/>
          </ac:graphicFrameMkLst>
        </pc:graphicFrameChg>
      </pc:sldChg>
      <pc:sldChg chg="addSp delSp modSp new del mod">
        <pc:chgData name="Thomas Giroux" userId="a5e6b51b-05f9-4411-bff2-2d0750f3d155" providerId="ADAL" clId="{74470E2C-8369-7945-865F-A43BB419584A}" dt="2025-03-30T20:32:21.767" v="9941" actId="2696"/>
        <pc:sldMkLst>
          <pc:docMk/>
          <pc:sldMk cId="384352372" sldId="2175"/>
        </pc:sldMkLst>
      </pc:sldChg>
      <pc:sldChg chg="addSp delSp modSp new del mod modClrScheme chgLayout">
        <pc:chgData name="Thomas Giroux" userId="a5e6b51b-05f9-4411-bff2-2d0750f3d155" providerId="ADAL" clId="{74470E2C-8369-7945-865F-A43BB419584A}" dt="2025-03-31T16:42:24.814" v="10326" actId="2696"/>
        <pc:sldMkLst>
          <pc:docMk/>
          <pc:sldMk cId="2320753107" sldId="2176"/>
        </pc:sldMkLst>
      </pc:sldChg>
      <pc:sldChg chg="addSp delSp modSp new mod modClrScheme chgLayout">
        <pc:chgData name="Thomas Giroux" userId="a5e6b51b-05f9-4411-bff2-2d0750f3d155" providerId="ADAL" clId="{74470E2C-8369-7945-865F-A43BB419584A}" dt="2025-04-02T17:03:07.603" v="13545" actId="478"/>
        <pc:sldMkLst>
          <pc:docMk/>
          <pc:sldMk cId="2597588365" sldId="2177"/>
        </pc:sldMkLst>
        <pc:spChg chg="add del mod">
          <ac:chgData name="Thomas Giroux" userId="a5e6b51b-05f9-4411-bff2-2d0750f3d155" providerId="ADAL" clId="{74470E2C-8369-7945-865F-A43BB419584A}" dt="2025-04-02T17:03:07.603" v="13545" actId="478"/>
          <ac:spMkLst>
            <pc:docMk/>
            <pc:sldMk cId="2597588365" sldId="2177"/>
            <ac:spMk id="2" creationId="{74C6DA9F-7102-1EEE-3C8B-A35CE30C9214}"/>
          </ac:spMkLst>
        </pc:spChg>
        <pc:spChg chg="add mod ord">
          <ac:chgData name="Thomas Giroux" userId="a5e6b51b-05f9-4411-bff2-2d0750f3d155" providerId="ADAL" clId="{74470E2C-8369-7945-865F-A43BB419584A}" dt="2025-03-29T15:44:26.436" v="5110" actId="20577"/>
          <ac:spMkLst>
            <pc:docMk/>
            <pc:sldMk cId="2597588365" sldId="2177"/>
            <ac:spMk id="7" creationId="{6D1EABAA-7B0E-ADBC-0169-E15E543647C7}"/>
          </ac:spMkLst>
        </pc:spChg>
        <pc:spChg chg="add mod ord">
          <ac:chgData name="Thomas Giroux" userId="a5e6b51b-05f9-4411-bff2-2d0750f3d155" providerId="ADAL" clId="{74470E2C-8369-7945-865F-A43BB419584A}" dt="2025-03-29T15:38:55.513" v="5094" actId="700"/>
          <ac:spMkLst>
            <pc:docMk/>
            <pc:sldMk cId="2597588365" sldId="2177"/>
            <ac:spMk id="8" creationId="{7B9BA62E-5E93-5AB3-E291-DD5B06116153}"/>
          </ac:spMkLst>
        </pc:spChg>
        <pc:spChg chg="add mod ord">
          <ac:chgData name="Thomas Giroux" userId="a5e6b51b-05f9-4411-bff2-2d0750f3d155" providerId="ADAL" clId="{74470E2C-8369-7945-865F-A43BB419584A}" dt="2025-04-02T17:03:04.523" v="13544" actId="20577"/>
          <ac:spMkLst>
            <pc:docMk/>
            <pc:sldMk cId="2597588365" sldId="2177"/>
            <ac:spMk id="9" creationId="{D4747B61-57F0-6791-449F-EB707D7088F3}"/>
          </ac:spMkLst>
        </pc:spChg>
        <pc:spChg chg="add mod ord">
          <ac:chgData name="Thomas Giroux" userId="a5e6b51b-05f9-4411-bff2-2d0750f3d155" providerId="ADAL" clId="{74470E2C-8369-7945-865F-A43BB419584A}" dt="2025-03-29T15:38:55.513" v="5094" actId="700"/>
          <ac:spMkLst>
            <pc:docMk/>
            <pc:sldMk cId="2597588365" sldId="2177"/>
            <ac:spMk id="10" creationId="{45AE702E-CE87-32EE-F936-8D53756ABDCD}"/>
          </ac:spMkLst>
        </pc:spChg>
      </pc:sldChg>
      <pc:sldChg chg="del">
        <pc:chgData name="Thomas Giroux" userId="a5e6b51b-05f9-4411-bff2-2d0750f3d155" providerId="ADAL" clId="{74470E2C-8369-7945-865F-A43BB419584A}" dt="2025-04-02T01:54:50.662" v="12493" actId="2696"/>
        <pc:sldMkLst>
          <pc:docMk/>
          <pc:sldMk cId="3476286386" sldId="2192"/>
        </pc:sldMkLst>
      </pc:sldChg>
      <pc:sldChg chg="modSp mod">
        <pc:chgData name="Thomas Giroux" userId="a5e6b51b-05f9-4411-bff2-2d0750f3d155" providerId="ADAL" clId="{74470E2C-8369-7945-865F-A43BB419584A}" dt="2025-04-02T00:56:47.281" v="12116" actId="20577"/>
        <pc:sldMkLst>
          <pc:docMk/>
          <pc:sldMk cId="2575535093" sldId="2201"/>
        </pc:sldMkLst>
        <pc:spChg chg="mod">
          <ac:chgData name="Thomas Giroux" userId="a5e6b51b-05f9-4411-bff2-2d0750f3d155" providerId="ADAL" clId="{74470E2C-8369-7945-865F-A43BB419584A}" dt="2025-04-02T00:56:47.281" v="12116" actId="20577"/>
          <ac:spMkLst>
            <pc:docMk/>
            <pc:sldMk cId="2575535093" sldId="2201"/>
            <ac:spMk id="18" creationId="{2759D637-E8DB-EAB5-756C-DF97CA2B2BAC}"/>
          </ac:spMkLst>
        </pc:spChg>
      </pc:sldChg>
      <pc:sldChg chg="modSp add del mod">
        <pc:chgData name="Thomas Giroux" userId="a5e6b51b-05f9-4411-bff2-2d0750f3d155" providerId="ADAL" clId="{74470E2C-8369-7945-865F-A43BB419584A}" dt="2025-03-31T01:53:54.013" v="10275" actId="2696"/>
        <pc:sldMkLst>
          <pc:docMk/>
          <pc:sldMk cId="1016083001" sldId="2204"/>
        </pc:sldMkLst>
      </pc:sldChg>
      <pc:sldChg chg="addSp delSp modSp new del mod">
        <pc:chgData name="Thomas Giroux" userId="a5e6b51b-05f9-4411-bff2-2d0750f3d155" providerId="ADAL" clId="{74470E2C-8369-7945-865F-A43BB419584A}" dt="2025-03-31T16:42:19.639" v="10325" actId="2696"/>
        <pc:sldMkLst>
          <pc:docMk/>
          <pc:sldMk cId="2791576213" sldId="2205"/>
        </pc:sldMkLst>
      </pc:sldChg>
      <pc:sldChg chg="addSp delSp modSp new del mod modClrScheme chgLayout">
        <pc:chgData name="Thomas Giroux" userId="a5e6b51b-05f9-4411-bff2-2d0750f3d155" providerId="ADAL" clId="{74470E2C-8369-7945-865F-A43BB419584A}" dt="2025-04-01T22:28:05.278" v="11150" actId="2696"/>
        <pc:sldMkLst>
          <pc:docMk/>
          <pc:sldMk cId="3341212199" sldId="2206"/>
        </pc:sldMkLst>
      </pc:sldChg>
      <pc:sldChg chg="addSp delSp modSp mod">
        <pc:chgData name="Thomas Giroux" userId="a5e6b51b-05f9-4411-bff2-2d0750f3d155" providerId="ADAL" clId="{74470E2C-8369-7945-865F-A43BB419584A}" dt="2025-03-31T18:46:51.225" v="10960"/>
        <pc:sldMkLst>
          <pc:docMk/>
          <pc:sldMk cId="2512498619" sldId="2209"/>
        </pc:sldMkLst>
        <pc:spChg chg="mod">
          <ac:chgData name="Thomas Giroux" userId="a5e6b51b-05f9-4411-bff2-2d0750f3d155" providerId="ADAL" clId="{74470E2C-8369-7945-865F-A43BB419584A}" dt="2025-03-31T03:04:43.063" v="10295" actId="20577"/>
          <ac:spMkLst>
            <pc:docMk/>
            <pc:sldMk cId="2512498619" sldId="2209"/>
            <ac:spMk id="4" creationId="{0601D520-8357-F5BD-5AB4-CE54080599AA}"/>
          </ac:spMkLst>
        </pc:spChg>
        <pc:spChg chg="mod">
          <ac:chgData name="Thomas Giroux" userId="a5e6b51b-05f9-4411-bff2-2d0750f3d155" providerId="ADAL" clId="{74470E2C-8369-7945-865F-A43BB419584A}" dt="2025-03-31T18:46:51.225" v="10960"/>
          <ac:spMkLst>
            <pc:docMk/>
            <pc:sldMk cId="2512498619" sldId="2209"/>
            <ac:spMk id="5" creationId="{D79F03D4-8C93-8AAF-7F70-8BA0C82D54C1}"/>
          </ac:spMkLst>
        </pc:spChg>
      </pc:sldChg>
      <pc:sldChg chg="addSp modSp del mod">
        <pc:chgData name="Thomas Giroux" userId="a5e6b51b-05f9-4411-bff2-2d0750f3d155" providerId="ADAL" clId="{74470E2C-8369-7945-865F-A43BB419584A}" dt="2025-04-01T22:57:29.248" v="11537" actId="2696"/>
        <pc:sldMkLst>
          <pc:docMk/>
          <pc:sldMk cId="3484494390" sldId="2211"/>
        </pc:sldMkLst>
        <pc:spChg chg="mod">
          <ac:chgData name="Thomas Giroux" userId="a5e6b51b-05f9-4411-bff2-2d0750f3d155" providerId="ADAL" clId="{74470E2C-8369-7945-865F-A43BB419584A}" dt="2025-04-01T22:31:16.165" v="11175" actId="20577"/>
          <ac:spMkLst>
            <pc:docMk/>
            <pc:sldMk cId="3484494390" sldId="2211"/>
            <ac:spMk id="25" creationId="{225D9D6B-0302-F79E-6099-8499281B451B}"/>
          </ac:spMkLst>
        </pc:spChg>
      </pc:sldChg>
      <pc:sldChg chg="add del">
        <pc:chgData name="Thomas Giroux" userId="a5e6b51b-05f9-4411-bff2-2d0750f3d155" providerId="ADAL" clId="{74470E2C-8369-7945-865F-A43BB419584A}" dt="2025-03-31T16:44:22.076" v="10327" actId="2696"/>
        <pc:sldMkLst>
          <pc:docMk/>
          <pc:sldMk cId="3488532050" sldId="2214"/>
        </pc:sldMkLst>
      </pc:sldChg>
      <pc:sldChg chg="modSp mod">
        <pc:chgData name="Thomas Giroux" userId="a5e6b51b-05f9-4411-bff2-2d0750f3d155" providerId="ADAL" clId="{74470E2C-8369-7945-865F-A43BB419584A}" dt="2025-03-31T18:49:55.099" v="11005" actId="20577"/>
        <pc:sldMkLst>
          <pc:docMk/>
          <pc:sldMk cId="605004554" sldId="2215"/>
        </pc:sldMkLst>
        <pc:spChg chg="mod">
          <ac:chgData name="Thomas Giroux" userId="a5e6b51b-05f9-4411-bff2-2d0750f3d155" providerId="ADAL" clId="{74470E2C-8369-7945-865F-A43BB419584A}" dt="2025-03-31T18:49:55.099" v="11005" actId="20577"/>
          <ac:spMkLst>
            <pc:docMk/>
            <pc:sldMk cId="605004554" sldId="2215"/>
            <ac:spMk id="5" creationId="{92295677-D771-B5BD-C8D8-5261ED9D5024}"/>
          </ac:spMkLst>
        </pc:spChg>
      </pc:sldChg>
      <pc:sldChg chg="addSp delSp modSp new del mod modClrScheme chgLayout">
        <pc:chgData name="Thomas Giroux" userId="a5e6b51b-05f9-4411-bff2-2d0750f3d155" providerId="ADAL" clId="{74470E2C-8369-7945-865F-A43BB419584A}" dt="2025-04-02T01:29:52.446" v="12209" actId="2696"/>
        <pc:sldMkLst>
          <pc:docMk/>
          <pc:sldMk cId="4021520181" sldId="2220"/>
        </pc:sldMkLst>
        <pc:spChg chg="del">
          <ac:chgData name="Thomas Giroux" userId="a5e6b51b-05f9-4411-bff2-2d0750f3d155" providerId="ADAL" clId="{74470E2C-8369-7945-865F-A43BB419584A}" dt="2025-04-02T01:25:43.373" v="12189" actId="478"/>
          <ac:spMkLst>
            <pc:docMk/>
            <pc:sldMk cId="4021520181" sldId="2220"/>
            <ac:spMk id="2" creationId="{85298412-EA5E-3107-2C4D-6FC88F2E536E}"/>
          </ac:spMkLst>
        </pc:spChg>
        <pc:spChg chg="del mod ord">
          <ac:chgData name="Thomas Giroux" userId="a5e6b51b-05f9-4411-bff2-2d0750f3d155" providerId="ADAL" clId="{74470E2C-8369-7945-865F-A43BB419584A}" dt="2025-04-02T01:25:38.766" v="12188" actId="700"/>
          <ac:spMkLst>
            <pc:docMk/>
            <pc:sldMk cId="4021520181" sldId="2220"/>
            <ac:spMk id="3" creationId="{03AB8CB8-FAAB-9318-83E9-093E04D76CFA}"/>
          </ac:spMkLst>
        </pc:spChg>
        <pc:spChg chg="del mod ord">
          <ac:chgData name="Thomas Giroux" userId="a5e6b51b-05f9-4411-bff2-2d0750f3d155" providerId="ADAL" clId="{74470E2C-8369-7945-865F-A43BB419584A}" dt="2025-04-02T01:25:38.766" v="12188" actId="700"/>
          <ac:spMkLst>
            <pc:docMk/>
            <pc:sldMk cId="4021520181" sldId="2220"/>
            <ac:spMk id="4" creationId="{3A4BC900-E4E2-7C3C-149A-E70894CB3619}"/>
          </ac:spMkLst>
        </pc:spChg>
        <pc:spChg chg="del">
          <ac:chgData name="Thomas Giroux" userId="a5e6b51b-05f9-4411-bff2-2d0750f3d155" providerId="ADAL" clId="{74470E2C-8369-7945-865F-A43BB419584A}" dt="2025-04-02T01:25:01.341" v="12187"/>
          <ac:spMkLst>
            <pc:docMk/>
            <pc:sldMk cId="4021520181" sldId="2220"/>
            <ac:spMk id="6" creationId="{BA48D43F-B6B1-AFF7-5DDB-02CB3AF363F0}"/>
          </ac:spMkLst>
        </pc:spChg>
        <pc:spChg chg="del mod ord">
          <ac:chgData name="Thomas Giroux" userId="a5e6b51b-05f9-4411-bff2-2d0750f3d155" providerId="ADAL" clId="{74470E2C-8369-7945-865F-A43BB419584A}" dt="2025-04-02T01:25:38.766" v="12188" actId="700"/>
          <ac:spMkLst>
            <pc:docMk/>
            <pc:sldMk cId="4021520181" sldId="2220"/>
            <ac:spMk id="7" creationId="{737FF6A8-6193-3394-AF2F-62F20CAD9B4F}"/>
          </ac:spMkLst>
        </pc:spChg>
        <pc:spChg chg="del mod ord">
          <ac:chgData name="Thomas Giroux" userId="a5e6b51b-05f9-4411-bff2-2d0750f3d155" providerId="ADAL" clId="{74470E2C-8369-7945-865F-A43BB419584A}" dt="2025-04-02T01:25:38.766" v="12188" actId="700"/>
          <ac:spMkLst>
            <pc:docMk/>
            <pc:sldMk cId="4021520181" sldId="2220"/>
            <ac:spMk id="8" creationId="{D8F896CF-2FB4-5A4D-9A4E-3A31EDD3CCF3}"/>
          </ac:spMkLst>
        </pc:spChg>
        <pc:spChg chg="add del mod ord">
          <ac:chgData name="Thomas Giroux" userId="a5e6b51b-05f9-4411-bff2-2d0750f3d155" providerId="ADAL" clId="{74470E2C-8369-7945-865F-A43BB419584A}" dt="2025-04-02T01:25:38.766" v="12188" actId="700"/>
          <ac:spMkLst>
            <pc:docMk/>
            <pc:sldMk cId="4021520181" sldId="2220"/>
            <ac:spMk id="10" creationId="{9E0081B1-A56C-5442-431F-F73EFE75517E}"/>
          </ac:spMkLst>
        </pc:spChg>
        <pc:spChg chg="add mod ord">
          <ac:chgData name="Thomas Giroux" userId="a5e6b51b-05f9-4411-bff2-2d0750f3d155" providerId="ADAL" clId="{74470E2C-8369-7945-865F-A43BB419584A}" dt="2025-04-02T01:25:38.766" v="12188" actId="700"/>
          <ac:spMkLst>
            <pc:docMk/>
            <pc:sldMk cId="4021520181" sldId="2220"/>
            <ac:spMk id="13" creationId="{0B980DCC-C040-C84F-94EE-0BC63C7C67E3}"/>
          </ac:spMkLst>
        </pc:spChg>
        <pc:spChg chg="add mod ord">
          <ac:chgData name="Thomas Giroux" userId="a5e6b51b-05f9-4411-bff2-2d0750f3d155" providerId="ADAL" clId="{74470E2C-8369-7945-865F-A43BB419584A}" dt="2025-04-02T01:25:38.766" v="12188" actId="700"/>
          <ac:spMkLst>
            <pc:docMk/>
            <pc:sldMk cId="4021520181" sldId="2220"/>
            <ac:spMk id="14" creationId="{D506D61A-4316-130B-7A4A-0FCB74379AEA}"/>
          </ac:spMkLst>
        </pc:spChg>
        <pc:spChg chg="add mod ord">
          <ac:chgData name="Thomas Giroux" userId="a5e6b51b-05f9-4411-bff2-2d0750f3d155" providerId="ADAL" clId="{74470E2C-8369-7945-865F-A43BB419584A}" dt="2025-04-02T01:29:12.962" v="12208" actId="20577"/>
          <ac:spMkLst>
            <pc:docMk/>
            <pc:sldMk cId="4021520181" sldId="2220"/>
            <ac:spMk id="16" creationId="{892D1B73-5036-ECF3-3092-E6B5998BEAE2}"/>
          </ac:spMkLst>
        </pc:spChg>
        <pc:spChg chg="add mod ord">
          <ac:chgData name="Thomas Giroux" userId="a5e6b51b-05f9-4411-bff2-2d0750f3d155" providerId="ADAL" clId="{74470E2C-8369-7945-865F-A43BB419584A}" dt="2025-04-02T01:25:38.766" v="12188" actId="700"/>
          <ac:spMkLst>
            <pc:docMk/>
            <pc:sldMk cId="4021520181" sldId="2220"/>
            <ac:spMk id="17" creationId="{78EB4535-BE6C-F57C-EE64-AA313B30BD56}"/>
          </ac:spMkLst>
        </pc:spChg>
        <pc:spChg chg="add mod ord">
          <ac:chgData name="Thomas Giroux" userId="a5e6b51b-05f9-4411-bff2-2d0750f3d155" providerId="ADAL" clId="{74470E2C-8369-7945-865F-A43BB419584A}" dt="2025-04-02T01:25:38.766" v="12188" actId="700"/>
          <ac:spMkLst>
            <pc:docMk/>
            <pc:sldMk cId="4021520181" sldId="2220"/>
            <ac:spMk id="19" creationId="{13C286F4-C514-1C03-C062-0F298C48BD9A}"/>
          </ac:spMkLst>
        </pc:spChg>
        <pc:graphicFrameChg chg="add mod">
          <ac:chgData name="Thomas Giroux" userId="a5e6b51b-05f9-4411-bff2-2d0750f3d155" providerId="ADAL" clId="{74470E2C-8369-7945-865F-A43BB419584A}" dt="2025-04-02T01:25:01.341" v="12187"/>
          <ac:graphicFrameMkLst>
            <pc:docMk/>
            <pc:sldMk cId="4021520181" sldId="2220"/>
            <ac:graphicFrameMk id="12" creationId="{A0F5CAC2-5EFD-9B79-FC6F-0B7D90F92183}"/>
          </ac:graphicFrameMkLst>
        </pc:graphicFrameChg>
        <pc:graphicFrameChg chg="add del mod">
          <ac:chgData name="Thomas Giroux" userId="a5e6b51b-05f9-4411-bff2-2d0750f3d155" providerId="ADAL" clId="{74470E2C-8369-7945-865F-A43BB419584A}" dt="2025-04-01T23:18:37.729" v="11795" actId="478"/>
          <ac:graphicFrameMkLst>
            <pc:docMk/>
            <pc:sldMk cId="4021520181" sldId="2220"/>
            <ac:graphicFrameMk id="15" creationId="{A0F5CAC2-5EFD-9B79-FC6F-0B7D90F92183}"/>
          </ac:graphicFrameMkLst>
        </pc:graphicFrameChg>
      </pc:sldChg>
      <pc:sldChg chg="modSp mod">
        <pc:chgData name="Thomas Giroux" userId="a5e6b51b-05f9-4411-bff2-2d0750f3d155" providerId="ADAL" clId="{74470E2C-8369-7945-865F-A43BB419584A}" dt="2025-04-02T02:45:06.073" v="12512" actId="20577"/>
        <pc:sldMkLst>
          <pc:docMk/>
          <pc:sldMk cId="3858565632" sldId="2222"/>
        </pc:sldMkLst>
        <pc:spChg chg="mod">
          <ac:chgData name="Thomas Giroux" userId="a5e6b51b-05f9-4411-bff2-2d0750f3d155" providerId="ADAL" clId="{74470E2C-8369-7945-865F-A43BB419584A}" dt="2025-04-02T02:45:06.073" v="12512" actId="20577"/>
          <ac:spMkLst>
            <pc:docMk/>
            <pc:sldMk cId="3858565632" sldId="2222"/>
            <ac:spMk id="5" creationId="{56392033-8A48-6A1E-E5B9-E9B71A629ECB}"/>
          </ac:spMkLst>
        </pc:spChg>
        <pc:spChg chg="mod">
          <ac:chgData name="Thomas Giroux" userId="a5e6b51b-05f9-4411-bff2-2d0750f3d155" providerId="ADAL" clId="{74470E2C-8369-7945-865F-A43BB419584A}" dt="2025-04-02T02:44:49.679" v="12504" actId="20577"/>
          <ac:spMkLst>
            <pc:docMk/>
            <pc:sldMk cId="3858565632" sldId="2222"/>
            <ac:spMk id="15" creationId="{01526B00-6F17-D299-86EA-DC5C29ECDDD2}"/>
          </ac:spMkLst>
        </pc:spChg>
      </pc:sldChg>
      <pc:sldChg chg="addSp delSp modSp mod">
        <pc:chgData name="Thomas Giroux" userId="a5e6b51b-05f9-4411-bff2-2d0750f3d155" providerId="ADAL" clId="{74470E2C-8369-7945-865F-A43BB419584A}" dt="2025-04-02T01:23:51.695" v="12185" actId="20577"/>
        <pc:sldMkLst>
          <pc:docMk/>
          <pc:sldMk cId="3295877462" sldId="2230"/>
        </pc:sldMkLst>
        <pc:spChg chg="mod">
          <ac:chgData name="Thomas Giroux" userId="a5e6b51b-05f9-4411-bff2-2d0750f3d155" providerId="ADAL" clId="{74470E2C-8369-7945-865F-A43BB419584A}" dt="2025-04-02T01:23:51.695" v="12185" actId="20577"/>
          <ac:spMkLst>
            <pc:docMk/>
            <pc:sldMk cId="3295877462" sldId="2230"/>
            <ac:spMk id="6" creationId="{BA262EF2-E910-C9F7-5770-B69703038D01}"/>
          </ac:spMkLst>
        </pc:spChg>
        <pc:spChg chg="add del mod">
          <ac:chgData name="Thomas Giroux" userId="a5e6b51b-05f9-4411-bff2-2d0750f3d155" providerId="ADAL" clId="{74470E2C-8369-7945-865F-A43BB419584A}" dt="2025-04-01T23:03:53.415" v="11621" actId="478"/>
          <ac:spMkLst>
            <pc:docMk/>
            <pc:sldMk cId="3295877462" sldId="2230"/>
            <ac:spMk id="8" creationId="{9CBA2D54-62E9-5525-D352-B1EAF6F5A832}"/>
          </ac:spMkLst>
        </pc:spChg>
        <pc:spChg chg="add mod">
          <ac:chgData name="Thomas Giroux" userId="a5e6b51b-05f9-4411-bff2-2d0750f3d155" providerId="ADAL" clId="{74470E2C-8369-7945-865F-A43BB419584A}" dt="2025-04-01T23:09:07.278" v="11706" actId="1076"/>
          <ac:spMkLst>
            <pc:docMk/>
            <pc:sldMk cId="3295877462" sldId="2230"/>
            <ac:spMk id="10" creationId="{1A97EDF5-85B0-89A8-E605-D246CC0A6D58}"/>
          </ac:spMkLst>
        </pc:spChg>
        <pc:spChg chg="add mod">
          <ac:chgData name="Thomas Giroux" userId="a5e6b51b-05f9-4411-bff2-2d0750f3d155" providerId="ADAL" clId="{74470E2C-8369-7945-865F-A43BB419584A}" dt="2025-04-01T23:22:49.922" v="11823" actId="1076"/>
          <ac:spMkLst>
            <pc:docMk/>
            <pc:sldMk cId="3295877462" sldId="2230"/>
            <ac:spMk id="11" creationId="{5CFC5308-3857-5770-A83E-EDB20A0A5E70}"/>
          </ac:spMkLst>
        </pc:spChg>
        <pc:spChg chg="add mod">
          <ac:chgData name="Thomas Giroux" userId="a5e6b51b-05f9-4411-bff2-2d0750f3d155" providerId="ADAL" clId="{74470E2C-8369-7945-865F-A43BB419584A}" dt="2025-04-02T00:23:45.592" v="11842" actId="20577"/>
          <ac:spMkLst>
            <pc:docMk/>
            <pc:sldMk cId="3295877462" sldId="2230"/>
            <ac:spMk id="12" creationId="{0D8B1259-5266-022F-693A-42347BAFDAE7}"/>
          </ac:spMkLst>
        </pc:spChg>
        <pc:spChg chg="add mod">
          <ac:chgData name="Thomas Giroux" userId="a5e6b51b-05f9-4411-bff2-2d0750f3d155" providerId="ADAL" clId="{74470E2C-8369-7945-865F-A43BB419584A}" dt="2025-04-01T23:09:28.129" v="11709" actId="1076"/>
          <ac:spMkLst>
            <pc:docMk/>
            <pc:sldMk cId="3295877462" sldId="2230"/>
            <ac:spMk id="13" creationId="{4ABFBCED-65AC-A571-119C-62DA27A1E89F}"/>
          </ac:spMkLst>
        </pc:spChg>
        <pc:spChg chg="add mod">
          <ac:chgData name="Thomas Giroux" userId="a5e6b51b-05f9-4411-bff2-2d0750f3d155" providerId="ADAL" clId="{74470E2C-8369-7945-865F-A43BB419584A}" dt="2025-04-02T01:22:58.593" v="12135" actId="20577"/>
          <ac:spMkLst>
            <pc:docMk/>
            <pc:sldMk cId="3295877462" sldId="2230"/>
            <ac:spMk id="15" creationId="{6E71D38F-5FB6-C05E-8F2A-1119ADD3EF8B}"/>
          </ac:spMkLst>
        </pc:spChg>
        <pc:spChg chg="add del mod">
          <ac:chgData name="Thomas Giroux" userId="a5e6b51b-05f9-4411-bff2-2d0750f3d155" providerId="ADAL" clId="{74470E2C-8369-7945-865F-A43BB419584A}" dt="2025-04-01T23:09:40.008" v="11712" actId="478"/>
          <ac:spMkLst>
            <pc:docMk/>
            <pc:sldMk cId="3295877462" sldId="2230"/>
            <ac:spMk id="17" creationId="{50596027-AFFB-E555-EBB4-5D0900270F4D}"/>
          </ac:spMkLst>
        </pc:spChg>
        <pc:spChg chg="add mod">
          <ac:chgData name="Thomas Giroux" userId="a5e6b51b-05f9-4411-bff2-2d0750f3d155" providerId="ADAL" clId="{74470E2C-8369-7945-865F-A43BB419584A}" dt="2025-04-01T23:22:19.060" v="11818" actId="1076"/>
          <ac:spMkLst>
            <pc:docMk/>
            <pc:sldMk cId="3295877462" sldId="2230"/>
            <ac:spMk id="18" creationId="{0F232DAB-117B-4974-8762-D475F3AA024C}"/>
          </ac:spMkLst>
        </pc:spChg>
        <pc:spChg chg="add mod">
          <ac:chgData name="Thomas Giroux" userId="a5e6b51b-05f9-4411-bff2-2d0750f3d155" providerId="ADAL" clId="{74470E2C-8369-7945-865F-A43BB419584A}" dt="2025-04-01T23:22:39.400" v="11821" actId="1076"/>
          <ac:spMkLst>
            <pc:docMk/>
            <pc:sldMk cId="3295877462" sldId="2230"/>
            <ac:spMk id="19" creationId="{CEA44CA2-6226-AB0C-06D9-E649E04057FB}"/>
          </ac:spMkLst>
        </pc:spChg>
        <pc:spChg chg="add mod">
          <ac:chgData name="Thomas Giroux" userId="a5e6b51b-05f9-4411-bff2-2d0750f3d155" providerId="ADAL" clId="{74470E2C-8369-7945-865F-A43BB419584A}" dt="2025-04-01T23:22:13.940" v="11817" actId="1076"/>
          <ac:spMkLst>
            <pc:docMk/>
            <pc:sldMk cId="3295877462" sldId="2230"/>
            <ac:spMk id="24" creationId="{F7ACE023-9FFD-F162-EE47-86CECB0F78E9}"/>
          </ac:spMkLst>
        </pc:spChg>
        <pc:spChg chg="add mod">
          <ac:chgData name="Thomas Giroux" userId="a5e6b51b-05f9-4411-bff2-2d0750f3d155" providerId="ADAL" clId="{74470E2C-8369-7945-865F-A43BB419584A}" dt="2025-04-02T00:24:10.874" v="11852" actId="20577"/>
          <ac:spMkLst>
            <pc:docMk/>
            <pc:sldMk cId="3295877462" sldId="2230"/>
            <ac:spMk id="25" creationId="{7BE2FE5A-CB39-307E-48B7-D8B76E5304AE}"/>
          </ac:spMkLst>
        </pc:spChg>
        <pc:spChg chg="add del mod">
          <ac:chgData name="Thomas Giroux" userId="a5e6b51b-05f9-4411-bff2-2d0750f3d155" providerId="ADAL" clId="{74470E2C-8369-7945-865F-A43BB419584A}" dt="2025-04-01T23:14:13.904" v="11736" actId="478"/>
          <ac:spMkLst>
            <pc:docMk/>
            <pc:sldMk cId="3295877462" sldId="2230"/>
            <ac:spMk id="26" creationId="{5D175FD9-2802-CA58-E3DA-411FA0EAE6F8}"/>
          </ac:spMkLst>
        </pc:spChg>
        <pc:spChg chg="add mod">
          <ac:chgData name="Thomas Giroux" userId="a5e6b51b-05f9-4411-bff2-2d0750f3d155" providerId="ADAL" clId="{74470E2C-8369-7945-865F-A43BB419584A}" dt="2025-04-01T23:22:26.283" v="11819" actId="1076"/>
          <ac:spMkLst>
            <pc:docMk/>
            <pc:sldMk cId="3295877462" sldId="2230"/>
            <ac:spMk id="28" creationId="{D22BC075-CEB8-DE95-A114-6232CE80B36B}"/>
          </ac:spMkLst>
        </pc:spChg>
        <pc:spChg chg="del">
          <ac:chgData name="Thomas Giroux" userId="a5e6b51b-05f9-4411-bff2-2d0750f3d155" providerId="ADAL" clId="{74470E2C-8369-7945-865F-A43BB419584A}" dt="2025-04-01T23:24:54.205" v="11824" actId="478"/>
          <ac:spMkLst>
            <pc:docMk/>
            <pc:sldMk cId="3295877462" sldId="2230"/>
            <ac:spMk id="31" creationId="{E0520796-48C5-22E9-771C-7BD2C3267C46}"/>
          </ac:spMkLst>
        </pc:spChg>
        <pc:graphicFrameChg chg="mod">
          <ac:chgData name="Thomas Giroux" userId="a5e6b51b-05f9-4411-bff2-2d0750f3d155" providerId="ADAL" clId="{74470E2C-8369-7945-865F-A43BB419584A}" dt="2025-04-01T23:17:40.107" v="11792" actId="20577"/>
          <ac:graphicFrameMkLst>
            <pc:docMk/>
            <pc:sldMk cId="3295877462" sldId="2230"/>
            <ac:graphicFrameMk id="3" creationId="{BDF05900-847B-46BD-2D9C-CD26C8125E96}"/>
          </ac:graphicFrameMkLst>
        </pc:graphicFrameChg>
        <pc:graphicFrameChg chg="mod">
          <ac:chgData name="Thomas Giroux" userId="a5e6b51b-05f9-4411-bff2-2d0750f3d155" providerId="ADAL" clId="{74470E2C-8369-7945-865F-A43BB419584A}" dt="2025-04-02T00:24:42.767" v="11864" actId="20577"/>
          <ac:graphicFrameMkLst>
            <pc:docMk/>
            <pc:sldMk cId="3295877462" sldId="2230"/>
            <ac:graphicFrameMk id="21" creationId="{B58695DF-25CF-FD59-B42F-545CD329FBE5}"/>
          </ac:graphicFrameMkLst>
        </pc:graphicFrameChg>
        <pc:graphicFrameChg chg="del">
          <ac:chgData name="Thomas Giroux" userId="a5e6b51b-05f9-4411-bff2-2d0750f3d155" providerId="ADAL" clId="{74470E2C-8369-7945-865F-A43BB419584A}" dt="2025-04-01T23:02:08.942" v="11620" actId="478"/>
          <ac:graphicFrameMkLst>
            <pc:docMk/>
            <pc:sldMk cId="3295877462" sldId="2230"/>
            <ac:graphicFrameMk id="27" creationId="{FA113642-5A78-A098-6ED4-B1E1AB7C64EB}"/>
          </ac:graphicFrameMkLst>
        </pc:graphicFrameChg>
        <pc:cxnChg chg="add del">
          <ac:chgData name="Thomas Giroux" userId="a5e6b51b-05f9-4411-bff2-2d0750f3d155" providerId="ADAL" clId="{74470E2C-8369-7945-865F-A43BB419584A}" dt="2025-04-01T23:10:31.985" v="11717" actId="478"/>
          <ac:cxnSpMkLst>
            <pc:docMk/>
            <pc:sldMk cId="3295877462" sldId="2230"/>
            <ac:cxnSpMk id="22" creationId="{5FB6FB09-66D4-9BDB-50CB-55BE7FAEE955}"/>
          </ac:cxnSpMkLst>
        </pc:cxnChg>
      </pc:sldChg>
      <pc:sldChg chg="addSp delSp modSp add mod modClrScheme chgLayout">
        <pc:chgData name="Thomas Giroux" userId="a5e6b51b-05f9-4411-bff2-2d0750f3d155" providerId="ADAL" clId="{74470E2C-8369-7945-865F-A43BB419584A}" dt="2025-04-01T22:32:31.558" v="11185"/>
        <pc:sldMkLst>
          <pc:docMk/>
          <pc:sldMk cId="4230794871" sldId="2262"/>
        </pc:sldMkLst>
        <pc:spChg chg="mod ord">
          <ac:chgData name="Thomas Giroux" userId="a5e6b51b-05f9-4411-bff2-2d0750f3d155" providerId="ADAL" clId="{74470E2C-8369-7945-865F-A43BB419584A}" dt="2025-04-01T22:32:03.223" v="11183" actId="700"/>
          <ac:spMkLst>
            <pc:docMk/>
            <pc:sldMk cId="4230794871" sldId="2262"/>
            <ac:spMk id="3" creationId="{EBA9D7EC-0FB8-857D-58ED-2BD2F9956BE7}"/>
          </ac:spMkLst>
        </pc:spChg>
        <pc:spChg chg="mod ord">
          <ac:chgData name="Thomas Giroux" userId="a5e6b51b-05f9-4411-bff2-2d0750f3d155" providerId="ADAL" clId="{74470E2C-8369-7945-865F-A43BB419584A}" dt="2025-04-01T22:32:03.223" v="11183" actId="700"/>
          <ac:spMkLst>
            <pc:docMk/>
            <pc:sldMk cId="4230794871" sldId="2262"/>
            <ac:spMk id="4" creationId="{01B9DB9E-6730-C2F3-B240-6229F0751888}"/>
          </ac:spMkLst>
        </pc:spChg>
        <pc:spChg chg="mod ord">
          <ac:chgData name="Thomas Giroux" userId="a5e6b51b-05f9-4411-bff2-2d0750f3d155" providerId="ADAL" clId="{74470E2C-8369-7945-865F-A43BB419584A}" dt="2025-04-01T22:32:15.612" v="11184"/>
          <ac:spMkLst>
            <pc:docMk/>
            <pc:sldMk cId="4230794871" sldId="2262"/>
            <ac:spMk id="5" creationId="{959E957F-46D0-CC34-3668-8E74A1E42334}"/>
          </ac:spMkLst>
        </pc:spChg>
        <pc:spChg chg="del">
          <ac:chgData name="Thomas Giroux" userId="a5e6b51b-05f9-4411-bff2-2d0750f3d155" providerId="ADAL" clId="{74470E2C-8369-7945-865F-A43BB419584A}" dt="2025-04-01T22:31:47.723" v="11180" actId="478"/>
          <ac:spMkLst>
            <pc:docMk/>
            <pc:sldMk cId="4230794871" sldId="2262"/>
            <ac:spMk id="6" creationId="{060AAA3F-3211-7CD1-3A29-F26F40B61465}"/>
          </ac:spMkLst>
        </pc:spChg>
        <pc:spChg chg="mod ord">
          <ac:chgData name="Thomas Giroux" userId="a5e6b51b-05f9-4411-bff2-2d0750f3d155" providerId="ADAL" clId="{74470E2C-8369-7945-865F-A43BB419584A}" dt="2025-04-01T22:32:31.558" v="11185"/>
          <ac:spMkLst>
            <pc:docMk/>
            <pc:sldMk cId="4230794871" sldId="2262"/>
            <ac:spMk id="8" creationId="{D952C4CD-0FE8-389E-526B-39B95F2CC3F0}"/>
          </ac:spMkLst>
        </pc:spChg>
        <pc:spChg chg="del">
          <ac:chgData name="Thomas Giroux" userId="a5e6b51b-05f9-4411-bff2-2d0750f3d155" providerId="ADAL" clId="{74470E2C-8369-7945-865F-A43BB419584A}" dt="2025-04-01T22:32:03.223" v="11183" actId="700"/>
          <ac:spMkLst>
            <pc:docMk/>
            <pc:sldMk cId="4230794871" sldId="2262"/>
            <ac:spMk id="9" creationId="{76944A47-5C30-7A1E-8B9F-860D81392DC6}"/>
          </ac:spMkLst>
        </pc:spChg>
        <pc:spChg chg="add mod">
          <ac:chgData name="Thomas Giroux" userId="a5e6b51b-05f9-4411-bff2-2d0750f3d155" providerId="ADAL" clId="{74470E2C-8369-7945-865F-A43BB419584A}" dt="2025-04-01T22:31:47.723" v="11180" actId="478"/>
          <ac:spMkLst>
            <pc:docMk/>
            <pc:sldMk cId="4230794871" sldId="2262"/>
            <ac:spMk id="11" creationId="{CE25D39D-90AF-ED19-1044-3BCD3F030E58}"/>
          </ac:spMkLst>
        </pc:spChg>
        <pc:spChg chg="mod ord">
          <ac:chgData name="Thomas Giroux" userId="a5e6b51b-05f9-4411-bff2-2d0750f3d155" providerId="ADAL" clId="{74470E2C-8369-7945-865F-A43BB419584A}" dt="2025-04-01T22:32:03.223" v="11183" actId="700"/>
          <ac:spMkLst>
            <pc:docMk/>
            <pc:sldMk cId="4230794871" sldId="2262"/>
            <ac:spMk id="12" creationId="{184A3643-61F9-72BF-D3CD-2ACCD5061AC1}"/>
          </ac:spMkLst>
        </pc:spChg>
        <pc:spChg chg="add del mod ord">
          <ac:chgData name="Thomas Giroux" userId="a5e6b51b-05f9-4411-bff2-2d0750f3d155" providerId="ADAL" clId="{74470E2C-8369-7945-865F-A43BB419584A}" dt="2025-04-01T22:32:03.223" v="11183" actId="700"/>
          <ac:spMkLst>
            <pc:docMk/>
            <pc:sldMk cId="4230794871" sldId="2262"/>
            <ac:spMk id="14" creationId="{5E5F6E93-57DB-8F38-F861-EF5B6D8874A7}"/>
          </ac:spMkLst>
        </pc:spChg>
        <pc:spChg chg="add del mod ord">
          <ac:chgData name="Thomas Giroux" userId="a5e6b51b-05f9-4411-bff2-2d0750f3d155" providerId="ADAL" clId="{74470E2C-8369-7945-865F-A43BB419584A}" dt="2025-04-01T22:32:03.223" v="11183" actId="700"/>
          <ac:spMkLst>
            <pc:docMk/>
            <pc:sldMk cId="4230794871" sldId="2262"/>
            <ac:spMk id="17" creationId="{E561907E-47A7-2C91-F241-536C13287E93}"/>
          </ac:spMkLst>
        </pc:spChg>
        <pc:spChg chg="add mod ord">
          <ac:chgData name="Thomas Giroux" userId="a5e6b51b-05f9-4411-bff2-2d0750f3d155" providerId="ADAL" clId="{74470E2C-8369-7945-865F-A43BB419584A}" dt="2025-04-01T22:32:03.223" v="11183" actId="700"/>
          <ac:spMkLst>
            <pc:docMk/>
            <pc:sldMk cId="4230794871" sldId="2262"/>
            <ac:spMk id="19" creationId="{48059E1D-4545-EC09-EE10-7B5C1F5A8887}"/>
          </ac:spMkLst>
        </pc:spChg>
        <pc:spChg chg="add mod ord">
          <ac:chgData name="Thomas Giroux" userId="a5e6b51b-05f9-4411-bff2-2d0750f3d155" providerId="ADAL" clId="{74470E2C-8369-7945-865F-A43BB419584A}" dt="2025-04-01T22:32:03.223" v="11183" actId="700"/>
          <ac:spMkLst>
            <pc:docMk/>
            <pc:sldMk cId="4230794871" sldId="2262"/>
            <ac:spMk id="21" creationId="{0A4DD768-9F54-A761-862D-F375AD1E3046}"/>
          </ac:spMkLst>
        </pc:spChg>
        <pc:graphicFrameChg chg="del">
          <ac:chgData name="Thomas Giroux" userId="a5e6b51b-05f9-4411-bff2-2d0750f3d155" providerId="ADAL" clId="{74470E2C-8369-7945-865F-A43BB419584A}" dt="2025-04-01T22:31:54.176" v="11181" actId="478"/>
          <ac:graphicFrameMkLst>
            <pc:docMk/>
            <pc:sldMk cId="4230794871" sldId="2262"/>
            <ac:graphicFrameMk id="15" creationId="{A7299CB1-DE7B-D22D-323B-DEF6AE3DCC49}"/>
          </ac:graphicFrameMkLst>
        </pc:graphicFrameChg>
        <pc:graphicFrameChg chg="del">
          <ac:chgData name="Thomas Giroux" userId="a5e6b51b-05f9-4411-bff2-2d0750f3d155" providerId="ADAL" clId="{74470E2C-8369-7945-865F-A43BB419584A}" dt="2025-04-01T22:31:58.126" v="11182" actId="478"/>
          <ac:graphicFrameMkLst>
            <pc:docMk/>
            <pc:sldMk cId="4230794871" sldId="2262"/>
            <ac:graphicFrameMk id="18" creationId="{B2658098-78A4-566F-6976-59A0650EA3D0}"/>
          </ac:graphicFrameMkLst>
        </pc:graphicFrameChg>
      </pc:sldChg>
      <pc:sldChg chg="addSp delSp modSp new mod modClrScheme chgLayout">
        <pc:chgData name="Thomas Giroux" userId="a5e6b51b-05f9-4411-bff2-2d0750f3d155" providerId="ADAL" clId="{74470E2C-8369-7945-865F-A43BB419584A}" dt="2025-04-02T04:08:52.849" v="12571" actId="1076"/>
        <pc:sldMkLst>
          <pc:docMk/>
          <pc:sldMk cId="1042857578" sldId="2263"/>
        </pc:sldMkLst>
        <pc:spChg chg="del mod ord">
          <ac:chgData name="Thomas Giroux" userId="a5e6b51b-05f9-4411-bff2-2d0750f3d155" providerId="ADAL" clId="{74470E2C-8369-7945-865F-A43BB419584A}" dt="2025-04-01T22:34:09.503" v="11187" actId="700"/>
          <ac:spMkLst>
            <pc:docMk/>
            <pc:sldMk cId="1042857578" sldId="2263"/>
            <ac:spMk id="2" creationId="{B711036C-1783-1B20-78C8-4881619055CC}"/>
          </ac:spMkLst>
        </pc:spChg>
        <pc:spChg chg="del mod ord">
          <ac:chgData name="Thomas Giroux" userId="a5e6b51b-05f9-4411-bff2-2d0750f3d155" providerId="ADAL" clId="{74470E2C-8369-7945-865F-A43BB419584A}" dt="2025-04-01T22:34:09.503" v="11187" actId="700"/>
          <ac:spMkLst>
            <pc:docMk/>
            <pc:sldMk cId="1042857578" sldId="2263"/>
            <ac:spMk id="3" creationId="{DC72E3FE-A719-09D9-B24F-1E2FBDFEBBDB}"/>
          </ac:spMkLst>
        </pc:spChg>
        <pc:spChg chg="del mod ord">
          <ac:chgData name="Thomas Giroux" userId="a5e6b51b-05f9-4411-bff2-2d0750f3d155" providerId="ADAL" clId="{74470E2C-8369-7945-865F-A43BB419584A}" dt="2025-04-01T22:34:09.503" v="11187" actId="700"/>
          <ac:spMkLst>
            <pc:docMk/>
            <pc:sldMk cId="1042857578" sldId="2263"/>
            <ac:spMk id="4" creationId="{279F7DD0-197C-9EE9-DC2C-3152D6F2605D}"/>
          </ac:spMkLst>
        </pc:spChg>
        <pc:spChg chg="del mod ord">
          <ac:chgData name="Thomas Giroux" userId="a5e6b51b-05f9-4411-bff2-2d0750f3d155" providerId="ADAL" clId="{74470E2C-8369-7945-865F-A43BB419584A}" dt="2025-04-01T22:34:09.503" v="11187" actId="700"/>
          <ac:spMkLst>
            <pc:docMk/>
            <pc:sldMk cId="1042857578" sldId="2263"/>
            <ac:spMk id="5" creationId="{8B43E40A-27D7-6376-D8A6-DB0C1715E7A8}"/>
          </ac:spMkLst>
        </pc:spChg>
        <pc:spChg chg="del">
          <ac:chgData name="Thomas Giroux" userId="a5e6b51b-05f9-4411-bff2-2d0750f3d155" providerId="ADAL" clId="{74470E2C-8369-7945-865F-A43BB419584A}" dt="2025-04-01T22:34:09.503" v="11187" actId="700"/>
          <ac:spMkLst>
            <pc:docMk/>
            <pc:sldMk cId="1042857578" sldId="2263"/>
            <ac:spMk id="6" creationId="{34F3F684-4AD3-F6FE-C231-326133CCBCE6}"/>
          </ac:spMkLst>
        </pc:spChg>
        <pc:spChg chg="add mod ord">
          <ac:chgData name="Thomas Giroux" userId="a5e6b51b-05f9-4411-bff2-2d0750f3d155" providerId="ADAL" clId="{74470E2C-8369-7945-865F-A43BB419584A}" dt="2025-04-01T22:39:01.255" v="11292" actId="700"/>
          <ac:spMkLst>
            <pc:docMk/>
            <pc:sldMk cId="1042857578" sldId="2263"/>
            <ac:spMk id="7" creationId="{73E2AEFC-2F2B-3D42-17FD-57EB25436BA9}"/>
          </ac:spMkLst>
        </pc:spChg>
        <pc:spChg chg="add del mod ord">
          <ac:chgData name="Thomas Giroux" userId="a5e6b51b-05f9-4411-bff2-2d0750f3d155" providerId="ADAL" clId="{74470E2C-8369-7945-865F-A43BB419584A}" dt="2025-04-01T22:36:06.930" v="11239" actId="700"/>
          <ac:spMkLst>
            <pc:docMk/>
            <pc:sldMk cId="1042857578" sldId="2263"/>
            <ac:spMk id="8" creationId="{8C480DD6-4085-138C-722B-D3972A13F197}"/>
          </ac:spMkLst>
        </pc:spChg>
        <pc:spChg chg="add del mod ord">
          <ac:chgData name="Thomas Giroux" userId="a5e6b51b-05f9-4411-bff2-2d0750f3d155" providerId="ADAL" clId="{74470E2C-8369-7945-865F-A43BB419584A}" dt="2025-04-01T22:35:07.079" v="11238" actId="478"/>
          <ac:spMkLst>
            <pc:docMk/>
            <pc:sldMk cId="1042857578" sldId="2263"/>
            <ac:spMk id="9" creationId="{5688F0A1-BDC0-B36B-F927-0216FD579976}"/>
          </ac:spMkLst>
        </pc:spChg>
        <pc:spChg chg="add mod ord">
          <ac:chgData name="Thomas Giroux" userId="a5e6b51b-05f9-4411-bff2-2d0750f3d155" providerId="ADAL" clId="{74470E2C-8369-7945-865F-A43BB419584A}" dt="2025-04-01T22:46:47.521" v="11423" actId="114"/>
          <ac:spMkLst>
            <pc:docMk/>
            <pc:sldMk cId="1042857578" sldId="2263"/>
            <ac:spMk id="10" creationId="{6E02BA5E-C8A0-29EE-4DD6-BB44BE9CB46D}"/>
          </ac:spMkLst>
        </pc:spChg>
        <pc:spChg chg="add del mod ord">
          <ac:chgData name="Thomas Giroux" userId="a5e6b51b-05f9-4411-bff2-2d0750f3d155" providerId="ADAL" clId="{74470E2C-8369-7945-865F-A43BB419584A}" dt="2025-04-01T22:39:01.255" v="11292" actId="700"/>
          <ac:spMkLst>
            <pc:docMk/>
            <pc:sldMk cId="1042857578" sldId="2263"/>
            <ac:spMk id="11" creationId="{66D49831-38B0-0F23-B930-B9371144B478}"/>
          </ac:spMkLst>
        </pc:spChg>
        <pc:spChg chg="add del mod ord">
          <ac:chgData name="Thomas Giroux" userId="a5e6b51b-05f9-4411-bff2-2d0750f3d155" providerId="ADAL" clId="{74470E2C-8369-7945-865F-A43BB419584A}" dt="2025-04-01T22:39:01.255" v="11292" actId="700"/>
          <ac:spMkLst>
            <pc:docMk/>
            <pc:sldMk cId="1042857578" sldId="2263"/>
            <ac:spMk id="12" creationId="{A60C73A9-4A0D-EE9F-2651-73C5A1798504}"/>
          </ac:spMkLst>
        </pc:spChg>
        <pc:spChg chg="add del mod ord">
          <ac:chgData name="Thomas Giroux" userId="a5e6b51b-05f9-4411-bff2-2d0750f3d155" providerId="ADAL" clId="{74470E2C-8369-7945-865F-A43BB419584A}" dt="2025-04-01T22:38:10.173" v="11270"/>
          <ac:spMkLst>
            <pc:docMk/>
            <pc:sldMk cId="1042857578" sldId="2263"/>
            <ac:spMk id="13" creationId="{9EA87431-4E50-F0A6-8F29-3B50147FBBF6}"/>
          </ac:spMkLst>
        </pc:spChg>
        <pc:spChg chg="add mod ord">
          <ac:chgData name="Thomas Giroux" userId="a5e6b51b-05f9-4411-bff2-2d0750f3d155" providerId="ADAL" clId="{74470E2C-8369-7945-865F-A43BB419584A}" dt="2025-04-01T22:39:01.255" v="11292" actId="700"/>
          <ac:spMkLst>
            <pc:docMk/>
            <pc:sldMk cId="1042857578" sldId="2263"/>
            <ac:spMk id="14" creationId="{D1BBB230-FD00-4EB9-F56D-7A59F0A7B664}"/>
          </ac:spMkLst>
        </pc:spChg>
        <pc:spChg chg="add del mod ord">
          <ac:chgData name="Thomas Giroux" userId="a5e6b51b-05f9-4411-bff2-2d0750f3d155" providerId="ADAL" clId="{74470E2C-8369-7945-865F-A43BB419584A}" dt="2025-04-01T22:39:01.255" v="11292" actId="700"/>
          <ac:spMkLst>
            <pc:docMk/>
            <pc:sldMk cId="1042857578" sldId="2263"/>
            <ac:spMk id="15" creationId="{4C08F169-E3A2-5275-FDDC-F81A57F882C7}"/>
          </ac:spMkLst>
        </pc:spChg>
        <pc:spChg chg="add del mod ord">
          <ac:chgData name="Thomas Giroux" userId="a5e6b51b-05f9-4411-bff2-2d0750f3d155" providerId="ADAL" clId="{74470E2C-8369-7945-865F-A43BB419584A}" dt="2025-04-01T22:39:01.255" v="11292" actId="700"/>
          <ac:spMkLst>
            <pc:docMk/>
            <pc:sldMk cId="1042857578" sldId="2263"/>
            <ac:spMk id="19" creationId="{D1CCCC87-0D2B-F87D-3A94-B46F3B907984}"/>
          </ac:spMkLst>
        </pc:spChg>
        <pc:spChg chg="add del mod ord">
          <ac:chgData name="Thomas Giroux" userId="a5e6b51b-05f9-4411-bff2-2d0750f3d155" providerId="ADAL" clId="{74470E2C-8369-7945-865F-A43BB419584A}" dt="2025-04-01T22:39:06.351" v="11293" actId="478"/>
          <ac:spMkLst>
            <pc:docMk/>
            <pc:sldMk cId="1042857578" sldId="2263"/>
            <ac:spMk id="20" creationId="{56F4FF63-5CF2-BBAF-C04A-115FC3641503}"/>
          </ac:spMkLst>
        </pc:spChg>
        <pc:spChg chg="add del mod">
          <ac:chgData name="Thomas Giroux" userId="a5e6b51b-05f9-4411-bff2-2d0750f3d155" providerId="ADAL" clId="{74470E2C-8369-7945-865F-A43BB419584A}" dt="2025-04-01T22:45:37.557" v="11390" actId="478"/>
          <ac:spMkLst>
            <pc:docMk/>
            <pc:sldMk cId="1042857578" sldId="2263"/>
            <ac:spMk id="21" creationId="{0F06CEC9-CF05-4F1D-13E1-7789352949CA}"/>
          </ac:spMkLst>
        </pc:spChg>
        <pc:spChg chg="mod">
          <ac:chgData name="Thomas Giroux" userId="a5e6b51b-05f9-4411-bff2-2d0750f3d155" providerId="ADAL" clId="{74470E2C-8369-7945-865F-A43BB419584A}" dt="2025-04-02T03:00:19.726" v="12548"/>
          <ac:spMkLst>
            <pc:docMk/>
            <pc:sldMk cId="1042857578" sldId="2263"/>
            <ac:spMk id="21" creationId="{93233C1B-22F4-1B04-FCA5-951B52D16546}"/>
          </ac:spMkLst>
        </pc:spChg>
        <pc:spChg chg="add mod">
          <ac:chgData name="Thomas Giroux" userId="a5e6b51b-05f9-4411-bff2-2d0750f3d155" providerId="ADAL" clId="{74470E2C-8369-7945-865F-A43BB419584A}" dt="2025-04-01T22:52:05.980" v="11465" actId="1076"/>
          <ac:spMkLst>
            <pc:docMk/>
            <pc:sldMk cId="1042857578" sldId="2263"/>
            <ac:spMk id="22" creationId="{96B4F2DE-0F32-B5BE-BB73-D9C071D2EA7B}"/>
          </ac:spMkLst>
        </pc:spChg>
        <pc:spChg chg="add del">
          <ac:chgData name="Thomas Giroux" userId="a5e6b51b-05f9-4411-bff2-2d0750f3d155" providerId="ADAL" clId="{74470E2C-8369-7945-865F-A43BB419584A}" dt="2025-04-01T22:42:04.378" v="11344" actId="478"/>
          <ac:spMkLst>
            <pc:docMk/>
            <pc:sldMk cId="1042857578" sldId="2263"/>
            <ac:spMk id="23" creationId="{65377039-1078-40D8-C119-98535615F529}"/>
          </ac:spMkLst>
        </pc:spChg>
        <pc:spChg chg="add mod">
          <ac:chgData name="Thomas Giroux" userId="a5e6b51b-05f9-4411-bff2-2d0750f3d155" providerId="ADAL" clId="{74470E2C-8369-7945-865F-A43BB419584A}" dt="2025-04-01T22:46:22.278" v="11405" actId="1076"/>
          <ac:spMkLst>
            <pc:docMk/>
            <pc:sldMk cId="1042857578" sldId="2263"/>
            <ac:spMk id="24" creationId="{5A36CB5F-44F5-6C73-31E7-70DA811FA564}"/>
          </ac:spMkLst>
        </pc:spChg>
        <pc:spChg chg="add mod">
          <ac:chgData name="Thomas Giroux" userId="a5e6b51b-05f9-4411-bff2-2d0750f3d155" providerId="ADAL" clId="{74470E2C-8369-7945-865F-A43BB419584A}" dt="2025-04-01T23:00:39.261" v="11580" actId="20577"/>
          <ac:spMkLst>
            <pc:docMk/>
            <pc:sldMk cId="1042857578" sldId="2263"/>
            <ac:spMk id="25" creationId="{8E5C8B46-49BD-148D-AB9B-5CCFB5AF3738}"/>
          </ac:spMkLst>
        </pc:spChg>
        <pc:spChg chg="add del">
          <ac:chgData name="Thomas Giroux" userId="a5e6b51b-05f9-4411-bff2-2d0750f3d155" providerId="ADAL" clId="{74470E2C-8369-7945-865F-A43BB419584A}" dt="2025-04-01T22:43:49.854" v="11379" actId="478"/>
          <ac:spMkLst>
            <pc:docMk/>
            <pc:sldMk cId="1042857578" sldId="2263"/>
            <ac:spMk id="26" creationId="{3BD43847-DD45-2AE9-5302-1D3F36691B16}"/>
          </ac:spMkLst>
        </pc:spChg>
        <pc:spChg chg="add del">
          <ac:chgData name="Thomas Giroux" userId="a5e6b51b-05f9-4411-bff2-2d0750f3d155" providerId="ADAL" clId="{74470E2C-8369-7945-865F-A43BB419584A}" dt="2025-04-01T22:44:07.486" v="11381" actId="478"/>
          <ac:spMkLst>
            <pc:docMk/>
            <pc:sldMk cId="1042857578" sldId="2263"/>
            <ac:spMk id="27" creationId="{D40F0DFA-05FE-7619-34DC-8671986C975B}"/>
          </ac:spMkLst>
        </pc:spChg>
        <pc:spChg chg="add mod">
          <ac:chgData name="Thomas Giroux" userId="a5e6b51b-05f9-4411-bff2-2d0750f3d155" providerId="ADAL" clId="{74470E2C-8369-7945-865F-A43BB419584A}" dt="2025-04-01T22:46:16.574" v="11404" actId="1076"/>
          <ac:spMkLst>
            <pc:docMk/>
            <pc:sldMk cId="1042857578" sldId="2263"/>
            <ac:spMk id="28" creationId="{FAB2D658-BBB0-B2F8-CF6F-4A3968F94CF2}"/>
          </ac:spMkLst>
        </pc:spChg>
        <pc:spChg chg="add mod">
          <ac:chgData name="Thomas Giroux" userId="a5e6b51b-05f9-4411-bff2-2d0750f3d155" providerId="ADAL" clId="{74470E2C-8369-7945-865F-A43BB419584A}" dt="2025-04-01T22:46:55.851" v="11424" actId="1076"/>
          <ac:spMkLst>
            <pc:docMk/>
            <pc:sldMk cId="1042857578" sldId="2263"/>
            <ac:spMk id="29" creationId="{489B9A6A-B81C-ED5D-A364-ACBCFC4827DE}"/>
          </ac:spMkLst>
        </pc:spChg>
        <pc:spChg chg="add mod">
          <ac:chgData name="Thomas Giroux" userId="a5e6b51b-05f9-4411-bff2-2d0750f3d155" providerId="ADAL" clId="{74470E2C-8369-7945-865F-A43BB419584A}" dt="2025-04-01T22:57:09.583" v="11536" actId="255"/>
          <ac:spMkLst>
            <pc:docMk/>
            <pc:sldMk cId="1042857578" sldId="2263"/>
            <ac:spMk id="30" creationId="{F932B129-1F49-7411-1DF3-9C1DF36A3033}"/>
          </ac:spMkLst>
        </pc:spChg>
        <pc:spChg chg="add mod">
          <ac:chgData name="Thomas Giroux" userId="a5e6b51b-05f9-4411-bff2-2d0750f3d155" providerId="ADAL" clId="{74470E2C-8369-7945-865F-A43BB419584A}" dt="2025-04-01T22:50:03.380" v="11455" actId="1076"/>
          <ac:spMkLst>
            <pc:docMk/>
            <pc:sldMk cId="1042857578" sldId="2263"/>
            <ac:spMk id="31" creationId="{3C6D2BA2-F1A7-0B0B-0ADC-3C0281CA053A}"/>
          </ac:spMkLst>
        </pc:spChg>
        <pc:spChg chg="add del mod">
          <ac:chgData name="Thomas Giroux" userId="a5e6b51b-05f9-4411-bff2-2d0750f3d155" providerId="ADAL" clId="{74470E2C-8369-7945-865F-A43BB419584A}" dt="2025-04-01T22:49:50.874" v="11453" actId="478"/>
          <ac:spMkLst>
            <pc:docMk/>
            <pc:sldMk cId="1042857578" sldId="2263"/>
            <ac:spMk id="32" creationId="{8FF59A1C-0ECD-CBBF-2E82-7E1CCE11D372}"/>
          </ac:spMkLst>
        </pc:spChg>
        <pc:spChg chg="add mod">
          <ac:chgData name="Thomas Giroux" userId="a5e6b51b-05f9-4411-bff2-2d0750f3d155" providerId="ADAL" clId="{74470E2C-8369-7945-865F-A43BB419584A}" dt="2025-04-01T22:50:34.825" v="11457" actId="1076"/>
          <ac:spMkLst>
            <pc:docMk/>
            <pc:sldMk cId="1042857578" sldId="2263"/>
            <ac:spMk id="33" creationId="{2DD83C68-B26E-458E-F768-05E6E31F2BD0}"/>
          </ac:spMkLst>
        </pc:spChg>
        <pc:spChg chg="add del mod">
          <ac:chgData name="Thomas Giroux" userId="a5e6b51b-05f9-4411-bff2-2d0750f3d155" providerId="ADAL" clId="{74470E2C-8369-7945-865F-A43BB419584A}" dt="2025-04-01T22:53:11.023" v="11473" actId="478"/>
          <ac:spMkLst>
            <pc:docMk/>
            <pc:sldMk cId="1042857578" sldId="2263"/>
            <ac:spMk id="37" creationId="{C5C8B438-4521-E3E0-E25B-342D8F4AE24F}"/>
          </ac:spMkLst>
        </pc:spChg>
        <pc:spChg chg="add mod">
          <ac:chgData name="Thomas Giroux" userId="a5e6b51b-05f9-4411-bff2-2d0750f3d155" providerId="ADAL" clId="{74470E2C-8369-7945-865F-A43BB419584A}" dt="2025-04-01T22:53:41.368" v="11476" actId="1076"/>
          <ac:spMkLst>
            <pc:docMk/>
            <pc:sldMk cId="1042857578" sldId="2263"/>
            <ac:spMk id="38" creationId="{AC4D3630-388C-0869-98DD-818B3CEAFF34}"/>
          </ac:spMkLst>
        </pc:spChg>
        <pc:spChg chg="add mod">
          <ac:chgData name="Thomas Giroux" userId="a5e6b51b-05f9-4411-bff2-2d0750f3d155" providerId="ADAL" clId="{74470E2C-8369-7945-865F-A43BB419584A}" dt="2025-04-02T04:08:52.849" v="12571" actId="1076"/>
          <ac:spMkLst>
            <pc:docMk/>
            <pc:sldMk cId="1042857578" sldId="2263"/>
            <ac:spMk id="39" creationId="{7E86A91C-C82C-4ABC-269C-BC330AB2168C}"/>
          </ac:spMkLst>
        </pc:spChg>
        <pc:spChg chg="add mod">
          <ac:chgData name="Thomas Giroux" userId="a5e6b51b-05f9-4411-bff2-2d0750f3d155" providerId="ADAL" clId="{74470E2C-8369-7945-865F-A43BB419584A}" dt="2025-04-01T22:54:12.680" v="11518" actId="122"/>
          <ac:spMkLst>
            <pc:docMk/>
            <pc:sldMk cId="1042857578" sldId="2263"/>
            <ac:spMk id="40" creationId="{2353BFEE-5F0D-A9C4-E26B-37DECFC9CED2}"/>
          </ac:spMkLst>
        </pc:spChg>
        <pc:spChg chg="add mod">
          <ac:chgData name="Thomas Giroux" userId="a5e6b51b-05f9-4411-bff2-2d0750f3d155" providerId="ADAL" clId="{74470E2C-8369-7945-865F-A43BB419584A}" dt="2025-04-01T22:55:52.398" v="11520" actId="1076"/>
          <ac:spMkLst>
            <pc:docMk/>
            <pc:sldMk cId="1042857578" sldId="2263"/>
            <ac:spMk id="41" creationId="{CD480D83-680D-1576-41C5-C9323B155323}"/>
          </ac:spMkLst>
        </pc:spChg>
        <pc:spChg chg="add mod">
          <ac:chgData name="Thomas Giroux" userId="a5e6b51b-05f9-4411-bff2-2d0750f3d155" providerId="ADAL" clId="{74470E2C-8369-7945-865F-A43BB419584A}" dt="2025-04-01T22:56:38.708" v="11532" actId="20577"/>
          <ac:spMkLst>
            <pc:docMk/>
            <pc:sldMk cId="1042857578" sldId="2263"/>
            <ac:spMk id="42" creationId="{3DBCB7AE-3616-784F-FDA2-ACA18357EA92}"/>
          </ac:spMkLst>
        </pc:spChg>
        <pc:spChg chg="add mod">
          <ac:chgData name="Thomas Giroux" userId="a5e6b51b-05f9-4411-bff2-2d0750f3d155" providerId="ADAL" clId="{74470E2C-8369-7945-865F-A43BB419584A}" dt="2025-04-01T23:01:20.366" v="11619" actId="20577"/>
          <ac:spMkLst>
            <pc:docMk/>
            <pc:sldMk cId="1042857578" sldId="2263"/>
            <ac:spMk id="43" creationId="{6662DC18-4354-1679-69DD-C0E088004B2C}"/>
          </ac:spMkLst>
        </pc:spChg>
        <pc:spChg chg="add del mod">
          <ac:chgData name="Thomas Giroux" userId="a5e6b51b-05f9-4411-bff2-2d0750f3d155" providerId="ADAL" clId="{74470E2C-8369-7945-865F-A43BB419584A}" dt="2025-04-02T02:58:54.278" v="12537" actId="478"/>
          <ac:spMkLst>
            <pc:docMk/>
            <pc:sldMk cId="1042857578" sldId="2263"/>
            <ac:spMk id="44" creationId="{22BD0CCC-B0C1-E744-69FF-79A357179989}"/>
          </ac:spMkLst>
        </pc:spChg>
        <pc:spChg chg="add del mod">
          <ac:chgData name="Thomas Giroux" userId="a5e6b51b-05f9-4411-bff2-2d0750f3d155" providerId="ADAL" clId="{74470E2C-8369-7945-865F-A43BB419584A}" dt="2025-04-02T02:59:46.275" v="12547" actId="478"/>
          <ac:spMkLst>
            <pc:docMk/>
            <pc:sldMk cId="1042857578" sldId="2263"/>
            <ac:spMk id="45" creationId="{AC2EA2EF-C27B-9A7B-D75C-899825083A2A}"/>
          </ac:spMkLst>
        </pc:spChg>
        <pc:graphicFrameChg chg="add mod">
          <ac:chgData name="Thomas Giroux" userId="a5e6b51b-05f9-4411-bff2-2d0750f3d155" providerId="ADAL" clId="{74470E2C-8369-7945-865F-A43BB419584A}" dt="2025-04-01T22:38:10.082" v="11269"/>
          <ac:graphicFrameMkLst>
            <pc:docMk/>
            <pc:sldMk cId="1042857578" sldId="2263"/>
            <ac:graphicFrameMk id="16" creationId="{B12748BA-1A1D-9535-8A7C-F0CE99EC9B0A}"/>
          </ac:graphicFrameMkLst>
        </pc:graphicFrameChg>
        <pc:graphicFrameChg chg="add del mod modGraphic">
          <ac:chgData name="Thomas Giroux" userId="a5e6b51b-05f9-4411-bff2-2d0750f3d155" providerId="ADAL" clId="{74470E2C-8369-7945-865F-A43BB419584A}" dt="2025-04-01T22:38:36.506" v="11273" actId="478"/>
          <ac:graphicFrameMkLst>
            <pc:docMk/>
            <pc:sldMk cId="1042857578" sldId="2263"/>
            <ac:graphicFrameMk id="17" creationId="{10C09347-67A5-D2D3-158E-5C5F5D0DEBF3}"/>
          </ac:graphicFrameMkLst>
        </pc:graphicFrameChg>
        <pc:cxnChg chg="add del mod">
          <ac:chgData name="Thomas Giroux" userId="a5e6b51b-05f9-4411-bff2-2d0750f3d155" providerId="ADAL" clId="{74470E2C-8369-7945-865F-A43BB419584A}" dt="2025-04-01T22:51:02.364" v="11462" actId="478"/>
          <ac:cxnSpMkLst>
            <pc:docMk/>
            <pc:sldMk cId="1042857578" sldId="2263"/>
            <ac:cxnSpMk id="35" creationId="{D55650F6-D739-9354-811E-3A4EE6B87154}"/>
          </ac:cxnSpMkLst>
        </pc:cxnChg>
      </pc:sldChg>
      <pc:sldChg chg="addSp delSp modSp new del mod modClrScheme chgLayout">
        <pc:chgData name="Thomas Giroux" userId="a5e6b51b-05f9-4411-bff2-2d0750f3d155" providerId="ADAL" clId="{74470E2C-8369-7945-865F-A43BB419584A}" dt="2025-04-02T01:57:14.976" v="12494" actId="2696"/>
        <pc:sldMkLst>
          <pc:docMk/>
          <pc:sldMk cId="2854184028" sldId="2265"/>
        </pc:sldMkLst>
        <pc:spChg chg="del mod ord">
          <ac:chgData name="Thomas Giroux" userId="a5e6b51b-05f9-4411-bff2-2d0750f3d155" providerId="ADAL" clId="{74470E2C-8369-7945-865F-A43BB419584A}" dt="2025-04-02T01:03:45.383" v="12118" actId="700"/>
          <ac:spMkLst>
            <pc:docMk/>
            <pc:sldMk cId="2854184028" sldId="2265"/>
            <ac:spMk id="2" creationId="{D0841CBE-8BCC-E498-30C3-94856911D33D}"/>
          </ac:spMkLst>
        </pc:spChg>
        <pc:spChg chg="del mod ord">
          <ac:chgData name="Thomas Giroux" userId="a5e6b51b-05f9-4411-bff2-2d0750f3d155" providerId="ADAL" clId="{74470E2C-8369-7945-865F-A43BB419584A}" dt="2025-04-02T01:03:45.383" v="12118" actId="700"/>
          <ac:spMkLst>
            <pc:docMk/>
            <pc:sldMk cId="2854184028" sldId="2265"/>
            <ac:spMk id="3" creationId="{06C75173-F946-54A2-42A6-10C2B7A1BFEB}"/>
          </ac:spMkLst>
        </pc:spChg>
        <pc:spChg chg="del mod ord">
          <ac:chgData name="Thomas Giroux" userId="a5e6b51b-05f9-4411-bff2-2d0750f3d155" providerId="ADAL" clId="{74470E2C-8369-7945-865F-A43BB419584A}" dt="2025-04-02T01:03:45.383" v="12118" actId="700"/>
          <ac:spMkLst>
            <pc:docMk/>
            <pc:sldMk cId="2854184028" sldId="2265"/>
            <ac:spMk id="4" creationId="{D038A45E-AD56-63BC-D59B-82AFEC1E7FD4}"/>
          </ac:spMkLst>
        </pc:spChg>
        <pc:spChg chg="del mod ord">
          <ac:chgData name="Thomas Giroux" userId="a5e6b51b-05f9-4411-bff2-2d0750f3d155" providerId="ADAL" clId="{74470E2C-8369-7945-865F-A43BB419584A}" dt="2025-04-02T01:03:45.383" v="12118" actId="700"/>
          <ac:spMkLst>
            <pc:docMk/>
            <pc:sldMk cId="2854184028" sldId="2265"/>
            <ac:spMk id="6" creationId="{F7802E04-51EC-8573-01B8-559EB22500B6}"/>
          </ac:spMkLst>
        </pc:spChg>
        <pc:spChg chg="del">
          <ac:chgData name="Thomas Giroux" userId="a5e6b51b-05f9-4411-bff2-2d0750f3d155" providerId="ADAL" clId="{74470E2C-8369-7945-865F-A43BB419584A}" dt="2025-04-02T01:03:45.383" v="12118" actId="700"/>
          <ac:spMkLst>
            <pc:docMk/>
            <pc:sldMk cId="2854184028" sldId="2265"/>
            <ac:spMk id="8" creationId="{1EA6F711-07E4-F5C7-D8F2-BD922F838B33}"/>
          </ac:spMkLst>
        </pc:spChg>
        <pc:spChg chg="del">
          <ac:chgData name="Thomas Giroux" userId="a5e6b51b-05f9-4411-bff2-2d0750f3d155" providerId="ADAL" clId="{74470E2C-8369-7945-865F-A43BB419584A}" dt="2025-04-02T01:03:45.383" v="12118" actId="700"/>
          <ac:spMkLst>
            <pc:docMk/>
            <pc:sldMk cId="2854184028" sldId="2265"/>
            <ac:spMk id="9" creationId="{0CCB40CA-CB12-1A13-A610-B356E25A3A38}"/>
          </ac:spMkLst>
        </pc:spChg>
        <pc:spChg chg="del">
          <ac:chgData name="Thomas Giroux" userId="a5e6b51b-05f9-4411-bff2-2d0750f3d155" providerId="ADAL" clId="{74470E2C-8369-7945-865F-A43BB419584A}" dt="2025-04-02T01:03:45.383" v="12118" actId="700"/>
          <ac:spMkLst>
            <pc:docMk/>
            <pc:sldMk cId="2854184028" sldId="2265"/>
            <ac:spMk id="11" creationId="{1DC9EFC5-7F37-1B63-D1B7-67DD9C196CDB}"/>
          </ac:spMkLst>
        </pc:spChg>
        <pc:spChg chg="add mod ord">
          <ac:chgData name="Thomas Giroux" userId="a5e6b51b-05f9-4411-bff2-2d0750f3d155" providerId="ADAL" clId="{74470E2C-8369-7945-865F-A43BB419584A}" dt="2025-04-02T01:33:10.446" v="12319" actId="20577"/>
          <ac:spMkLst>
            <pc:docMk/>
            <pc:sldMk cId="2854184028" sldId="2265"/>
            <ac:spMk id="13" creationId="{8258DB66-107C-7360-E3AE-6E1FBBC71298}"/>
          </ac:spMkLst>
        </pc:spChg>
        <pc:spChg chg="add mod ord">
          <ac:chgData name="Thomas Giroux" userId="a5e6b51b-05f9-4411-bff2-2d0750f3d155" providerId="ADAL" clId="{74470E2C-8369-7945-865F-A43BB419584A}" dt="2025-04-02T01:03:45.383" v="12118" actId="700"/>
          <ac:spMkLst>
            <pc:docMk/>
            <pc:sldMk cId="2854184028" sldId="2265"/>
            <ac:spMk id="14" creationId="{C6B68A74-F735-705B-3F1C-C7DAEA08C4CF}"/>
          </ac:spMkLst>
        </pc:spChg>
        <pc:spChg chg="add del">
          <ac:chgData name="Thomas Giroux" userId="a5e6b51b-05f9-4411-bff2-2d0750f3d155" providerId="ADAL" clId="{74470E2C-8369-7945-865F-A43BB419584A}" dt="2025-04-02T01:32:34.472" v="12302"/>
          <ac:spMkLst>
            <pc:docMk/>
            <pc:sldMk cId="2854184028" sldId="2265"/>
            <ac:spMk id="15" creationId="{B0DA0084-4E2D-9664-9106-FFFF190AE0A6}"/>
          </ac:spMkLst>
        </pc:spChg>
        <pc:spChg chg="add mod ord">
          <ac:chgData name="Thomas Giroux" userId="a5e6b51b-05f9-4411-bff2-2d0750f3d155" providerId="ADAL" clId="{74470E2C-8369-7945-865F-A43BB419584A}" dt="2025-04-02T01:03:45.383" v="12118" actId="700"/>
          <ac:spMkLst>
            <pc:docMk/>
            <pc:sldMk cId="2854184028" sldId="2265"/>
            <ac:spMk id="16" creationId="{FE6ED6BA-54C8-F8BE-9687-BC37DD06B174}"/>
          </ac:spMkLst>
        </pc:spChg>
        <pc:graphicFrameChg chg="add mod">
          <ac:chgData name="Thomas Giroux" userId="a5e6b51b-05f9-4411-bff2-2d0750f3d155" providerId="ADAL" clId="{74470E2C-8369-7945-865F-A43BB419584A}" dt="2025-04-02T01:32:33.718" v="12301"/>
          <ac:graphicFrameMkLst>
            <pc:docMk/>
            <pc:sldMk cId="2854184028" sldId="2265"/>
            <ac:graphicFrameMk id="17" creationId="{AEB3F498-43D8-C208-F2F5-8F165F21E67C}"/>
          </ac:graphicFrameMkLst>
        </pc:graphicFrameChg>
        <pc:graphicFrameChg chg="add mod modGraphic">
          <ac:chgData name="Thomas Giroux" userId="a5e6b51b-05f9-4411-bff2-2d0750f3d155" providerId="ADAL" clId="{74470E2C-8369-7945-865F-A43BB419584A}" dt="2025-04-02T01:32:55.711" v="12304" actId="14100"/>
          <ac:graphicFrameMkLst>
            <pc:docMk/>
            <pc:sldMk cId="2854184028" sldId="2265"/>
            <ac:graphicFrameMk id="18" creationId="{089DF2DA-1756-B856-595A-85764252A4F8}"/>
          </ac:graphicFrameMkLst>
        </pc:graphicFrameChg>
      </pc:sldChg>
      <pc:sldChg chg="addSp delSp modSp new del mod">
        <pc:chgData name="Thomas Giroux" userId="a5e6b51b-05f9-4411-bff2-2d0750f3d155" providerId="ADAL" clId="{74470E2C-8369-7945-865F-A43BB419584A}" dt="2025-04-02T01:57:20.010" v="12495" actId="2696"/>
        <pc:sldMkLst>
          <pc:docMk/>
          <pc:sldMk cId="1731990418" sldId="2268"/>
        </pc:sldMkLst>
        <pc:spChg chg="del">
          <ac:chgData name="Thomas Giroux" userId="a5e6b51b-05f9-4411-bff2-2d0750f3d155" providerId="ADAL" clId="{74470E2C-8369-7945-865F-A43BB419584A}" dt="2025-04-02T01:33:59.049" v="12357"/>
          <ac:spMkLst>
            <pc:docMk/>
            <pc:sldMk cId="1731990418" sldId="2268"/>
            <ac:spMk id="3" creationId="{30EE9DBB-31BA-9561-30F9-ED2C72DDF6CB}"/>
          </ac:spMkLst>
        </pc:spChg>
        <pc:spChg chg="mod">
          <ac:chgData name="Thomas Giroux" userId="a5e6b51b-05f9-4411-bff2-2d0750f3d155" providerId="ADAL" clId="{74470E2C-8369-7945-865F-A43BB419584A}" dt="2025-04-02T01:33:56.094" v="12356" actId="20577"/>
          <ac:spMkLst>
            <pc:docMk/>
            <pc:sldMk cId="1731990418" sldId="2268"/>
            <ac:spMk id="4" creationId="{73E1C2C9-B55A-63CB-F725-5D1C3C603342}"/>
          </ac:spMkLst>
        </pc:spChg>
        <pc:spChg chg="add del mod">
          <ac:chgData name="Thomas Giroux" userId="a5e6b51b-05f9-4411-bff2-2d0750f3d155" providerId="ADAL" clId="{74470E2C-8369-7945-865F-A43BB419584A}" dt="2025-04-02T01:34:30.326" v="12362"/>
          <ac:spMkLst>
            <pc:docMk/>
            <pc:sldMk cId="1731990418" sldId="2268"/>
            <ac:spMk id="8" creationId="{A9A4701C-5641-7B23-2422-13899D0BADCD}"/>
          </ac:spMkLst>
        </pc:spChg>
        <pc:graphicFrameChg chg="add del mod modGraphic">
          <ac:chgData name="Thomas Giroux" userId="a5e6b51b-05f9-4411-bff2-2d0750f3d155" providerId="ADAL" clId="{74470E2C-8369-7945-865F-A43BB419584A}" dt="2025-04-02T01:34:22.807" v="12359" actId="478"/>
          <ac:graphicFrameMkLst>
            <pc:docMk/>
            <pc:sldMk cId="1731990418" sldId="2268"/>
            <ac:graphicFrameMk id="6" creationId="{39A93DF8-072E-D8BF-96CE-B219A994AC86}"/>
          </ac:graphicFrameMkLst>
        </pc:graphicFrameChg>
        <pc:graphicFrameChg chg="add mod">
          <ac:chgData name="Thomas Giroux" userId="a5e6b51b-05f9-4411-bff2-2d0750f3d155" providerId="ADAL" clId="{74470E2C-8369-7945-865F-A43BB419584A}" dt="2025-04-02T01:34:29.702" v="12361"/>
          <ac:graphicFrameMkLst>
            <pc:docMk/>
            <pc:sldMk cId="1731990418" sldId="2268"/>
            <ac:graphicFrameMk id="9" creationId="{487EA037-139C-E542-B3B7-4A5B5D588A3E}"/>
          </ac:graphicFrameMkLst>
        </pc:graphicFrameChg>
        <pc:graphicFrameChg chg="add mod modGraphic">
          <ac:chgData name="Thomas Giroux" userId="a5e6b51b-05f9-4411-bff2-2d0750f3d155" providerId="ADAL" clId="{74470E2C-8369-7945-865F-A43BB419584A}" dt="2025-04-02T01:34:39.858" v="12364" actId="14100"/>
          <ac:graphicFrameMkLst>
            <pc:docMk/>
            <pc:sldMk cId="1731990418" sldId="2268"/>
            <ac:graphicFrameMk id="10" creationId="{4C5325A2-C53A-9168-FE95-EFB607788D18}"/>
          </ac:graphicFrameMkLst>
        </pc:graphicFrameChg>
      </pc:sldChg>
      <pc:sldChg chg="addSp delSp modSp new del mod">
        <pc:chgData name="Thomas Giroux" userId="a5e6b51b-05f9-4411-bff2-2d0750f3d155" providerId="ADAL" clId="{74470E2C-8369-7945-865F-A43BB419584A}" dt="2025-04-02T01:57:24.618" v="12496" actId="2696"/>
        <pc:sldMkLst>
          <pc:docMk/>
          <pc:sldMk cId="3646849937" sldId="2269"/>
        </pc:sldMkLst>
        <pc:spChg chg="del">
          <ac:chgData name="Thomas Giroux" userId="a5e6b51b-05f9-4411-bff2-2d0750f3d155" providerId="ADAL" clId="{74470E2C-8369-7945-865F-A43BB419584A}" dt="2025-04-02T01:35:31.870" v="12391"/>
          <ac:spMkLst>
            <pc:docMk/>
            <pc:sldMk cId="3646849937" sldId="2269"/>
            <ac:spMk id="3" creationId="{5CC9EC56-CD95-3CE1-0820-C98664875ECF}"/>
          </ac:spMkLst>
        </pc:spChg>
        <pc:spChg chg="mod">
          <ac:chgData name="Thomas Giroux" userId="a5e6b51b-05f9-4411-bff2-2d0750f3d155" providerId="ADAL" clId="{74470E2C-8369-7945-865F-A43BB419584A}" dt="2025-04-02T01:35:29.114" v="12390" actId="20577"/>
          <ac:spMkLst>
            <pc:docMk/>
            <pc:sldMk cId="3646849937" sldId="2269"/>
            <ac:spMk id="4" creationId="{5A4CA891-4A64-5CD1-6AAB-2D322F91C705}"/>
          </ac:spMkLst>
        </pc:spChg>
        <pc:spChg chg="add del mod">
          <ac:chgData name="Thomas Giroux" userId="a5e6b51b-05f9-4411-bff2-2d0750f3d155" providerId="ADAL" clId="{74470E2C-8369-7945-865F-A43BB419584A}" dt="2025-04-02T01:37:11.532" v="12395"/>
          <ac:spMkLst>
            <pc:docMk/>
            <pc:sldMk cId="3646849937" sldId="2269"/>
            <ac:spMk id="8" creationId="{7E389059-F5AB-C256-41E2-05362E7C701D}"/>
          </ac:spMkLst>
        </pc:spChg>
        <pc:graphicFrameChg chg="add del mod">
          <ac:chgData name="Thomas Giroux" userId="a5e6b51b-05f9-4411-bff2-2d0750f3d155" providerId="ADAL" clId="{74470E2C-8369-7945-865F-A43BB419584A}" dt="2025-04-02T01:37:03.182" v="12392" actId="478"/>
          <ac:graphicFrameMkLst>
            <pc:docMk/>
            <pc:sldMk cId="3646849937" sldId="2269"/>
            <ac:graphicFrameMk id="6" creationId="{E7258E13-98F9-0C2E-AA0E-1C63D25CDC51}"/>
          </ac:graphicFrameMkLst>
        </pc:graphicFrameChg>
        <pc:graphicFrameChg chg="add mod">
          <ac:chgData name="Thomas Giroux" userId="a5e6b51b-05f9-4411-bff2-2d0750f3d155" providerId="ADAL" clId="{74470E2C-8369-7945-865F-A43BB419584A}" dt="2025-04-02T01:37:10.931" v="12394"/>
          <ac:graphicFrameMkLst>
            <pc:docMk/>
            <pc:sldMk cId="3646849937" sldId="2269"/>
            <ac:graphicFrameMk id="9" creationId="{844AD4A9-18F4-7DBC-FC82-46C1B3B57AE7}"/>
          </ac:graphicFrameMkLst>
        </pc:graphicFrameChg>
        <pc:graphicFrameChg chg="add mod modGraphic">
          <ac:chgData name="Thomas Giroux" userId="a5e6b51b-05f9-4411-bff2-2d0750f3d155" providerId="ADAL" clId="{74470E2C-8369-7945-865F-A43BB419584A}" dt="2025-04-02T01:37:22.383" v="12397" actId="14100"/>
          <ac:graphicFrameMkLst>
            <pc:docMk/>
            <pc:sldMk cId="3646849937" sldId="2269"/>
            <ac:graphicFrameMk id="10" creationId="{DF1CFC6F-3844-45FB-3B6B-D07731E7E164}"/>
          </ac:graphicFrameMkLst>
        </pc:graphicFrameChg>
      </pc:sldChg>
      <pc:sldChg chg="addSp delSp modSp new del mod">
        <pc:chgData name="Thomas Giroux" userId="a5e6b51b-05f9-4411-bff2-2d0750f3d155" providerId="ADAL" clId="{74470E2C-8369-7945-865F-A43BB419584A}" dt="2025-04-02T02:32:53.191" v="12500" actId="2696"/>
        <pc:sldMkLst>
          <pc:docMk/>
          <pc:sldMk cId="2744241376" sldId="2270"/>
        </pc:sldMkLst>
        <pc:spChg chg="add del">
          <ac:chgData name="Thomas Giroux" userId="a5e6b51b-05f9-4411-bff2-2d0750f3d155" providerId="ADAL" clId="{74470E2C-8369-7945-865F-A43BB419584A}" dt="2025-04-02T01:42:19.718" v="12423"/>
          <ac:spMkLst>
            <pc:docMk/>
            <pc:sldMk cId="2744241376" sldId="2270"/>
            <ac:spMk id="3" creationId="{6C1CF4D8-2BEB-3699-8AF8-CC45B91A2863}"/>
          </ac:spMkLst>
        </pc:spChg>
        <pc:spChg chg="mod">
          <ac:chgData name="Thomas Giroux" userId="a5e6b51b-05f9-4411-bff2-2d0750f3d155" providerId="ADAL" clId="{74470E2C-8369-7945-865F-A43BB419584A}" dt="2025-04-02T01:45:25.926" v="12428" actId="20577"/>
          <ac:spMkLst>
            <pc:docMk/>
            <pc:sldMk cId="2744241376" sldId="2270"/>
            <ac:spMk id="4" creationId="{3536C534-E0DB-0391-2F96-FCA71549C69F}"/>
          </ac:spMkLst>
        </pc:spChg>
        <pc:graphicFrameChg chg="add mod">
          <ac:chgData name="Thomas Giroux" userId="a5e6b51b-05f9-4411-bff2-2d0750f3d155" providerId="ADAL" clId="{74470E2C-8369-7945-865F-A43BB419584A}" dt="2025-04-02T01:42:19.373" v="12422"/>
          <ac:graphicFrameMkLst>
            <pc:docMk/>
            <pc:sldMk cId="2744241376" sldId="2270"/>
            <ac:graphicFrameMk id="6" creationId="{998888C7-A405-FE2A-FD0C-CB1C49528A52}"/>
          </ac:graphicFrameMkLst>
        </pc:graphicFrameChg>
        <pc:graphicFrameChg chg="add mod modGraphic">
          <ac:chgData name="Thomas Giroux" userId="a5e6b51b-05f9-4411-bff2-2d0750f3d155" providerId="ADAL" clId="{74470E2C-8369-7945-865F-A43BB419584A}" dt="2025-04-02T01:42:28.772" v="12425" actId="14100"/>
          <ac:graphicFrameMkLst>
            <pc:docMk/>
            <pc:sldMk cId="2744241376" sldId="2270"/>
            <ac:graphicFrameMk id="7" creationId="{F4F68E57-D689-26CA-7E32-3AAB49905C01}"/>
          </ac:graphicFrameMkLst>
        </pc:graphicFrameChg>
      </pc:sldChg>
      <pc:sldChg chg="addSp delSp modSp new del mod">
        <pc:chgData name="Thomas Giroux" userId="a5e6b51b-05f9-4411-bff2-2d0750f3d155" providerId="ADAL" clId="{74470E2C-8369-7945-865F-A43BB419584A}" dt="2025-04-02T02:32:58.793" v="12501" actId="2696"/>
        <pc:sldMkLst>
          <pc:docMk/>
          <pc:sldMk cId="2100169672" sldId="2271"/>
        </pc:sldMkLst>
        <pc:spChg chg="del">
          <ac:chgData name="Thomas Giroux" userId="a5e6b51b-05f9-4411-bff2-2d0750f3d155" providerId="ADAL" clId="{74470E2C-8369-7945-865F-A43BB419584A}" dt="2025-04-02T01:46:14.793" v="12451"/>
          <ac:spMkLst>
            <pc:docMk/>
            <pc:sldMk cId="2100169672" sldId="2271"/>
            <ac:spMk id="3" creationId="{A2B6F40F-4F95-981B-29FD-70C5F964EF38}"/>
          </ac:spMkLst>
        </pc:spChg>
        <pc:spChg chg="mod">
          <ac:chgData name="Thomas Giroux" userId="a5e6b51b-05f9-4411-bff2-2d0750f3d155" providerId="ADAL" clId="{74470E2C-8369-7945-865F-A43BB419584A}" dt="2025-04-02T01:45:39.404" v="12450" actId="20577"/>
          <ac:spMkLst>
            <pc:docMk/>
            <pc:sldMk cId="2100169672" sldId="2271"/>
            <ac:spMk id="4" creationId="{AC4AFC0C-0E46-B8F0-A058-DE3726ED05C6}"/>
          </ac:spMkLst>
        </pc:spChg>
        <pc:spChg chg="add del mod">
          <ac:chgData name="Thomas Giroux" userId="a5e6b51b-05f9-4411-bff2-2d0750f3d155" providerId="ADAL" clId="{74470E2C-8369-7945-865F-A43BB419584A}" dt="2025-04-02T01:47:00.103" v="12455"/>
          <ac:spMkLst>
            <pc:docMk/>
            <pc:sldMk cId="2100169672" sldId="2271"/>
            <ac:spMk id="8" creationId="{307496ED-0B88-C3E7-59CB-B7534AF4F4A3}"/>
          </ac:spMkLst>
        </pc:spChg>
        <pc:graphicFrameChg chg="add del mod">
          <ac:chgData name="Thomas Giroux" userId="a5e6b51b-05f9-4411-bff2-2d0750f3d155" providerId="ADAL" clId="{74470E2C-8369-7945-865F-A43BB419584A}" dt="2025-04-02T01:46:45.963" v="12452" actId="478"/>
          <ac:graphicFrameMkLst>
            <pc:docMk/>
            <pc:sldMk cId="2100169672" sldId="2271"/>
            <ac:graphicFrameMk id="6" creationId="{FDD84077-B6BB-1888-11C0-30BFF938CA37}"/>
          </ac:graphicFrameMkLst>
        </pc:graphicFrameChg>
        <pc:graphicFrameChg chg="add mod">
          <ac:chgData name="Thomas Giroux" userId="a5e6b51b-05f9-4411-bff2-2d0750f3d155" providerId="ADAL" clId="{74470E2C-8369-7945-865F-A43BB419584A}" dt="2025-04-02T01:46:59.309" v="12454"/>
          <ac:graphicFrameMkLst>
            <pc:docMk/>
            <pc:sldMk cId="2100169672" sldId="2271"/>
            <ac:graphicFrameMk id="9" creationId="{B266F425-9370-D59B-F502-A51DD900606D}"/>
          </ac:graphicFrameMkLst>
        </pc:graphicFrameChg>
        <pc:graphicFrameChg chg="add mod">
          <ac:chgData name="Thomas Giroux" userId="a5e6b51b-05f9-4411-bff2-2d0750f3d155" providerId="ADAL" clId="{74470E2C-8369-7945-865F-A43BB419584A}" dt="2025-04-02T01:47:00.103" v="12455"/>
          <ac:graphicFrameMkLst>
            <pc:docMk/>
            <pc:sldMk cId="2100169672" sldId="2271"/>
            <ac:graphicFrameMk id="10" creationId="{29D91325-4EA1-295E-27E9-E5ECDF5583CD}"/>
          </ac:graphicFrameMkLst>
        </pc:graphicFrameChg>
      </pc:sldChg>
      <pc:sldChg chg="addSp delSp modSp new mod modClrScheme chgLayout">
        <pc:chgData name="Thomas Giroux" userId="a5e6b51b-05f9-4411-bff2-2d0750f3d155" providerId="ADAL" clId="{74470E2C-8369-7945-865F-A43BB419584A}" dt="2025-04-02T01:54:42.657" v="12492"/>
        <pc:sldMkLst>
          <pc:docMk/>
          <pc:sldMk cId="3535350961" sldId="2272"/>
        </pc:sldMkLst>
        <pc:spChg chg="del mod ord">
          <ac:chgData name="Thomas Giroux" userId="a5e6b51b-05f9-4411-bff2-2d0750f3d155" providerId="ADAL" clId="{74470E2C-8369-7945-865F-A43BB419584A}" dt="2025-04-02T01:53:51.583" v="12457" actId="700"/>
          <ac:spMkLst>
            <pc:docMk/>
            <pc:sldMk cId="3535350961" sldId="2272"/>
            <ac:spMk id="2" creationId="{1EA67AEE-2B78-907D-2F5A-DF321787E259}"/>
          </ac:spMkLst>
        </pc:spChg>
        <pc:spChg chg="del mod ord">
          <ac:chgData name="Thomas Giroux" userId="a5e6b51b-05f9-4411-bff2-2d0750f3d155" providerId="ADAL" clId="{74470E2C-8369-7945-865F-A43BB419584A}" dt="2025-04-02T01:53:51.583" v="12457" actId="700"/>
          <ac:spMkLst>
            <pc:docMk/>
            <pc:sldMk cId="3535350961" sldId="2272"/>
            <ac:spMk id="3" creationId="{06C9A683-FD3E-E423-2BC0-D45E296FA0D0}"/>
          </ac:spMkLst>
        </pc:spChg>
        <pc:spChg chg="del mod ord">
          <ac:chgData name="Thomas Giroux" userId="a5e6b51b-05f9-4411-bff2-2d0750f3d155" providerId="ADAL" clId="{74470E2C-8369-7945-865F-A43BB419584A}" dt="2025-04-02T01:53:51.583" v="12457" actId="700"/>
          <ac:spMkLst>
            <pc:docMk/>
            <pc:sldMk cId="3535350961" sldId="2272"/>
            <ac:spMk id="4" creationId="{481DB5B2-9631-E0C3-D087-505FDF81525A}"/>
          </ac:spMkLst>
        </pc:spChg>
        <pc:spChg chg="del mod ord">
          <ac:chgData name="Thomas Giroux" userId="a5e6b51b-05f9-4411-bff2-2d0750f3d155" providerId="ADAL" clId="{74470E2C-8369-7945-865F-A43BB419584A}" dt="2025-04-02T01:53:51.583" v="12457" actId="700"/>
          <ac:spMkLst>
            <pc:docMk/>
            <pc:sldMk cId="3535350961" sldId="2272"/>
            <ac:spMk id="5" creationId="{3B7326A7-0FB7-A299-2C6F-119E8E72FF47}"/>
          </ac:spMkLst>
        </pc:spChg>
        <pc:spChg chg="del">
          <ac:chgData name="Thomas Giroux" userId="a5e6b51b-05f9-4411-bff2-2d0750f3d155" providerId="ADAL" clId="{74470E2C-8369-7945-865F-A43BB419584A}" dt="2025-04-02T01:53:51.583" v="12457" actId="700"/>
          <ac:spMkLst>
            <pc:docMk/>
            <pc:sldMk cId="3535350961" sldId="2272"/>
            <ac:spMk id="6" creationId="{8DD528A3-0B03-43CA-82B1-FFC91DE58384}"/>
          </ac:spMkLst>
        </pc:spChg>
        <pc:spChg chg="del">
          <ac:chgData name="Thomas Giroux" userId="a5e6b51b-05f9-4411-bff2-2d0750f3d155" providerId="ADAL" clId="{74470E2C-8369-7945-865F-A43BB419584A}" dt="2025-04-02T01:53:51.583" v="12457" actId="700"/>
          <ac:spMkLst>
            <pc:docMk/>
            <pc:sldMk cId="3535350961" sldId="2272"/>
            <ac:spMk id="7" creationId="{3B0C4664-178E-BC5E-35E0-D8C5F9CD820D}"/>
          </ac:spMkLst>
        </pc:spChg>
        <pc:spChg chg="del">
          <ac:chgData name="Thomas Giroux" userId="a5e6b51b-05f9-4411-bff2-2d0750f3d155" providerId="ADAL" clId="{74470E2C-8369-7945-865F-A43BB419584A}" dt="2025-04-02T01:53:51.583" v="12457" actId="700"/>
          <ac:spMkLst>
            <pc:docMk/>
            <pc:sldMk cId="3535350961" sldId="2272"/>
            <ac:spMk id="8" creationId="{C4F025CC-FFB7-FA9B-3511-6F653758AA1B}"/>
          </ac:spMkLst>
        </pc:spChg>
        <pc:spChg chg="add mod ord">
          <ac:chgData name="Thomas Giroux" userId="a5e6b51b-05f9-4411-bff2-2d0750f3d155" providerId="ADAL" clId="{74470E2C-8369-7945-865F-A43BB419584A}" dt="2025-04-02T01:54:28.636" v="12491" actId="114"/>
          <ac:spMkLst>
            <pc:docMk/>
            <pc:sldMk cId="3535350961" sldId="2272"/>
            <ac:spMk id="9" creationId="{21B003B6-239A-E3AF-BFB6-534AC6601BD1}"/>
          </ac:spMkLst>
        </pc:spChg>
        <pc:spChg chg="add mod ord">
          <ac:chgData name="Thomas Giroux" userId="a5e6b51b-05f9-4411-bff2-2d0750f3d155" providerId="ADAL" clId="{74470E2C-8369-7945-865F-A43BB419584A}" dt="2025-04-02T01:53:51.583" v="12457" actId="700"/>
          <ac:spMkLst>
            <pc:docMk/>
            <pc:sldMk cId="3535350961" sldId="2272"/>
            <ac:spMk id="10" creationId="{A426D26C-5FCF-B8AA-534E-70D0517B0F24}"/>
          </ac:spMkLst>
        </pc:spChg>
        <pc:spChg chg="del">
          <ac:chgData name="Thomas Giroux" userId="a5e6b51b-05f9-4411-bff2-2d0750f3d155" providerId="ADAL" clId="{74470E2C-8369-7945-865F-A43BB419584A}" dt="2025-04-02T01:54:42.657" v="12492"/>
          <ac:spMkLst>
            <pc:docMk/>
            <pc:sldMk cId="3535350961" sldId="2272"/>
            <ac:spMk id="11" creationId="{18CCFB85-301D-76C1-F3B4-9DEC37E2A420}"/>
          </ac:spMkLst>
        </pc:spChg>
        <pc:spChg chg="add mod ord">
          <ac:chgData name="Thomas Giroux" userId="a5e6b51b-05f9-4411-bff2-2d0750f3d155" providerId="ADAL" clId="{74470E2C-8369-7945-865F-A43BB419584A}" dt="2025-04-02T01:53:51.583" v="12457" actId="700"/>
          <ac:spMkLst>
            <pc:docMk/>
            <pc:sldMk cId="3535350961" sldId="2272"/>
            <ac:spMk id="12" creationId="{6C752D03-E2C9-111A-9365-431090561172}"/>
          </ac:spMkLst>
        </pc:spChg>
        <pc:picChg chg="add mod">
          <ac:chgData name="Thomas Giroux" userId="a5e6b51b-05f9-4411-bff2-2d0750f3d155" providerId="ADAL" clId="{74470E2C-8369-7945-865F-A43BB419584A}" dt="2025-04-02T01:54:42.657" v="12492"/>
          <ac:picMkLst>
            <pc:docMk/>
            <pc:sldMk cId="3535350961" sldId="2272"/>
            <ac:picMk id="13" creationId="{1EA8868E-F1BF-C8EB-D40A-40508ED8C304}"/>
          </ac:picMkLst>
        </pc:picChg>
      </pc:sldChg>
    </pc:docChg>
  </pc:docChgLst>
  <pc:docChgLst>
    <pc:chgData name="Armaan Kumar" userId="S::akuma045@uottawa.ca::a351e95c-5450-4e5f-a2d5-0f74c8f92915" providerId="AD" clId="Web-{F6430289-EE72-8656-1AFD-31CCD07C8318}"/>
    <pc:docChg chg="modSld">
      <pc:chgData name="Armaan Kumar" userId="S::akuma045@uottawa.ca::a351e95c-5450-4e5f-a2d5-0f74c8f92915" providerId="AD" clId="Web-{F6430289-EE72-8656-1AFD-31CCD07C8318}" dt="2025-03-23T18:03:11.030" v="5"/>
      <pc:docMkLst>
        <pc:docMk/>
      </pc:docMkLst>
      <pc:sldChg chg="addSp delSp modSp">
        <pc:chgData name="Armaan Kumar" userId="S::akuma045@uottawa.ca::a351e95c-5450-4e5f-a2d5-0f74c8f92915" providerId="AD" clId="Web-{F6430289-EE72-8656-1AFD-31CCD07C8318}" dt="2025-03-23T18:03:11.030" v="5"/>
        <pc:sldMkLst>
          <pc:docMk/>
          <pc:sldMk cId="54805512" sldId="259"/>
        </pc:sldMkLst>
      </pc:sldChg>
    </pc:docChg>
  </pc:docChgLst>
  <pc:docChgLst>
    <pc:chgData name="Armaan Kumar" userId="S::akuma045@uottawa.ca::a351e95c-5450-4e5f-a2d5-0f74c8f92915" providerId="AD" clId="Web-{68F7C84B-FBAC-B12C-258F-2EC1E13C128A}"/>
    <pc:docChg chg="modSld">
      <pc:chgData name="Armaan Kumar" userId="S::akuma045@uottawa.ca::a351e95c-5450-4e5f-a2d5-0f74c8f92915" providerId="AD" clId="Web-{68F7C84B-FBAC-B12C-258F-2EC1E13C128A}" dt="2025-03-23T19:12:46.260" v="18" actId="20577"/>
      <pc:docMkLst>
        <pc:docMk/>
      </pc:docMkLst>
      <pc:sldChg chg="modSp">
        <pc:chgData name="Armaan Kumar" userId="S::akuma045@uottawa.ca::a351e95c-5450-4e5f-a2d5-0f74c8f92915" providerId="AD" clId="Web-{68F7C84B-FBAC-B12C-258F-2EC1E13C128A}" dt="2025-03-23T19:12:46.260" v="18" actId="20577"/>
        <pc:sldMkLst>
          <pc:docMk/>
          <pc:sldMk cId="166744532" sldId="264"/>
        </pc:sldMkLst>
        <pc:spChg chg="mod">
          <ac:chgData name="Armaan Kumar" userId="S::akuma045@uottawa.ca::a351e95c-5450-4e5f-a2d5-0f74c8f92915" providerId="AD" clId="Web-{68F7C84B-FBAC-B12C-258F-2EC1E13C128A}" dt="2025-03-23T19:11:22.336" v="4" actId="20577"/>
          <ac:spMkLst>
            <pc:docMk/>
            <pc:sldMk cId="166744532" sldId="264"/>
            <ac:spMk id="50" creationId="{5129870B-1645-065A-544A-DD5AB8D2896F}"/>
          </ac:spMkLst>
        </pc:spChg>
        <pc:spChg chg="mod">
          <ac:chgData name="Armaan Kumar" userId="S::akuma045@uottawa.ca::a351e95c-5450-4e5f-a2d5-0f74c8f92915" providerId="AD" clId="Web-{68F7C84B-FBAC-B12C-258F-2EC1E13C128A}" dt="2025-03-23T19:11:37.930" v="8" actId="20577"/>
          <ac:spMkLst>
            <pc:docMk/>
            <pc:sldMk cId="166744532" sldId="264"/>
            <ac:spMk id="54" creationId="{981FD19C-66DF-76FA-904C-780A6E6F63D8}"/>
          </ac:spMkLst>
        </pc:spChg>
        <pc:spChg chg="mod">
          <ac:chgData name="Armaan Kumar" userId="S::akuma045@uottawa.ca::a351e95c-5450-4e5f-a2d5-0f74c8f92915" providerId="AD" clId="Web-{68F7C84B-FBAC-B12C-258F-2EC1E13C128A}" dt="2025-03-23T19:12:46.260" v="18" actId="20577"/>
          <ac:spMkLst>
            <pc:docMk/>
            <pc:sldMk cId="166744532" sldId="264"/>
            <ac:spMk id="91" creationId="{AE3FA78C-4910-BFDF-D3E6-D5929349FE61}"/>
          </ac:spMkLst>
        </pc:spChg>
      </pc:sldChg>
    </pc:docChg>
  </pc:docChgLst>
  <pc:docChgLst>
    <pc:chgData name="Corey Yuan-Zhen Cao" userId="894c8f18-9551-4354-8c83-83a52876c78b" providerId="ADAL" clId="{5C20EACE-63ED-4F04-8D93-67A70AD2AE1B}"/>
    <pc:docChg chg="undo redo custSel addSld delSld modSld sldOrd modMainMaster">
      <pc:chgData name="Corey Yuan-Zhen Cao" userId="894c8f18-9551-4354-8c83-83a52876c78b" providerId="ADAL" clId="{5C20EACE-63ED-4F04-8D93-67A70AD2AE1B}" dt="2025-04-02T15:59:52.843" v="4276" actId="14100"/>
      <pc:docMkLst>
        <pc:docMk/>
      </pc:docMkLst>
      <pc:sldChg chg="modSp mod">
        <pc:chgData name="Corey Yuan-Zhen Cao" userId="894c8f18-9551-4354-8c83-83a52876c78b" providerId="ADAL" clId="{5C20EACE-63ED-4F04-8D93-67A70AD2AE1B}" dt="2025-03-23T18:13:28.282" v="1" actId="2711"/>
        <pc:sldMkLst>
          <pc:docMk/>
          <pc:sldMk cId="2078426827" sldId="256"/>
        </pc:sldMkLst>
      </pc:sldChg>
      <pc:sldChg chg="del">
        <pc:chgData name="Corey Yuan-Zhen Cao" userId="894c8f18-9551-4354-8c83-83a52876c78b" providerId="ADAL" clId="{5C20EACE-63ED-4F04-8D93-67A70AD2AE1B}" dt="2025-03-28T02:59:24.745" v="845" actId="2696"/>
        <pc:sldMkLst>
          <pc:docMk/>
          <pc:sldMk cId="1568165937" sldId="257"/>
        </pc:sldMkLst>
      </pc:sldChg>
      <pc:sldChg chg="addSp delSp modSp add mod">
        <pc:chgData name="Corey Yuan-Zhen Cao" userId="894c8f18-9551-4354-8c83-83a52876c78b" providerId="ADAL" clId="{5C20EACE-63ED-4F04-8D93-67A70AD2AE1B}" dt="2025-04-01T17:51:29.743" v="2688" actId="255"/>
        <pc:sldMkLst>
          <pc:docMk/>
          <pc:sldMk cId="2614155028" sldId="257"/>
        </pc:sldMkLst>
        <pc:graphicFrameChg chg="modGraphic">
          <ac:chgData name="Corey Yuan-Zhen Cao" userId="894c8f18-9551-4354-8c83-83a52876c78b" providerId="ADAL" clId="{5C20EACE-63ED-4F04-8D93-67A70AD2AE1B}" dt="2025-04-01T17:51:29.743" v="2688" actId="255"/>
          <ac:graphicFrameMkLst>
            <pc:docMk/>
            <pc:sldMk cId="2614155028" sldId="257"/>
            <ac:graphicFrameMk id="13" creationId="{3AE01B04-D30D-0543-8971-49EB375687B8}"/>
          </ac:graphicFrameMkLst>
        </pc:graphicFrameChg>
      </pc:sldChg>
      <pc:sldChg chg="modSp mod">
        <pc:chgData name="Corey Yuan-Zhen Cao" userId="894c8f18-9551-4354-8c83-83a52876c78b" providerId="ADAL" clId="{5C20EACE-63ED-4F04-8D93-67A70AD2AE1B}" dt="2025-03-24T18:49:56.173" v="776" actId="207"/>
        <pc:sldMkLst>
          <pc:docMk/>
          <pc:sldMk cId="166744532" sldId="264"/>
        </pc:sldMkLst>
        <pc:spChg chg="mod">
          <ac:chgData name="Corey Yuan-Zhen Cao" userId="894c8f18-9551-4354-8c83-83a52876c78b" providerId="ADAL" clId="{5C20EACE-63ED-4F04-8D93-67A70AD2AE1B}" dt="2025-03-23T18:26:12.109" v="229" actId="1076"/>
          <ac:spMkLst>
            <pc:docMk/>
            <pc:sldMk cId="166744532" sldId="264"/>
            <ac:spMk id="49" creationId="{B03B273A-5115-F79C-601F-A451BE52391E}"/>
          </ac:spMkLst>
        </pc:spChg>
        <pc:spChg chg="mod">
          <ac:chgData name="Corey Yuan-Zhen Cao" userId="894c8f18-9551-4354-8c83-83a52876c78b" providerId="ADAL" clId="{5C20EACE-63ED-4F04-8D93-67A70AD2AE1B}" dt="2025-03-24T18:49:56.173" v="776" actId="207"/>
          <ac:spMkLst>
            <pc:docMk/>
            <pc:sldMk cId="166744532" sldId="264"/>
            <ac:spMk id="91" creationId="{AE3FA78C-4910-BFDF-D3E6-D5929349FE61}"/>
          </ac:spMkLst>
        </pc:spChg>
      </pc:sldChg>
      <pc:sldChg chg="modSp mod">
        <pc:chgData name="Corey Yuan-Zhen Cao" userId="894c8f18-9551-4354-8c83-83a52876c78b" providerId="ADAL" clId="{5C20EACE-63ED-4F04-8D93-67A70AD2AE1B}" dt="2025-03-23T18:26:12.747" v="230" actId="207"/>
        <pc:sldMkLst>
          <pc:docMk/>
          <pc:sldMk cId="3941336180" sldId="265"/>
        </pc:sldMkLst>
        <pc:spChg chg="mod">
          <ac:chgData name="Corey Yuan-Zhen Cao" userId="894c8f18-9551-4354-8c83-83a52876c78b" providerId="ADAL" clId="{5C20EACE-63ED-4F04-8D93-67A70AD2AE1B}" dt="2025-03-23T18:25:52.496" v="223" actId="207"/>
          <ac:spMkLst>
            <pc:docMk/>
            <pc:sldMk cId="3941336180" sldId="265"/>
            <ac:spMk id="15" creationId="{7C14300A-F42E-D62A-E126-411D414920F1}"/>
          </ac:spMkLst>
        </pc:spChg>
        <pc:spChg chg="mod">
          <ac:chgData name="Corey Yuan-Zhen Cao" userId="894c8f18-9551-4354-8c83-83a52876c78b" providerId="ADAL" clId="{5C20EACE-63ED-4F04-8D93-67A70AD2AE1B}" dt="2025-03-23T18:25:28.552" v="213" actId="207"/>
          <ac:spMkLst>
            <pc:docMk/>
            <pc:sldMk cId="3941336180" sldId="265"/>
            <ac:spMk id="17" creationId="{A6D5CBBF-9AD9-7CF6-B515-676925A1D26B}"/>
          </ac:spMkLst>
        </pc:spChg>
        <pc:spChg chg="mod">
          <ac:chgData name="Corey Yuan-Zhen Cao" userId="894c8f18-9551-4354-8c83-83a52876c78b" providerId="ADAL" clId="{5C20EACE-63ED-4F04-8D93-67A70AD2AE1B}" dt="2025-03-23T18:25:41.991" v="219" actId="207"/>
          <ac:spMkLst>
            <pc:docMk/>
            <pc:sldMk cId="3941336180" sldId="265"/>
            <ac:spMk id="21" creationId="{B98B89C8-AC6D-D62D-3AE4-62AFDF8F05C4}"/>
          </ac:spMkLst>
        </pc:spChg>
        <pc:spChg chg="mod">
          <ac:chgData name="Corey Yuan-Zhen Cao" userId="894c8f18-9551-4354-8c83-83a52876c78b" providerId="ADAL" clId="{5C20EACE-63ED-4F04-8D93-67A70AD2AE1B}" dt="2025-03-23T18:26:12.747" v="230" actId="207"/>
          <ac:spMkLst>
            <pc:docMk/>
            <pc:sldMk cId="3941336180" sldId="265"/>
            <ac:spMk id="30" creationId="{5CC2293B-63D2-C57F-604F-CE93469F7389}"/>
          </ac:spMkLst>
        </pc:spChg>
        <pc:spChg chg="mod">
          <ac:chgData name="Corey Yuan-Zhen Cao" userId="894c8f18-9551-4354-8c83-83a52876c78b" providerId="ADAL" clId="{5C20EACE-63ED-4F04-8D93-67A70AD2AE1B}" dt="2025-03-23T18:25:14.181" v="209" actId="207"/>
          <ac:spMkLst>
            <pc:docMk/>
            <pc:sldMk cId="3941336180" sldId="265"/>
            <ac:spMk id="31" creationId="{6C088A95-939B-A734-3C94-EAFF1C9CB805}"/>
          </ac:spMkLst>
        </pc:spChg>
        <pc:cxnChg chg="mod">
          <ac:chgData name="Corey Yuan-Zhen Cao" userId="894c8f18-9551-4354-8c83-83a52876c78b" providerId="ADAL" clId="{5C20EACE-63ED-4F04-8D93-67A70AD2AE1B}" dt="2025-03-23T18:25:38.938" v="218" actId="1076"/>
          <ac:cxnSpMkLst>
            <pc:docMk/>
            <pc:sldMk cId="3941336180" sldId="265"/>
            <ac:cxnSpMk id="44" creationId="{94BCCCBC-9CC3-3CB1-5611-A7FD2C6E8189}"/>
          </ac:cxnSpMkLst>
        </pc:cxnChg>
      </pc:sldChg>
      <pc:sldChg chg="modSp mod">
        <pc:chgData name="Corey Yuan-Zhen Cao" userId="894c8f18-9551-4354-8c83-83a52876c78b" providerId="ADAL" clId="{5C20EACE-63ED-4F04-8D93-67A70AD2AE1B}" dt="2025-03-24T18:48:19.811" v="769" actId="692"/>
        <pc:sldMkLst>
          <pc:docMk/>
          <pc:sldMk cId="3214686972" sldId="266"/>
        </pc:sldMkLst>
        <pc:cxnChg chg="mod">
          <ac:chgData name="Corey Yuan-Zhen Cao" userId="894c8f18-9551-4354-8c83-83a52876c78b" providerId="ADAL" clId="{5C20EACE-63ED-4F04-8D93-67A70AD2AE1B}" dt="2025-03-24T18:48:19.811" v="769" actId="692"/>
          <ac:cxnSpMkLst>
            <pc:docMk/>
            <pc:sldMk cId="3214686972" sldId="266"/>
            <ac:cxnSpMk id="18" creationId="{4A1F15B3-351B-A7E3-0EDD-7F11D381C45C}"/>
          </ac:cxnSpMkLst>
        </pc:cxnChg>
      </pc:sldChg>
      <pc:sldChg chg="delSp modSp add del mod">
        <pc:chgData name="Corey Yuan-Zhen Cao" userId="894c8f18-9551-4354-8c83-83a52876c78b" providerId="ADAL" clId="{5C20EACE-63ED-4F04-8D93-67A70AD2AE1B}" dt="2025-03-31T18:52:19.550" v="2599" actId="47"/>
        <pc:sldMkLst>
          <pc:docMk/>
          <pc:sldMk cId="1752903940" sldId="267"/>
        </pc:sldMkLst>
      </pc:sldChg>
      <pc:sldChg chg="delSp modSp mod">
        <pc:chgData name="Corey Yuan-Zhen Cao" userId="894c8f18-9551-4354-8c83-83a52876c78b" providerId="ADAL" clId="{5C20EACE-63ED-4F04-8D93-67A70AD2AE1B}" dt="2025-03-24T18:36:21.597" v="651" actId="208"/>
        <pc:sldMkLst>
          <pc:docMk/>
          <pc:sldMk cId="3431454537" sldId="268"/>
        </pc:sldMkLst>
        <pc:spChg chg="mod">
          <ac:chgData name="Corey Yuan-Zhen Cao" userId="894c8f18-9551-4354-8c83-83a52876c78b" providerId="ADAL" clId="{5C20EACE-63ED-4F04-8D93-67A70AD2AE1B}" dt="2025-03-24T15:30:04.338" v="629" actId="207"/>
          <ac:spMkLst>
            <pc:docMk/>
            <pc:sldMk cId="3431454537" sldId="268"/>
            <ac:spMk id="7" creationId="{0FD2EB78-C867-95B1-2CEB-B8D1A1AA4BCD}"/>
          </ac:spMkLst>
        </pc:spChg>
        <pc:spChg chg="mod">
          <ac:chgData name="Corey Yuan-Zhen Cao" userId="894c8f18-9551-4354-8c83-83a52876c78b" providerId="ADAL" clId="{5C20EACE-63ED-4F04-8D93-67A70AD2AE1B}" dt="2025-03-24T15:29:02.987" v="619" actId="1076"/>
          <ac:spMkLst>
            <pc:docMk/>
            <pc:sldMk cId="3431454537" sldId="268"/>
            <ac:spMk id="8" creationId="{68CE7CC8-9EFB-8325-7476-FA328AF2AF75}"/>
          </ac:spMkLst>
        </pc:spChg>
        <pc:spChg chg="mod">
          <ac:chgData name="Corey Yuan-Zhen Cao" userId="894c8f18-9551-4354-8c83-83a52876c78b" providerId="ADAL" clId="{5C20EACE-63ED-4F04-8D93-67A70AD2AE1B}" dt="2025-03-24T15:30:06.033" v="630" actId="207"/>
          <ac:spMkLst>
            <pc:docMk/>
            <pc:sldMk cId="3431454537" sldId="268"/>
            <ac:spMk id="9" creationId="{FB0B7B8C-8AB8-DB65-7949-C7393D4E7804}"/>
          </ac:spMkLst>
        </pc:spChg>
        <pc:spChg chg="mod">
          <ac:chgData name="Corey Yuan-Zhen Cao" userId="894c8f18-9551-4354-8c83-83a52876c78b" providerId="ADAL" clId="{5C20EACE-63ED-4F04-8D93-67A70AD2AE1B}" dt="2025-03-24T15:30:27.969" v="637" actId="20577"/>
          <ac:spMkLst>
            <pc:docMk/>
            <pc:sldMk cId="3431454537" sldId="268"/>
            <ac:spMk id="15" creationId="{13428C1C-C0C3-74DF-062C-E56FE0DDC056}"/>
          </ac:spMkLst>
        </pc:spChg>
        <pc:spChg chg="mod">
          <ac:chgData name="Corey Yuan-Zhen Cao" userId="894c8f18-9551-4354-8c83-83a52876c78b" providerId="ADAL" clId="{5C20EACE-63ED-4F04-8D93-67A70AD2AE1B}" dt="2025-03-24T15:29:56.891" v="628" actId="207"/>
          <ac:spMkLst>
            <pc:docMk/>
            <pc:sldMk cId="3431454537" sldId="268"/>
            <ac:spMk id="19" creationId="{C7F56107-E675-443C-E027-356671C64DE5}"/>
          </ac:spMkLst>
        </pc:spChg>
        <pc:graphicFrameChg chg="mod">
          <ac:chgData name="Corey Yuan-Zhen Cao" userId="894c8f18-9551-4354-8c83-83a52876c78b" providerId="ADAL" clId="{5C20EACE-63ED-4F04-8D93-67A70AD2AE1B}" dt="2025-03-24T18:36:21.597" v="651" actId="208"/>
          <ac:graphicFrameMkLst>
            <pc:docMk/>
            <pc:sldMk cId="3431454537" sldId="268"/>
            <ac:graphicFrameMk id="16" creationId="{F489E969-2B7A-4EB6-1E66-31A5B280CDD4}"/>
          </ac:graphicFrameMkLst>
        </pc:graphicFrameChg>
        <pc:graphicFrameChg chg="mod">
          <ac:chgData name="Corey Yuan-Zhen Cao" userId="894c8f18-9551-4354-8c83-83a52876c78b" providerId="ADAL" clId="{5C20EACE-63ED-4F04-8D93-67A70AD2AE1B}" dt="2025-03-24T16:43:16.532" v="642" actId="207"/>
          <ac:graphicFrameMkLst>
            <pc:docMk/>
            <pc:sldMk cId="3431454537" sldId="268"/>
            <ac:graphicFrameMk id="18" creationId="{56E3D54E-E751-78E0-CEDD-E048FD756073}"/>
          </ac:graphicFrameMkLst>
        </pc:graphicFrameChg>
      </pc:sldChg>
      <pc:sldChg chg="addSp delSp modSp mod">
        <pc:chgData name="Corey Yuan-Zhen Cao" userId="894c8f18-9551-4354-8c83-83a52876c78b" providerId="ADAL" clId="{5C20EACE-63ED-4F04-8D93-67A70AD2AE1B}" dt="2025-03-30T19:01:13.847" v="2176" actId="14100"/>
        <pc:sldMkLst>
          <pc:docMk/>
          <pc:sldMk cId="3658756422" sldId="271"/>
        </pc:sldMkLst>
      </pc:sldChg>
      <pc:sldChg chg="modSp mod">
        <pc:chgData name="Corey Yuan-Zhen Cao" userId="894c8f18-9551-4354-8c83-83a52876c78b" providerId="ADAL" clId="{5C20EACE-63ED-4F04-8D93-67A70AD2AE1B}" dt="2025-03-31T19:15:05.720" v="2687" actId="122"/>
        <pc:sldMkLst>
          <pc:docMk/>
          <pc:sldMk cId="277559060" sldId="273"/>
        </pc:sldMkLst>
        <pc:graphicFrameChg chg="modGraphic">
          <ac:chgData name="Corey Yuan-Zhen Cao" userId="894c8f18-9551-4354-8c83-83a52876c78b" providerId="ADAL" clId="{5C20EACE-63ED-4F04-8D93-67A70AD2AE1B}" dt="2025-03-24T15:26:46.871" v="598" actId="207"/>
          <ac:graphicFrameMkLst>
            <pc:docMk/>
            <pc:sldMk cId="277559060" sldId="273"/>
            <ac:graphicFrameMk id="4" creationId="{15760B7E-F382-EE64-EB80-5E858E6BA063}"/>
          </ac:graphicFrameMkLst>
        </pc:graphicFrameChg>
        <pc:graphicFrameChg chg="modGraphic">
          <ac:chgData name="Corey Yuan-Zhen Cao" userId="894c8f18-9551-4354-8c83-83a52876c78b" providerId="ADAL" clId="{5C20EACE-63ED-4F04-8D93-67A70AD2AE1B}" dt="2025-03-31T19:15:05.720" v="2687" actId="122"/>
          <ac:graphicFrameMkLst>
            <pc:docMk/>
            <pc:sldMk cId="277559060" sldId="273"/>
            <ac:graphicFrameMk id="6" creationId="{0E2F5715-B9DD-735F-B05F-89D7634A141E}"/>
          </ac:graphicFrameMkLst>
        </pc:graphicFrameChg>
      </pc:sldChg>
      <pc:sldChg chg="addSp modSp del mod">
        <pc:chgData name="Corey Yuan-Zhen Cao" userId="894c8f18-9551-4354-8c83-83a52876c78b" providerId="ADAL" clId="{5C20EACE-63ED-4F04-8D93-67A70AD2AE1B}" dt="2025-03-24T00:43:33.222" v="433" actId="2696"/>
        <pc:sldMkLst>
          <pc:docMk/>
          <pc:sldMk cId="2510857932" sldId="274"/>
        </pc:sldMkLst>
      </pc:sldChg>
      <pc:sldChg chg="delSp modSp mod ord">
        <pc:chgData name="Corey Yuan-Zhen Cao" userId="894c8f18-9551-4354-8c83-83a52876c78b" providerId="ADAL" clId="{5C20EACE-63ED-4F04-8D93-67A70AD2AE1B}" dt="2025-03-31T19:00:07.273" v="2672" actId="478"/>
        <pc:sldMkLst>
          <pc:docMk/>
          <pc:sldMk cId="4180380748" sldId="275"/>
        </pc:sldMkLst>
      </pc:sldChg>
      <pc:sldChg chg="delSp modSp mod">
        <pc:chgData name="Corey Yuan-Zhen Cao" userId="894c8f18-9551-4354-8c83-83a52876c78b" providerId="ADAL" clId="{5C20EACE-63ED-4F04-8D93-67A70AD2AE1B}" dt="2025-03-31T18:54:55.900" v="2664" actId="20577"/>
        <pc:sldMkLst>
          <pc:docMk/>
          <pc:sldMk cId="597480458" sldId="277"/>
        </pc:sldMkLst>
        <pc:spChg chg="mod">
          <ac:chgData name="Corey Yuan-Zhen Cao" userId="894c8f18-9551-4354-8c83-83a52876c78b" providerId="ADAL" clId="{5C20EACE-63ED-4F04-8D93-67A70AD2AE1B}" dt="2025-03-31T18:54:55.900" v="2664" actId="20577"/>
          <ac:spMkLst>
            <pc:docMk/>
            <pc:sldMk cId="597480458" sldId="277"/>
            <ac:spMk id="4" creationId="{7B801DBE-E560-BED3-4157-4EEFCD93B583}"/>
          </ac:spMkLst>
        </pc:spChg>
        <pc:spChg chg="mod">
          <ac:chgData name="Corey Yuan-Zhen Cao" userId="894c8f18-9551-4354-8c83-83a52876c78b" providerId="ADAL" clId="{5C20EACE-63ED-4F04-8D93-67A70AD2AE1B}" dt="2025-03-30T19:09:55.339" v="2221" actId="2711"/>
          <ac:spMkLst>
            <pc:docMk/>
            <pc:sldMk cId="597480458" sldId="277"/>
            <ac:spMk id="6" creationId="{B305CBA0-F8EF-9EB2-6305-DD776B86A400}"/>
          </ac:spMkLst>
        </pc:spChg>
        <pc:spChg chg="mod">
          <ac:chgData name="Corey Yuan-Zhen Cao" userId="894c8f18-9551-4354-8c83-83a52876c78b" providerId="ADAL" clId="{5C20EACE-63ED-4F04-8D93-67A70AD2AE1B}" dt="2025-03-30T19:10:05.880" v="2223" actId="2711"/>
          <ac:spMkLst>
            <pc:docMk/>
            <pc:sldMk cId="597480458" sldId="277"/>
            <ac:spMk id="7" creationId="{EDAD607D-5F99-1259-E101-D4690743DCD5}"/>
          </ac:spMkLst>
        </pc:spChg>
        <pc:spChg chg="mod">
          <ac:chgData name="Corey Yuan-Zhen Cao" userId="894c8f18-9551-4354-8c83-83a52876c78b" providerId="ADAL" clId="{5C20EACE-63ED-4F04-8D93-67A70AD2AE1B}" dt="2025-03-30T19:12:15.896" v="2233" actId="1076"/>
          <ac:spMkLst>
            <pc:docMk/>
            <pc:sldMk cId="597480458" sldId="277"/>
            <ac:spMk id="9" creationId="{6EDEE70E-0DC8-F513-1F6B-C2753C19C907}"/>
          </ac:spMkLst>
        </pc:spChg>
        <pc:spChg chg="mod">
          <ac:chgData name="Corey Yuan-Zhen Cao" userId="894c8f18-9551-4354-8c83-83a52876c78b" providerId="ADAL" clId="{5C20EACE-63ED-4F04-8D93-67A70AD2AE1B}" dt="2025-03-30T19:10:00.308" v="2222" actId="2711"/>
          <ac:spMkLst>
            <pc:docMk/>
            <pc:sldMk cId="597480458" sldId="277"/>
            <ac:spMk id="12" creationId="{38F31616-FCFE-DE44-864C-2B324BEE8779}"/>
          </ac:spMkLst>
        </pc:spChg>
        <pc:spChg chg="mod">
          <ac:chgData name="Corey Yuan-Zhen Cao" userId="894c8f18-9551-4354-8c83-83a52876c78b" providerId="ADAL" clId="{5C20EACE-63ED-4F04-8D93-67A70AD2AE1B}" dt="2025-03-30T19:10:12.785" v="2224" actId="2711"/>
          <ac:spMkLst>
            <pc:docMk/>
            <pc:sldMk cId="597480458" sldId="277"/>
            <ac:spMk id="13" creationId="{089C5C09-11AF-5FD7-DB5B-29085E8CF7DF}"/>
          </ac:spMkLst>
        </pc:spChg>
        <pc:spChg chg="mod">
          <ac:chgData name="Corey Yuan-Zhen Cao" userId="894c8f18-9551-4354-8c83-83a52876c78b" providerId="ADAL" clId="{5C20EACE-63ED-4F04-8D93-67A70AD2AE1B}" dt="2025-03-30T19:12:22.521" v="2234" actId="1076"/>
          <ac:spMkLst>
            <pc:docMk/>
            <pc:sldMk cId="597480458" sldId="277"/>
            <ac:spMk id="14" creationId="{CAAAC3B6-9D18-E0E9-88C2-FFA164D2D544}"/>
          </ac:spMkLst>
        </pc:spChg>
      </pc:sldChg>
      <pc:sldChg chg="modSp mod">
        <pc:chgData name="Corey Yuan-Zhen Cao" userId="894c8f18-9551-4354-8c83-83a52876c78b" providerId="ADAL" clId="{5C20EACE-63ED-4F04-8D93-67A70AD2AE1B}" dt="2025-03-31T18:44:49.094" v="2559" actId="1076"/>
        <pc:sldMkLst>
          <pc:docMk/>
          <pc:sldMk cId="1631883058" sldId="280"/>
        </pc:sldMkLst>
      </pc:sldChg>
      <pc:sldChg chg="del">
        <pc:chgData name="Corey Yuan-Zhen Cao" userId="894c8f18-9551-4354-8c83-83a52876c78b" providerId="ADAL" clId="{5C20EACE-63ED-4F04-8D93-67A70AD2AE1B}" dt="2025-03-23T18:23:19.036" v="176" actId="2696"/>
        <pc:sldMkLst>
          <pc:docMk/>
          <pc:sldMk cId="814861360" sldId="281"/>
        </pc:sldMkLst>
      </pc:sldChg>
      <pc:sldChg chg="del">
        <pc:chgData name="Corey Yuan-Zhen Cao" userId="894c8f18-9551-4354-8c83-83a52876c78b" providerId="ADAL" clId="{5C20EACE-63ED-4F04-8D93-67A70AD2AE1B}" dt="2025-03-24T00:48:16.881" v="532" actId="2696"/>
        <pc:sldMkLst>
          <pc:docMk/>
          <pc:sldMk cId="124668998" sldId="282"/>
        </pc:sldMkLst>
      </pc:sldChg>
      <pc:sldChg chg="addSp modSp del mod modClrScheme chgLayout">
        <pc:chgData name="Corey Yuan-Zhen Cao" userId="894c8f18-9551-4354-8c83-83a52876c78b" providerId="ADAL" clId="{5C20EACE-63ED-4F04-8D93-67A70AD2AE1B}" dt="2025-03-24T18:52:19.358" v="779" actId="47"/>
        <pc:sldMkLst>
          <pc:docMk/>
          <pc:sldMk cId="1835504632" sldId="285"/>
        </pc:sldMkLst>
      </pc:sldChg>
      <pc:sldChg chg="modSp mod">
        <pc:chgData name="Corey Yuan-Zhen Cao" userId="894c8f18-9551-4354-8c83-83a52876c78b" providerId="ADAL" clId="{5C20EACE-63ED-4F04-8D93-67A70AD2AE1B}" dt="2025-03-30T19:27:26.636" v="2291" actId="207"/>
        <pc:sldMkLst>
          <pc:docMk/>
          <pc:sldMk cId="4223677651" sldId="286"/>
        </pc:sldMkLst>
        <pc:spChg chg="mod">
          <ac:chgData name="Corey Yuan-Zhen Cao" userId="894c8f18-9551-4354-8c83-83a52876c78b" providerId="ADAL" clId="{5C20EACE-63ED-4F04-8D93-67A70AD2AE1B}" dt="2025-03-24T18:49:05.205" v="771" actId="207"/>
          <ac:spMkLst>
            <pc:docMk/>
            <pc:sldMk cId="4223677651" sldId="286"/>
            <ac:spMk id="3" creationId="{96B7761B-8C4C-007B-6B1C-E2BC558412C4}"/>
          </ac:spMkLst>
        </pc:spChg>
        <pc:spChg chg="mod">
          <ac:chgData name="Corey Yuan-Zhen Cao" userId="894c8f18-9551-4354-8c83-83a52876c78b" providerId="ADAL" clId="{5C20EACE-63ED-4F04-8D93-67A70AD2AE1B}" dt="2025-03-24T18:49:08.375" v="772" actId="207"/>
          <ac:spMkLst>
            <pc:docMk/>
            <pc:sldMk cId="4223677651" sldId="286"/>
            <ac:spMk id="6" creationId="{6B5072D0-C39A-29E5-7B0A-65EB99FD1C6F}"/>
          </ac:spMkLst>
        </pc:spChg>
        <pc:spChg chg="mod">
          <ac:chgData name="Corey Yuan-Zhen Cao" userId="894c8f18-9551-4354-8c83-83a52876c78b" providerId="ADAL" clId="{5C20EACE-63ED-4F04-8D93-67A70AD2AE1B}" dt="2025-03-24T18:49:41.281" v="774" actId="207"/>
          <ac:spMkLst>
            <pc:docMk/>
            <pc:sldMk cId="4223677651" sldId="286"/>
            <ac:spMk id="18" creationId="{AF97B864-4180-98ED-498A-66FB2912D6D9}"/>
          </ac:spMkLst>
        </pc:spChg>
        <pc:spChg chg="mod">
          <ac:chgData name="Corey Yuan-Zhen Cao" userId="894c8f18-9551-4354-8c83-83a52876c78b" providerId="ADAL" clId="{5C20EACE-63ED-4F04-8D93-67A70AD2AE1B}" dt="2025-03-24T18:49:43.669" v="775" actId="207"/>
          <ac:spMkLst>
            <pc:docMk/>
            <pc:sldMk cId="4223677651" sldId="286"/>
            <ac:spMk id="20" creationId="{FD7DD08E-0EBB-2BBF-3576-6AD7CB87E369}"/>
          </ac:spMkLst>
        </pc:spChg>
        <pc:spChg chg="mod">
          <ac:chgData name="Corey Yuan-Zhen Cao" userId="894c8f18-9551-4354-8c83-83a52876c78b" providerId="ADAL" clId="{5C20EACE-63ED-4F04-8D93-67A70AD2AE1B}" dt="2025-03-30T19:27:26.636" v="2291" actId="207"/>
          <ac:spMkLst>
            <pc:docMk/>
            <pc:sldMk cId="4223677651" sldId="286"/>
            <ac:spMk id="91" creationId="{4458A4B2-E013-FF3C-2D75-8B13F3F6D899}"/>
          </ac:spMkLst>
        </pc:spChg>
      </pc:sldChg>
      <pc:sldChg chg="modSp mod">
        <pc:chgData name="Corey Yuan-Zhen Cao" userId="894c8f18-9551-4354-8c83-83a52876c78b" providerId="ADAL" clId="{5C20EACE-63ED-4F04-8D93-67A70AD2AE1B}" dt="2025-03-31T19:09:38.746" v="2684" actId="207"/>
        <pc:sldMkLst>
          <pc:docMk/>
          <pc:sldMk cId="2231801104" sldId="287"/>
        </pc:sldMkLst>
        <pc:spChg chg="mod">
          <ac:chgData name="Corey Yuan-Zhen Cao" userId="894c8f18-9551-4354-8c83-83a52876c78b" providerId="ADAL" clId="{5C20EACE-63ED-4F04-8D93-67A70AD2AE1B}" dt="2025-03-31T18:10:28.124" v="2537" actId="20577"/>
          <ac:spMkLst>
            <pc:docMk/>
            <pc:sldMk cId="2231801104" sldId="287"/>
            <ac:spMk id="22" creationId="{DE4EBD26-88C6-EB65-D6DA-E28DBE36E00B}"/>
          </ac:spMkLst>
        </pc:spChg>
        <pc:spChg chg="mod">
          <ac:chgData name="Corey Yuan-Zhen Cao" userId="894c8f18-9551-4354-8c83-83a52876c78b" providerId="ADAL" clId="{5C20EACE-63ED-4F04-8D93-67A70AD2AE1B}" dt="2025-03-24T18:52:54.623" v="780" actId="207"/>
          <ac:spMkLst>
            <pc:docMk/>
            <pc:sldMk cId="2231801104" sldId="287"/>
            <ac:spMk id="24" creationId="{574A6B23-2250-37CB-FB53-55882D89A536}"/>
          </ac:spMkLst>
        </pc:spChg>
        <pc:spChg chg="mod">
          <ac:chgData name="Corey Yuan-Zhen Cao" userId="894c8f18-9551-4354-8c83-83a52876c78b" providerId="ADAL" clId="{5C20EACE-63ED-4F04-8D93-67A70AD2AE1B}" dt="2025-03-24T18:36:01.493" v="648" actId="207"/>
          <ac:spMkLst>
            <pc:docMk/>
            <pc:sldMk cId="2231801104" sldId="287"/>
            <ac:spMk id="25" creationId="{A02CA7DE-1086-566B-7E65-104D9D1C67D3}"/>
          </ac:spMkLst>
        </pc:spChg>
        <pc:spChg chg="mod">
          <ac:chgData name="Corey Yuan-Zhen Cao" userId="894c8f18-9551-4354-8c83-83a52876c78b" providerId="ADAL" clId="{5C20EACE-63ED-4F04-8D93-67A70AD2AE1B}" dt="2025-03-30T19:27:07.549" v="2290" actId="20577"/>
          <ac:spMkLst>
            <pc:docMk/>
            <pc:sldMk cId="2231801104" sldId="287"/>
            <ac:spMk id="26" creationId="{004BB359-B5E2-75E2-3241-BE15053902FE}"/>
          </ac:spMkLst>
        </pc:spChg>
        <pc:spChg chg="mod">
          <ac:chgData name="Corey Yuan-Zhen Cao" userId="894c8f18-9551-4354-8c83-83a52876c78b" providerId="ADAL" clId="{5C20EACE-63ED-4F04-8D93-67A70AD2AE1B}" dt="2025-03-31T18:13:14.766" v="2557" actId="20577"/>
          <ac:spMkLst>
            <pc:docMk/>
            <pc:sldMk cId="2231801104" sldId="287"/>
            <ac:spMk id="91" creationId="{BD0A095F-6F35-F238-7F54-31625E60B9A1}"/>
          </ac:spMkLst>
        </pc:spChg>
        <pc:graphicFrameChg chg="mod">
          <ac:chgData name="Corey Yuan-Zhen Cao" userId="894c8f18-9551-4354-8c83-83a52876c78b" providerId="ADAL" clId="{5C20EACE-63ED-4F04-8D93-67A70AD2AE1B}" dt="2025-03-31T19:09:38.746" v="2684" actId="207"/>
          <ac:graphicFrameMkLst>
            <pc:docMk/>
            <pc:sldMk cId="2231801104" sldId="287"/>
            <ac:graphicFrameMk id="7" creationId="{2587AABF-A915-3B46-F4F9-12D01863F7C9}"/>
          </ac:graphicFrameMkLst>
        </pc:graphicFrameChg>
      </pc:sldChg>
      <pc:sldChg chg="del">
        <pc:chgData name="Corey Yuan-Zhen Cao" userId="894c8f18-9551-4354-8c83-83a52876c78b" providerId="ADAL" clId="{5C20EACE-63ED-4F04-8D93-67A70AD2AE1B}" dt="2025-03-23T18:24:01.865" v="201" actId="47"/>
        <pc:sldMkLst>
          <pc:docMk/>
          <pc:sldMk cId="1178074078" sldId="288"/>
        </pc:sldMkLst>
      </pc:sldChg>
      <pc:sldChg chg="modSp new del mod">
        <pc:chgData name="Corey Yuan-Zhen Cao" userId="894c8f18-9551-4354-8c83-83a52876c78b" providerId="ADAL" clId="{5C20EACE-63ED-4F04-8D93-67A70AD2AE1B}" dt="2025-03-23T19:15:47.873" v="233" actId="2696"/>
        <pc:sldMkLst>
          <pc:docMk/>
          <pc:sldMk cId="2227906154" sldId="290"/>
        </pc:sldMkLst>
      </pc:sldChg>
      <pc:sldChg chg="addSp delSp modSp new mod modClrScheme chgLayout">
        <pc:chgData name="Corey Yuan-Zhen Cao" userId="894c8f18-9551-4354-8c83-83a52876c78b" providerId="ADAL" clId="{5C20EACE-63ED-4F04-8D93-67A70AD2AE1B}" dt="2025-03-23T18:22:24.997" v="136" actId="1076"/>
        <pc:sldMkLst>
          <pc:docMk/>
          <pc:sldMk cId="3164321657" sldId="291"/>
        </pc:sldMkLst>
      </pc:sldChg>
      <pc:sldChg chg="addSp delSp modSp new mod modClrScheme chgLayout">
        <pc:chgData name="Corey Yuan-Zhen Cao" userId="894c8f18-9551-4354-8c83-83a52876c78b" providerId="ADAL" clId="{5C20EACE-63ED-4F04-8D93-67A70AD2AE1B}" dt="2025-03-23T18:22:37.846" v="138" actId="700"/>
        <pc:sldMkLst>
          <pc:docMk/>
          <pc:sldMk cId="4107216613" sldId="292"/>
        </pc:sldMkLst>
      </pc:sldChg>
      <pc:sldChg chg="new del">
        <pc:chgData name="Corey Yuan-Zhen Cao" userId="894c8f18-9551-4354-8c83-83a52876c78b" providerId="ADAL" clId="{5C20EACE-63ED-4F04-8D93-67A70AD2AE1B}" dt="2025-03-23T18:22:45.527" v="140" actId="47"/>
        <pc:sldMkLst>
          <pc:docMk/>
          <pc:sldMk cId="1572885745" sldId="293"/>
        </pc:sldMkLst>
      </pc:sldChg>
      <pc:sldChg chg="modSp add mod ord">
        <pc:chgData name="Corey Yuan-Zhen Cao" userId="894c8f18-9551-4354-8c83-83a52876c78b" providerId="ADAL" clId="{5C20EACE-63ED-4F04-8D93-67A70AD2AE1B}" dt="2025-03-24T00:48:36.983" v="593" actId="20577"/>
        <pc:sldMkLst>
          <pc:docMk/>
          <pc:sldMk cId="2255203906" sldId="293"/>
        </pc:sldMkLst>
      </pc:sldChg>
      <pc:sldChg chg="modSp add mod ord">
        <pc:chgData name="Corey Yuan-Zhen Cao" userId="894c8f18-9551-4354-8c83-83a52876c78b" providerId="ADAL" clId="{5C20EACE-63ED-4F04-8D93-67A70AD2AE1B}" dt="2025-03-23T18:23:56.304" v="200" actId="20577"/>
        <pc:sldMkLst>
          <pc:docMk/>
          <pc:sldMk cId="1488147208" sldId="294"/>
        </pc:sldMkLst>
      </pc:sldChg>
      <pc:sldChg chg="modSp mod">
        <pc:chgData name="Corey Yuan-Zhen Cao" userId="894c8f18-9551-4354-8c83-83a52876c78b" providerId="ADAL" clId="{5C20EACE-63ED-4F04-8D93-67A70AD2AE1B}" dt="2025-03-23T19:16:30.936" v="234" actId="20577"/>
        <pc:sldMkLst>
          <pc:docMk/>
          <pc:sldMk cId="3079805648" sldId="296"/>
        </pc:sldMkLst>
      </pc:sldChg>
      <pc:sldChg chg="addSp delSp modSp mod ord modClrScheme chgLayout">
        <pc:chgData name="Corey Yuan-Zhen Cao" userId="894c8f18-9551-4354-8c83-83a52876c78b" providerId="ADAL" clId="{5C20EACE-63ED-4F04-8D93-67A70AD2AE1B}" dt="2025-03-30T19:34:04.338" v="2296"/>
        <pc:sldMkLst>
          <pc:docMk/>
          <pc:sldMk cId="4024668292" sldId="298"/>
        </pc:sldMkLst>
      </pc:sldChg>
      <pc:sldChg chg="addSp delSp modSp new mod">
        <pc:chgData name="Corey Yuan-Zhen Cao" userId="894c8f18-9551-4354-8c83-83a52876c78b" providerId="ADAL" clId="{5C20EACE-63ED-4F04-8D93-67A70AD2AE1B}" dt="2025-03-30T19:08:37.758" v="2217" actId="207"/>
        <pc:sldMkLst>
          <pc:docMk/>
          <pc:sldMk cId="118660533" sldId="299"/>
        </pc:sldMkLst>
        <pc:spChg chg="add mod">
          <ac:chgData name="Corey Yuan-Zhen Cao" userId="894c8f18-9551-4354-8c83-83a52876c78b" providerId="ADAL" clId="{5C20EACE-63ED-4F04-8D93-67A70AD2AE1B}" dt="2025-03-24T00:42:56.310" v="429" actId="1076"/>
          <ac:spMkLst>
            <pc:docMk/>
            <pc:sldMk cId="118660533" sldId="299"/>
            <ac:spMk id="24" creationId="{3717086D-92ED-A089-BF01-8F0137C698DF}"/>
          </ac:spMkLst>
        </pc:spChg>
        <pc:spChg chg="add mod">
          <ac:chgData name="Corey Yuan-Zhen Cao" userId="894c8f18-9551-4354-8c83-83a52876c78b" providerId="ADAL" clId="{5C20EACE-63ED-4F04-8D93-67A70AD2AE1B}" dt="2025-03-24T00:42:10.247" v="413" actId="20577"/>
          <ac:spMkLst>
            <pc:docMk/>
            <pc:sldMk cId="118660533" sldId="299"/>
            <ac:spMk id="26" creationId="{D8521DC0-7EF5-7B17-5DE4-BBE89FD9DB72}"/>
          </ac:spMkLst>
        </pc:spChg>
        <pc:graphicFrameChg chg="add mod">
          <ac:chgData name="Corey Yuan-Zhen Cao" userId="894c8f18-9551-4354-8c83-83a52876c78b" providerId="ADAL" clId="{5C20EACE-63ED-4F04-8D93-67A70AD2AE1B}" dt="2025-03-30T19:08:37.758" v="2217" actId="207"/>
          <ac:graphicFrameMkLst>
            <pc:docMk/>
            <pc:sldMk cId="118660533" sldId="299"/>
            <ac:graphicFrameMk id="20" creationId="{D2B4E6FF-5AFF-6F0A-F8C8-9AC227EA7689}"/>
          </ac:graphicFrameMkLst>
        </pc:graphicFrameChg>
      </pc:sldChg>
      <pc:sldChg chg="modSp mod">
        <pc:chgData name="Corey Yuan-Zhen Cao" userId="894c8f18-9551-4354-8c83-83a52876c78b" providerId="ADAL" clId="{5C20EACE-63ED-4F04-8D93-67A70AD2AE1B}" dt="2025-03-30T19:40:41.365" v="2336" actId="207"/>
        <pc:sldMkLst>
          <pc:docMk/>
          <pc:sldMk cId="951529637" sldId="300"/>
        </pc:sldMkLst>
        <pc:graphicFrameChg chg="mod">
          <ac:chgData name="Corey Yuan-Zhen Cao" userId="894c8f18-9551-4354-8c83-83a52876c78b" providerId="ADAL" clId="{5C20EACE-63ED-4F04-8D93-67A70AD2AE1B}" dt="2025-03-30T19:40:41.365" v="2336" actId="207"/>
          <ac:graphicFrameMkLst>
            <pc:docMk/>
            <pc:sldMk cId="951529637" sldId="300"/>
            <ac:graphicFrameMk id="9" creationId="{3F1250A4-A9CF-4B94-762F-8DA34893A2CF}"/>
          </ac:graphicFrameMkLst>
        </pc:graphicFrameChg>
        <pc:graphicFrameChg chg="mod">
          <ac:chgData name="Corey Yuan-Zhen Cao" userId="894c8f18-9551-4354-8c83-83a52876c78b" providerId="ADAL" clId="{5C20EACE-63ED-4F04-8D93-67A70AD2AE1B}" dt="2025-03-30T19:40:39.359" v="2335" actId="207"/>
          <ac:graphicFrameMkLst>
            <pc:docMk/>
            <pc:sldMk cId="951529637" sldId="300"/>
            <ac:graphicFrameMk id="10" creationId="{CFD77A0A-6787-1953-83E7-144ED7F65541}"/>
          </ac:graphicFrameMkLst>
        </pc:graphicFrameChg>
      </pc:sldChg>
      <pc:sldChg chg="del">
        <pc:chgData name="Corey Yuan-Zhen Cao" userId="894c8f18-9551-4354-8c83-83a52876c78b" providerId="ADAL" clId="{5C20EACE-63ED-4F04-8D93-67A70AD2AE1B}" dt="2025-03-30T19:01:54.935" v="2194" actId="2696"/>
        <pc:sldMkLst>
          <pc:docMk/>
          <pc:sldMk cId="3442849471" sldId="301"/>
        </pc:sldMkLst>
      </pc:sldChg>
      <pc:sldChg chg="del">
        <pc:chgData name="Corey Yuan-Zhen Cao" userId="894c8f18-9551-4354-8c83-83a52876c78b" providerId="ADAL" clId="{5C20EACE-63ED-4F04-8D93-67A70AD2AE1B}" dt="2025-03-30T19:01:54.935" v="2194" actId="2696"/>
        <pc:sldMkLst>
          <pc:docMk/>
          <pc:sldMk cId="1506442824" sldId="302"/>
        </pc:sldMkLst>
      </pc:sldChg>
      <pc:sldChg chg="del">
        <pc:chgData name="Corey Yuan-Zhen Cao" userId="894c8f18-9551-4354-8c83-83a52876c78b" providerId="ADAL" clId="{5C20EACE-63ED-4F04-8D93-67A70AD2AE1B}" dt="2025-03-30T19:01:54.935" v="2194" actId="2696"/>
        <pc:sldMkLst>
          <pc:docMk/>
          <pc:sldMk cId="1953456580" sldId="303"/>
        </pc:sldMkLst>
      </pc:sldChg>
      <pc:sldChg chg="modSp mod">
        <pc:chgData name="Corey Yuan-Zhen Cao" userId="894c8f18-9551-4354-8c83-83a52876c78b" providerId="ADAL" clId="{5C20EACE-63ED-4F04-8D93-67A70AD2AE1B}" dt="2025-03-30T19:36:45.792" v="2317" actId="208"/>
        <pc:sldMkLst>
          <pc:docMk/>
          <pc:sldMk cId="3482756237" sldId="304"/>
        </pc:sldMkLst>
      </pc:sldChg>
      <pc:sldChg chg="modSp add mod ord">
        <pc:chgData name="Corey Yuan-Zhen Cao" userId="894c8f18-9551-4354-8c83-83a52876c78b" providerId="ADAL" clId="{5C20EACE-63ED-4F04-8D93-67A70AD2AE1B}" dt="2025-03-24T00:48:28.640" v="575" actId="20577"/>
        <pc:sldMkLst>
          <pc:docMk/>
          <pc:sldMk cId="1873224028" sldId="308"/>
        </pc:sldMkLst>
      </pc:sldChg>
      <pc:sldChg chg="modSp mod setBg">
        <pc:chgData name="Corey Yuan-Zhen Cao" userId="894c8f18-9551-4354-8c83-83a52876c78b" providerId="ADAL" clId="{5C20EACE-63ED-4F04-8D93-67A70AD2AE1B}" dt="2025-03-31T18:48:50.208" v="2571" actId="14100"/>
        <pc:sldMkLst>
          <pc:docMk/>
          <pc:sldMk cId="2009459704" sldId="309"/>
        </pc:sldMkLst>
        <pc:graphicFrameChg chg="mod">
          <ac:chgData name="Corey Yuan-Zhen Cao" userId="894c8f18-9551-4354-8c83-83a52876c78b" providerId="ADAL" clId="{5C20EACE-63ED-4F04-8D93-67A70AD2AE1B}" dt="2025-03-30T19:07:49.808" v="2206"/>
          <ac:graphicFrameMkLst>
            <pc:docMk/>
            <pc:sldMk cId="2009459704" sldId="309"/>
            <ac:graphicFrameMk id="6" creationId="{B74DE81B-7FC9-3325-3ECE-55B0A6BBB5E5}"/>
          </ac:graphicFrameMkLst>
        </pc:graphicFrameChg>
        <pc:graphicFrameChg chg="mod">
          <ac:chgData name="Corey Yuan-Zhen Cao" userId="894c8f18-9551-4354-8c83-83a52876c78b" providerId="ADAL" clId="{5C20EACE-63ED-4F04-8D93-67A70AD2AE1B}" dt="2025-03-30T19:07:53.592" v="2207"/>
          <ac:graphicFrameMkLst>
            <pc:docMk/>
            <pc:sldMk cId="2009459704" sldId="309"/>
            <ac:graphicFrameMk id="16" creationId="{C48665AE-930D-5C20-11F4-08E335F5F242}"/>
          </ac:graphicFrameMkLst>
        </pc:graphicFrameChg>
        <pc:graphicFrameChg chg="mod">
          <ac:chgData name="Corey Yuan-Zhen Cao" userId="894c8f18-9551-4354-8c83-83a52876c78b" providerId="ADAL" clId="{5C20EACE-63ED-4F04-8D93-67A70AD2AE1B}" dt="2025-03-31T18:48:50.208" v="2571" actId="14100"/>
          <ac:graphicFrameMkLst>
            <pc:docMk/>
            <pc:sldMk cId="2009459704" sldId="309"/>
            <ac:graphicFrameMk id="17" creationId="{F7AC9DED-2F24-CBFB-90ED-D007AB9CF246}"/>
          </ac:graphicFrameMkLst>
        </pc:graphicFrameChg>
        <pc:graphicFrameChg chg="mod">
          <ac:chgData name="Corey Yuan-Zhen Cao" userId="894c8f18-9551-4354-8c83-83a52876c78b" providerId="ADAL" clId="{5C20EACE-63ED-4F04-8D93-67A70AD2AE1B}" dt="2025-03-30T19:07:57.435" v="2208"/>
          <ac:graphicFrameMkLst>
            <pc:docMk/>
            <pc:sldMk cId="2009459704" sldId="309"/>
            <ac:graphicFrameMk id="20" creationId="{25D3DC49-E1AA-4AC3-11BA-0C217BC756EE}"/>
          </ac:graphicFrameMkLst>
        </pc:graphicFrameChg>
      </pc:sldChg>
      <pc:sldChg chg="addSp delSp modSp new mod">
        <pc:chgData name="Corey Yuan-Zhen Cao" userId="894c8f18-9551-4354-8c83-83a52876c78b" providerId="ADAL" clId="{5C20EACE-63ED-4F04-8D93-67A70AD2AE1B}" dt="2025-03-24T18:59:35.859" v="784" actId="27614"/>
        <pc:sldMkLst>
          <pc:docMk/>
          <pc:sldMk cId="1516102587" sldId="310"/>
        </pc:sldMkLst>
      </pc:sldChg>
      <pc:sldChg chg="addSp delSp modSp new mod">
        <pc:chgData name="Corey Yuan-Zhen Cao" userId="894c8f18-9551-4354-8c83-83a52876c78b" providerId="ADAL" clId="{5C20EACE-63ED-4F04-8D93-67A70AD2AE1B}" dt="2025-03-24T18:59:42.936" v="788" actId="27614"/>
        <pc:sldMkLst>
          <pc:docMk/>
          <pc:sldMk cId="2105206661" sldId="311"/>
        </pc:sldMkLst>
      </pc:sldChg>
      <pc:sldChg chg="addSp delSp modSp new mod">
        <pc:chgData name="Corey Yuan-Zhen Cao" userId="894c8f18-9551-4354-8c83-83a52876c78b" providerId="ADAL" clId="{5C20EACE-63ED-4F04-8D93-67A70AD2AE1B}" dt="2025-03-24T18:59:51.269" v="792" actId="27614"/>
        <pc:sldMkLst>
          <pc:docMk/>
          <pc:sldMk cId="2059122757" sldId="312"/>
        </pc:sldMkLst>
      </pc:sldChg>
      <pc:sldChg chg="addSp delSp modSp new mod ord">
        <pc:chgData name="Corey Yuan-Zhen Cao" userId="894c8f18-9551-4354-8c83-83a52876c78b" providerId="ADAL" clId="{5C20EACE-63ED-4F04-8D93-67A70AD2AE1B}" dt="2025-03-30T18:52:21.933" v="2091"/>
        <pc:sldMkLst>
          <pc:docMk/>
          <pc:sldMk cId="2917439392" sldId="313"/>
        </pc:sldMkLst>
      </pc:sldChg>
      <pc:sldChg chg="del">
        <pc:chgData name="Corey Yuan-Zhen Cao" userId="894c8f18-9551-4354-8c83-83a52876c78b" providerId="ADAL" clId="{5C20EACE-63ED-4F04-8D93-67A70AD2AE1B}" dt="2025-03-30T19:18:44.722" v="2259" actId="47"/>
        <pc:sldMkLst>
          <pc:docMk/>
          <pc:sldMk cId="1759596664" sldId="314"/>
        </pc:sldMkLst>
      </pc:sldChg>
      <pc:sldChg chg="addSp delSp modSp new del mod">
        <pc:chgData name="Corey Yuan-Zhen Cao" userId="894c8f18-9551-4354-8c83-83a52876c78b" providerId="ADAL" clId="{5C20EACE-63ED-4F04-8D93-67A70AD2AE1B}" dt="2025-03-24T19:00:21.483" v="802" actId="2696"/>
        <pc:sldMkLst>
          <pc:docMk/>
          <pc:sldMk cId="2433216919" sldId="314"/>
        </pc:sldMkLst>
      </pc:sldChg>
      <pc:sldChg chg="mod ord modShow">
        <pc:chgData name="Corey Yuan-Zhen Cao" userId="894c8f18-9551-4354-8c83-83a52876c78b" providerId="ADAL" clId="{5C20EACE-63ED-4F04-8D93-67A70AD2AE1B}" dt="2025-03-31T19:08:40.364" v="2674" actId="729"/>
        <pc:sldMkLst>
          <pc:docMk/>
          <pc:sldMk cId="229152731" sldId="315"/>
        </pc:sldMkLst>
      </pc:sldChg>
      <pc:sldChg chg="addSp modSp del mod">
        <pc:chgData name="Corey Yuan-Zhen Cao" userId="894c8f18-9551-4354-8c83-83a52876c78b" providerId="ADAL" clId="{5C20EACE-63ED-4F04-8D93-67A70AD2AE1B}" dt="2025-03-30T00:43:14.998" v="1782" actId="2696"/>
        <pc:sldMkLst>
          <pc:docMk/>
          <pc:sldMk cId="2883770247" sldId="320"/>
        </pc:sldMkLst>
      </pc:sldChg>
      <pc:sldChg chg="del">
        <pc:chgData name="Corey Yuan-Zhen Cao" userId="894c8f18-9551-4354-8c83-83a52876c78b" providerId="ADAL" clId="{5C20EACE-63ED-4F04-8D93-67A70AD2AE1B}" dt="2025-03-30T00:43:17.258" v="1783" actId="2696"/>
        <pc:sldMkLst>
          <pc:docMk/>
          <pc:sldMk cId="3751027074" sldId="321"/>
        </pc:sldMkLst>
      </pc:sldChg>
      <pc:sldChg chg="addSp delSp modSp mod modClrScheme chgLayout">
        <pc:chgData name="Corey Yuan-Zhen Cao" userId="894c8f18-9551-4354-8c83-83a52876c78b" providerId="ADAL" clId="{5C20EACE-63ED-4F04-8D93-67A70AD2AE1B}" dt="2025-03-30T00:42:54.600" v="1778" actId="207"/>
        <pc:sldMkLst>
          <pc:docMk/>
          <pc:sldMk cId="2218983133" sldId="2153"/>
        </pc:sldMkLst>
      </pc:sldChg>
      <pc:sldChg chg="modSp mod ord modShow">
        <pc:chgData name="Corey Yuan-Zhen Cao" userId="894c8f18-9551-4354-8c83-83a52876c78b" providerId="ADAL" clId="{5C20EACE-63ED-4F04-8D93-67A70AD2AE1B}" dt="2025-03-30T19:16:58.658" v="2235" actId="729"/>
        <pc:sldMkLst>
          <pc:docMk/>
          <pc:sldMk cId="4186388113" sldId="2159"/>
        </pc:sldMkLst>
        <pc:spChg chg="mod">
          <ac:chgData name="Corey Yuan-Zhen Cao" userId="894c8f18-9551-4354-8c83-83a52876c78b" providerId="ADAL" clId="{5C20EACE-63ED-4F04-8D93-67A70AD2AE1B}" dt="2025-03-30T19:06:26.325" v="2204" actId="207"/>
          <ac:spMkLst>
            <pc:docMk/>
            <pc:sldMk cId="4186388113" sldId="2159"/>
            <ac:spMk id="12" creationId="{3C58E064-3E33-6A8E-BAFF-2400D3B7A35B}"/>
          </ac:spMkLst>
        </pc:spChg>
      </pc:sldChg>
      <pc:sldChg chg="del ord">
        <pc:chgData name="Corey Yuan-Zhen Cao" userId="894c8f18-9551-4354-8c83-83a52876c78b" providerId="ADAL" clId="{5C20EACE-63ED-4F04-8D93-67A70AD2AE1B}" dt="2025-03-30T19:06:12.045" v="2203" actId="47"/>
        <pc:sldMkLst>
          <pc:docMk/>
          <pc:sldMk cId="4186388113" sldId="2161"/>
        </pc:sldMkLst>
      </pc:sldChg>
      <pc:sldChg chg="modSp mod">
        <pc:chgData name="Corey Yuan-Zhen Cao" userId="894c8f18-9551-4354-8c83-83a52876c78b" providerId="ADAL" clId="{5C20EACE-63ED-4F04-8D93-67A70AD2AE1B}" dt="2025-03-30T19:02:50.426" v="2198" actId="1076"/>
        <pc:sldMkLst>
          <pc:docMk/>
          <pc:sldMk cId="3634952081" sldId="2167"/>
        </pc:sldMkLst>
      </pc:sldChg>
      <pc:sldChg chg="addSp delSp modSp mod chgLayout">
        <pc:chgData name="Corey Yuan-Zhen Cao" userId="894c8f18-9551-4354-8c83-83a52876c78b" providerId="ADAL" clId="{5C20EACE-63ED-4F04-8D93-67A70AD2AE1B}" dt="2025-03-30T19:38:00.909" v="2321" actId="27636"/>
        <pc:sldMkLst>
          <pc:docMk/>
          <pc:sldMk cId="3761259953" sldId="2168"/>
        </pc:sldMkLst>
      </pc:sldChg>
      <pc:sldChg chg="modSp">
        <pc:chgData name="Corey Yuan-Zhen Cao" userId="894c8f18-9551-4354-8c83-83a52876c78b" providerId="ADAL" clId="{5C20EACE-63ED-4F04-8D93-67A70AD2AE1B}" dt="2025-03-30T19:08:26.305" v="2215" actId="208"/>
        <pc:sldMkLst>
          <pc:docMk/>
          <pc:sldMk cId="1597446827" sldId="2169"/>
        </pc:sldMkLst>
        <pc:graphicFrameChg chg="mod">
          <ac:chgData name="Corey Yuan-Zhen Cao" userId="894c8f18-9551-4354-8c83-83a52876c78b" providerId="ADAL" clId="{5C20EACE-63ED-4F04-8D93-67A70AD2AE1B}" dt="2025-03-30T19:08:26.305" v="2215" actId="208"/>
          <ac:graphicFrameMkLst>
            <pc:docMk/>
            <pc:sldMk cId="1597446827" sldId="2169"/>
            <ac:graphicFrameMk id="7" creationId="{114C8F58-CFE5-A3A3-CD3F-057CA571B4C4}"/>
          </ac:graphicFrameMkLst>
        </pc:graphicFrameChg>
      </pc:sldChg>
      <pc:sldChg chg="modSp mod">
        <pc:chgData name="Corey Yuan-Zhen Cao" userId="894c8f18-9551-4354-8c83-83a52876c78b" providerId="ADAL" clId="{5C20EACE-63ED-4F04-8D93-67A70AD2AE1B}" dt="2025-03-28T02:28:48.958" v="804" actId="113"/>
        <pc:sldMkLst>
          <pc:docMk/>
          <pc:sldMk cId="2526356922" sldId="2170"/>
        </pc:sldMkLst>
      </pc:sldChg>
      <pc:sldChg chg="modSp mod">
        <pc:chgData name="Corey Yuan-Zhen Cao" userId="894c8f18-9551-4354-8c83-83a52876c78b" providerId="ADAL" clId="{5C20EACE-63ED-4F04-8D93-67A70AD2AE1B}" dt="2025-03-30T18:50:42.150" v="2072"/>
        <pc:sldMkLst>
          <pc:docMk/>
          <pc:sldMk cId="711477750" sldId="2171"/>
        </pc:sldMkLst>
      </pc:sldChg>
      <pc:sldChg chg="modSp new del mod">
        <pc:chgData name="Corey Yuan-Zhen Cao" userId="894c8f18-9551-4354-8c83-83a52876c78b" providerId="ADAL" clId="{5C20EACE-63ED-4F04-8D93-67A70AD2AE1B}" dt="2025-03-30T00:43:03.533" v="1779" actId="2696"/>
        <pc:sldMkLst>
          <pc:docMk/>
          <pc:sldMk cId="1353127748" sldId="2173"/>
        </pc:sldMkLst>
      </pc:sldChg>
      <pc:sldChg chg="addSp delSp modSp new del mod ord modClrScheme chgLayout">
        <pc:chgData name="Corey Yuan-Zhen Cao" userId="894c8f18-9551-4354-8c83-83a52876c78b" providerId="ADAL" clId="{5C20EACE-63ED-4F04-8D93-67A70AD2AE1B}" dt="2025-03-28T03:11:18.873" v="1179" actId="47"/>
        <pc:sldMkLst>
          <pc:docMk/>
          <pc:sldMk cId="1567544534" sldId="2173"/>
        </pc:sldMkLst>
      </pc:sldChg>
      <pc:sldChg chg="addSp delSp modSp mod modClrScheme chgLayout">
        <pc:chgData name="Corey Yuan-Zhen Cao" userId="894c8f18-9551-4354-8c83-83a52876c78b" providerId="ADAL" clId="{5C20EACE-63ED-4F04-8D93-67A70AD2AE1B}" dt="2025-04-02T05:02:27.734" v="2967" actId="207"/>
        <pc:sldMkLst>
          <pc:docMk/>
          <pc:sldMk cId="99878240" sldId="2174"/>
        </pc:sldMkLst>
        <pc:spChg chg="add mod ord">
          <ac:chgData name="Corey Yuan-Zhen Cao" userId="894c8f18-9551-4354-8c83-83a52876c78b" providerId="ADAL" clId="{5C20EACE-63ED-4F04-8D93-67A70AD2AE1B}" dt="2025-03-30T17:00:02.453" v="1883" actId="700"/>
          <ac:spMkLst>
            <pc:docMk/>
            <pc:sldMk cId="99878240" sldId="2174"/>
            <ac:spMk id="2" creationId="{9C1FADC1-399A-6B7D-6C72-9A90E555A455}"/>
          </ac:spMkLst>
        </pc:spChg>
        <pc:spChg chg="add mod ord">
          <ac:chgData name="Corey Yuan-Zhen Cao" userId="894c8f18-9551-4354-8c83-83a52876c78b" providerId="ADAL" clId="{5C20EACE-63ED-4F04-8D93-67A70AD2AE1B}" dt="2025-03-30T17:36:55.320" v="2022"/>
          <ac:spMkLst>
            <pc:docMk/>
            <pc:sldMk cId="99878240" sldId="2174"/>
            <ac:spMk id="3" creationId="{5F38FCEE-2874-1445-EDD1-5980B7C0E1DE}"/>
          </ac:spMkLst>
        </pc:spChg>
        <pc:spChg chg="mod">
          <ac:chgData name="Corey Yuan-Zhen Cao" userId="894c8f18-9551-4354-8c83-83a52876c78b" providerId="ADAL" clId="{5C20EACE-63ED-4F04-8D93-67A70AD2AE1B}" dt="2025-04-01T17:55:30.199" v="2693" actId="1076"/>
          <ac:spMkLst>
            <pc:docMk/>
            <pc:sldMk cId="99878240" sldId="2174"/>
            <ac:spMk id="4" creationId="{DD2D97B0-1A3F-9E4A-8241-B88761663ACA}"/>
          </ac:spMkLst>
        </pc:spChg>
        <pc:spChg chg="mod">
          <ac:chgData name="Corey Yuan-Zhen Cao" userId="894c8f18-9551-4354-8c83-83a52876c78b" providerId="ADAL" clId="{5C20EACE-63ED-4F04-8D93-67A70AD2AE1B}" dt="2025-04-01T17:55:27.687" v="2692" actId="1076"/>
          <ac:spMkLst>
            <pc:docMk/>
            <pc:sldMk cId="99878240" sldId="2174"/>
            <ac:spMk id="5" creationId="{0FF2D5DE-20EA-DB93-6869-218BCF459B60}"/>
          </ac:spMkLst>
        </pc:spChg>
        <pc:spChg chg="mod ord">
          <ac:chgData name="Corey Yuan-Zhen Cao" userId="894c8f18-9551-4354-8c83-83a52876c78b" providerId="ADAL" clId="{5C20EACE-63ED-4F04-8D93-67A70AD2AE1B}" dt="2025-03-30T17:00:02.453" v="1883" actId="700"/>
          <ac:spMkLst>
            <pc:docMk/>
            <pc:sldMk cId="99878240" sldId="2174"/>
            <ac:spMk id="9" creationId="{87115979-9F7E-B653-38A8-7055EEE32051}"/>
          </ac:spMkLst>
        </pc:spChg>
        <pc:spChg chg="mod ord">
          <ac:chgData name="Corey Yuan-Zhen Cao" userId="894c8f18-9551-4354-8c83-83a52876c78b" providerId="ADAL" clId="{5C20EACE-63ED-4F04-8D93-67A70AD2AE1B}" dt="2025-03-30T17:00:02.453" v="1883" actId="700"/>
          <ac:spMkLst>
            <pc:docMk/>
            <pc:sldMk cId="99878240" sldId="2174"/>
            <ac:spMk id="10" creationId="{DE44CE6E-7600-6A4D-A9F0-808FAAA234B4}"/>
          </ac:spMkLst>
        </pc:spChg>
        <pc:spChg chg="mod ord">
          <ac:chgData name="Corey Yuan-Zhen Cao" userId="894c8f18-9551-4354-8c83-83a52876c78b" providerId="ADAL" clId="{5C20EACE-63ED-4F04-8D93-67A70AD2AE1B}" dt="2025-03-30T17:00:02.453" v="1883" actId="700"/>
          <ac:spMkLst>
            <pc:docMk/>
            <pc:sldMk cId="99878240" sldId="2174"/>
            <ac:spMk id="12" creationId="{2BD02593-F42A-73A6-6241-48387F6559F6}"/>
          </ac:spMkLst>
        </pc:spChg>
        <pc:graphicFrameChg chg="mod modGraphic">
          <ac:chgData name="Corey Yuan-Zhen Cao" userId="894c8f18-9551-4354-8c83-83a52876c78b" providerId="ADAL" clId="{5C20EACE-63ED-4F04-8D93-67A70AD2AE1B}" dt="2025-04-01T17:51:54.842" v="2691" actId="120"/>
          <ac:graphicFrameMkLst>
            <pc:docMk/>
            <pc:sldMk cId="99878240" sldId="2174"/>
            <ac:graphicFrameMk id="18" creationId="{B1D6163C-40B9-34AA-ED02-A4A696BE6F13}"/>
          </ac:graphicFrameMkLst>
        </pc:graphicFrameChg>
        <pc:graphicFrameChg chg="modGraphic">
          <ac:chgData name="Corey Yuan-Zhen Cao" userId="894c8f18-9551-4354-8c83-83a52876c78b" providerId="ADAL" clId="{5C20EACE-63ED-4F04-8D93-67A70AD2AE1B}" dt="2025-04-02T05:02:27.734" v="2967" actId="207"/>
          <ac:graphicFrameMkLst>
            <pc:docMk/>
            <pc:sldMk cId="99878240" sldId="2174"/>
            <ac:graphicFrameMk id="19" creationId="{13859A5B-7537-8969-C37D-60AC46A8A97C}"/>
          </ac:graphicFrameMkLst>
        </pc:graphicFrameChg>
        <pc:graphicFrameChg chg="mod modGraphic">
          <ac:chgData name="Corey Yuan-Zhen Cao" userId="894c8f18-9551-4354-8c83-83a52876c78b" providerId="ADAL" clId="{5C20EACE-63ED-4F04-8D93-67A70AD2AE1B}" dt="2025-03-30T17:01:51.006" v="1889" actId="207"/>
          <ac:graphicFrameMkLst>
            <pc:docMk/>
            <pc:sldMk cId="99878240" sldId="2174"/>
            <ac:graphicFrameMk id="24" creationId="{7C59455E-FF07-C056-6D59-43FE5AF8512D}"/>
          </ac:graphicFrameMkLst>
        </pc:graphicFrameChg>
      </pc:sldChg>
      <pc:sldChg chg="modSp mod">
        <pc:chgData name="Corey Yuan-Zhen Cao" userId="894c8f18-9551-4354-8c83-83a52876c78b" providerId="ADAL" clId="{5C20EACE-63ED-4F04-8D93-67A70AD2AE1B}" dt="2025-03-30T23:07:13.397" v="2345" actId="20577"/>
        <pc:sldMkLst>
          <pc:docMk/>
          <pc:sldMk cId="2320753107" sldId="2176"/>
        </pc:sldMkLst>
      </pc:sldChg>
      <pc:sldChg chg="modSp mod">
        <pc:chgData name="Corey Yuan-Zhen Cao" userId="894c8f18-9551-4354-8c83-83a52876c78b" providerId="ADAL" clId="{5C20EACE-63ED-4F04-8D93-67A70AD2AE1B}" dt="2025-04-02T04:55:06.315" v="2943" actId="1076"/>
        <pc:sldMkLst>
          <pc:docMk/>
          <pc:sldMk cId="2597588365" sldId="2177"/>
        </pc:sldMkLst>
        <pc:spChg chg="mod">
          <ac:chgData name="Corey Yuan-Zhen Cao" userId="894c8f18-9551-4354-8c83-83a52876c78b" providerId="ADAL" clId="{5C20EACE-63ED-4F04-8D93-67A70AD2AE1B}" dt="2025-04-02T04:55:06.315" v="2943" actId="1076"/>
          <ac:spMkLst>
            <pc:docMk/>
            <pc:sldMk cId="2597588365" sldId="2177"/>
            <ac:spMk id="2" creationId="{74C6DA9F-7102-1EEE-3C8B-A35CE30C9214}"/>
          </ac:spMkLst>
        </pc:spChg>
        <pc:spChg chg="mod">
          <ac:chgData name="Corey Yuan-Zhen Cao" userId="894c8f18-9551-4354-8c83-83a52876c78b" providerId="ADAL" clId="{5C20EACE-63ED-4F04-8D93-67A70AD2AE1B}" dt="2025-03-30T19:17:17.702" v="2258" actId="20577"/>
          <ac:spMkLst>
            <pc:docMk/>
            <pc:sldMk cId="2597588365" sldId="2177"/>
            <ac:spMk id="7" creationId="{6D1EABAA-7B0E-ADBC-0169-E15E543647C7}"/>
          </ac:spMkLst>
        </pc:spChg>
        <pc:spChg chg="mod">
          <ac:chgData name="Corey Yuan-Zhen Cao" userId="894c8f18-9551-4354-8c83-83a52876c78b" providerId="ADAL" clId="{5C20EACE-63ED-4F04-8D93-67A70AD2AE1B}" dt="2025-03-30T19:35:37.197" v="2314" actId="20577"/>
          <ac:spMkLst>
            <pc:docMk/>
            <pc:sldMk cId="2597588365" sldId="2177"/>
            <ac:spMk id="9" creationId="{D4747B61-57F0-6791-449F-EB707D7088F3}"/>
          </ac:spMkLst>
        </pc:spChg>
      </pc:sldChg>
      <pc:sldChg chg="modSp mod">
        <pc:chgData name="Corey Yuan-Zhen Cao" userId="894c8f18-9551-4354-8c83-83a52876c78b" providerId="ADAL" clId="{5C20EACE-63ED-4F04-8D93-67A70AD2AE1B}" dt="2025-03-30T00:44:26.870" v="1831" actId="20577"/>
        <pc:sldMkLst>
          <pc:docMk/>
          <pc:sldMk cId="2282471407" sldId="2178"/>
        </pc:sldMkLst>
      </pc:sldChg>
      <pc:sldChg chg="modSp mod ord">
        <pc:chgData name="Corey Yuan-Zhen Cao" userId="894c8f18-9551-4354-8c83-83a52876c78b" providerId="ADAL" clId="{5C20EACE-63ED-4F04-8D93-67A70AD2AE1B}" dt="2025-03-30T19:29:35.763" v="2293" actId="113"/>
        <pc:sldMkLst>
          <pc:docMk/>
          <pc:sldMk cId="3476286386" sldId="2192"/>
        </pc:sldMkLst>
      </pc:sldChg>
      <pc:sldChg chg="addSp delSp modSp del mod">
        <pc:chgData name="Corey Yuan-Zhen Cao" userId="894c8f18-9551-4354-8c83-83a52876c78b" providerId="ADAL" clId="{5C20EACE-63ED-4F04-8D93-67A70AD2AE1B}" dt="2025-03-30T19:02:29.710" v="2196" actId="2696"/>
        <pc:sldMkLst>
          <pc:docMk/>
          <pc:sldMk cId="2401392241" sldId="2193"/>
        </pc:sldMkLst>
      </pc:sldChg>
      <pc:sldChg chg="modSp mod">
        <pc:chgData name="Corey Yuan-Zhen Cao" userId="894c8f18-9551-4354-8c83-83a52876c78b" providerId="ADAL" clId="{5C20EACE-63ED-4F04-8D93-67A70AD2AE1B}" dt="2025-04-02T03:11:48.448" v="2857" actId="2711"/>
        <pc:sldMkLst>
          <pc:docMk/>
          <pc:sldMk cId="1378877601" sldId="2200"/>
        </pc:sldMkLst>
        <pc:spChg chg="mod">
          <ac:chgData name="Corey Yuan-Zhen Cao" userId="894c8f18-9551-4354-8c83-83a52876c78b" providerId="ADAL" clId="{5C20EACE-63ED-4F04-8D93-67A70AD2AE1B}" dt="2025-04-02T03:11:24.814" v="2853" actId="2711"/>
          <ac:spMkLst>
            <pc:docMk/>
            <pc:sldMk cId="1378877601" sldId="2200"/>
            <ac:spMk id="3" creationId="{A3B0234F-2970-37AC-22F2-7E620E9C49DD}"/>
          </ac:spMkLst>
        </pc:spChg>
        <pc:spChg chg="mod">
          <ac:chgData name="Corey Yuan-Zhen Cao" userId="894c8f18-9551-4354-8c83-83a52876c78b" providerId="ADAL" clId="{5C20EACE-63ED-4F04-8D93-67A70AD2AE1B}" dt="2025-04-02T03:11:33.496" v="2854" actId="2711"/>
          <ac:spMkLst>
            <pc:docMk/>
            <pc:sldMk cId="1378877601" sldId="2200"/>
            <ac:spMk id="4" creationId="{86EE4EE7-62F7-5894-02E0-22BB7446889D}"/>
          </ac:spMkLst>
        </pc:spChg>
        <pc:spChg chg="mod">
          <ac:chgData name="Corey Yuan-Zhen Cao" userId="894c8f18-9551-4354-8c83-83a52876c78b" providerId="ADAL" clId="{5C20EACE-63ED-4F04-8D93-67A70AD2AE1B}" dt="2025-04-02T03:11:42.431" v="2856" actId="2711"/>
          <ac:spMkLst>
            <pc:docMk/>
            <pc:sldMk cId="1378877601" sldId="2200"/>
            <ac:spMk id="12" creationId="{837376B0-0327-D841-C669-F56F275550DE}"/>
          </ac:spMkLst>
        </pc:spChg>
        <pc:spChg chg="mod">
          <ac:chgData name="Corey Yuan-Zhen Cao" userId="894c8f18-9551-4354-8c83-83a52876c78b" providerId="ADAL" clId="{5C20EACE-63ED-4F04-8D93-67A70AD2AE1B}" dt="2025-04-02T03:11:48.448" v="2857" actId="2711"/>
          <ac:spMkLst>
            <pc:docMk/>
            <pc:sldMk cId="1378877601" sldId="2200"/>
            <ac:spMk id="13" creationId="{937F035A-EE5D-CEE8-DB4F-965E478C5F14}"/>
          </ac:spMkLst>
        </pc:spChg>
        <pc:spChg chg="mod">
          <ac:chgData name="Corey Yuan-Zhen Cao" userId="894c8f18-9551-4354-8c83-83a52876c78b" providerId="ADAL" clId="{5C20EACE-63ED-4F04-8D93-67A70AD2AE1B}" dt="2025-04-02T03:11:18.662" v="2852" actId="2711"/>
          <ac:spMkLst>
            <pc:docMk/>
            <pc:sldMk cId="1378877601" sldId="2200"/>
            <ac:spMk id="26" creationId="{391EADB9-D6BC-8974-B7E5-C26531FDEFF7}"/>
          </ac:spMkLst>
        </pc:spChg>
      </pc:sldChg>
      <pc:sldChg chg="modSp mod">
        <pc:chgData name="Corey Yuan-Zhen Cao" userId="894c8f18-9551-4354-8c83-83a52876c78b" providerId="ADAL" clId="{5C20EACE-63ED-4F04-8D93-67A70AD2AE1B}" dt="2025-04-02T05:27:21.364" v="3614" actId="20577"/>
        <pc:sldMkLst>
          <pc:docMk/>
          <pc:sldMk cId="2575535093" sldId="2201"/>
        </pc:sldMkLst>
        <pc:spChg chg="mod">
          <ac:chgData name="Corey Yuan-Zhen Cao" userId="894c8f18-9551-4354-8c83-83a52876c78b" providerId="ADAL" clId="{5C20EACE-63ED-4F04-8D93-67A70AD2AE1B}" dt="2025-04-02T05:27:21.364" v="3614" actId="20577"/>
          <ac:spMkLst>
            <pc:docMk/>
            <pc:sldMk cId="2575535093" sldId="2201"/>
            <ac:spMk id="12" creationId="{AD3A6158-A6FB-7858-B98E-50119AAA694A}"/>
          </ac:spMkLst>
        </pc:spChg>
      </pc:sldChg>
      <pc:sldChg chg="modSp mod">
        <pc:chgData name="Corey Yuan-Zhen Cao" userId="894c8f18-9551-4354-8c83-83a52876c78b" providerId="ADAL" clId="{5C20EACE-63ED-4F04-8D93-67A70AD2AE1B}" dt="2025-03-30T18:48:27.628" v="2054" actId="207"/>
        <pc:sldMkLst>
          <pc:docMk/>
          <pc:sldMk cId="2791576213" sldId="2205"/>
        </pc:sldMkLst>
      </pc:sldChg>
      <pc:sldChg chg="addSp modSp mod chgLayout">
        <pc:chgData name="Corey Yuan-Zhen Cao" userId="894c8f18-9551-4354-8c83-83a52876c78b" providerId="ADAL" clId="{5C20EACE-63ED-4F04-8D93-67A70AD2AE1B}" dt="2025-04-01T18:07:57.316" v="2695" actId="700"/>
        <pc:sldMkLst>
          <pc:docMk/>
          <pc:sldMk cId="3341212199" sldId="2206"/>
        </pc:sldMkLst>
        <pc:spChg chg="mod ord">
          <ac:chgData name="Corey Yuan-Zhen Cao" userId="894c8f18-9551-4354-8c83-83a52876c78b" providerId="ADAL" clId="{5C20EACE-63ED-4F04-8D93-67A70AD2AE1B}" dt="2025-04-01T18:07:57.316" v="2695" actId="700"/>
          <ac:spMkLst>
            <pc:docMk/>
            <pc:sldMk cId="3341212199" sldId="2206"/>
            <ac:spMk id="2" creationId="{C42F6AEF-5588-5641-4437-8403048E91C8}"/>
          </ac:spMkLst>
        </pc:spChg>
        <pc:spChg chg="add mod ord">
          <ac:chgData name="Corey Yuan-Zhen Cao" userId="894c8f18-9551-4354-8c83-83a52876c78b" providerId="ADAL" clId="{5C20EACE-63ED-4F04-8D93-67A70AD2AE1B}" dt="2025-04-01T18:07:57.316" v="2695" actId="700"/>
          <ac:spMkLst>
            <pc:docMk/>
            <pc:sldMk cId="3341212199" sldId="2206"/>
            <ac:spMk id="3" creationId="{0A6E987A-CC6F-D485-A5DD-0B0DD8963F76}"/>
          </ac:spMkLst>
        </pc:spChg>
        <pc:spChg chg="mod ord">
          <ac:chgData name="Corey Yuan-Zhen Cao" userId="894c8f18-9551-4354-8c83-83a52876c78b" providerId="ADAL" clId="{5C20EACE-63ED-4F04-8D93-67A70AD2AE1B}" dt="2025-04-01T18:07:57.316" v="2695" actId="700"/>
          <ac:spMkLst>
            <pc:docMk/>
            <pc:sldMk cId="3341212199" sldId="2206"/>
            <ac:spMk id="4" creationId="{04CC6B0F-DD02-3463-181B-DDD6746DC048}"/>
          </ac:spMkLst>
        </pc:spChg>
        <pc:spChg chg="add mod ord">
          <ac:chgData name="Corey Yuan-Zhen Cao" userId="894c8f18-9551-4354-8c83-83a52876c78b" providerId="ADAL" clId="{5C20EACE-63ED-4F04-8D93-67A70AD2AE1B}" dt="2025-04-01T18:07:57.316" v="2695" actId="700"/>
          <ac:spMkLst>
            <pc:docMk/>
            <pc:sldMk cId="3341212199" sldId="2206"/>
            <ac:spMk id="5" creationId="{646874DE-B16E-B8F7-D353-CCE63943B58E}"/>
          </ac:spMkLst>
        </pc:spChg>
        <pc:spChg chg="mod ord">
          <ac:chgData name="Corey Yuan-Zhen Cao" userId="894c8f18-9551-4354-8c83-83a52876c78b" providerId="ADAL" clId="{5C20EACE-63ED-4F04-8D93-67A70AD2AE1B}" dt="2025-04-01T18:07:57.316" v="2695" actId="700"/>
          <ac:spMkLst>
            <pc:docMk/>
            <pc:sldMk cId="3341212199" sldId="2206"/>
            <ac:spMk id="6" creationId="{C59BBBDE-A6FE-0CF5-82FD-FBBDB72C1E5F}"/>
          </ac:spMkLst>
        </pc:spChg>
        <pc:spChg chg="mod ord">
          <ac:chgData name="Corey Yuan-Zhen Cao" userId="894c8f18-9551-4354-8c83-83a52876c78b" providerId="ADAL" clId="{5C20EACE-63ED-4F04-8D93-67A70AD2AE1B}" dt="2025-04-01T18:07:57.316" v="2695" actId="700"/>
          <ac:spMkLst>
            <pc:docMk/>
            <pc:sldMk cId="3341212199" sldId="2206"/>
            <ac:spMk id="7" creationId="{70B67451-D5C4-71B1-60D0-82AFE7BB14DA}"/>
          </ac:spMkLst>
        </pc:spChg>
        <pc:spChg chg="add mod ord">
          <ac:chgData name="Corey Yuan-Zhen Cao" userId="894c8f18-9551-4354-8c83-83a52876c78b" providerId="ADAL" clId="{5C20EACE-63ED-4F04-8D93-67A70AD2AE1B}" dt="2025-04-01T18:07:57.316" v="2695" actId="700"/>
          <ac:spMkLst>
            <pc:docMk/>
            <pc:sldMk cId="3341212199" sldId="2206"/>
            <ac:spMk id="8" creationId="{F4477AA5-739F-2694-5042-7A6B21966B8E}"/>
          </ac:spMkLst>
        </pc:spChg>
        <pc:spChg chg="mod ord">
          <ac:chgData name="Corey Yuan-Zhen Cao" userId="894c8f18-9551-4354-8c83-83a52876c78b" providerId="ADAL" clId="{5C20EACE-63ED-4F04-8D93-67A70AD2AE1B}" dt="2025-04-01T18:07:57.316" v="2695" actId="700"/>
          <ac:spMkLst>
            <pc:docMk/>
            <pc:sldMk cId="3341212199" sldId="2206"/>
            <ac:spMk id="9" creationId="{26859CC7-E742-6183-E02D-6B69BD5ECC7B}"/>
          </ac:spMkLst>
        </pc:spChg>
        <pc:graphicFrameChg chg="mod ord modGraphic">
          <ac:chgData name="Corey Yuan-Zhen Cao" userId="894c8f18-9551-4354-8c83-83a52876c78b" providerId="ADAL" clId="{5C20EACE-63ED-4F04-8D93-67A70AD2AE1B}" dt="2025-04-01T18:07:57.316" v="2695" actId="700"/>
          <ac:graphicFrameMkLst>
            <pc:docMk/>
            <pc:sldMk cId="3341212199" sldId="2206"/>
            <ac:graphicFrameMk id="27" creationId="{A56F8AC7-36CE-8FA4-F0F3-DDBFF44928AB}"/>
          </ac:graphicFrameMkLst>
        </pc:graphicFrameChg>
      </pc:sldChg>
      <pc:sldChg chg="addSp delSp modSp new del mod">
        <pc:chgData name="Corey Yuan-Zhen Cao" userId="894c8f18-9551-4354-8c83-83a52876c78b" providerId="ADAL" clId="{5C20EACE-63ED-4F04-8D93-67A70AD2AE1B}" dt="2025-03-30T19:38:51.181" v="2330" actId="2696"/>
        <pc:sldMkLst>
          <pc:docMk/>
          <pc:sldMk cId="3400760720" sldId="2206"/>
        </pc:sldMkLst>
      </pc:sldChg>
      <pc:sldChg chg="del">
        <pc:chgData name="Corey Yuan-Zhen Cao" userId="894c8f18-9551-4354-8c83-83a52876c78b" providerId="ADAL" clId="{5C20EACE-63ED-4F04-8D93-67A70AD2AE1B}" dt="2025-03-31T03:06:24.669" v="2350" actId="47"/>
        <pc:sldMkLst>
          <pc:docMk/>
          <pc:sldMk cId="2406508181" sldId="2208"/>
        </pc:sldMkLst>
      </pc:sldChg>
      <pc:sldChg chg="modSp mod">
        <pc:chgData name="Corey Yuan-Zhen Cao" userId="894c8f18-9551-4354-8c83-83a52876c78b" providerId="ADAL" clId="{5C20EACE-63ED-4F04-8D93-67A70AD2AE1B}" dt="2025-03-31T18:49:55.784" v="2581" actId="14100"/>
        <pc:sldMkLst>
          <pc:docMk/>
          <pc:sldMk cId="769096934" sldId="2210"/>
        </pc:sldMkLst>
        <pc:spChg chg="mod">
          <ac:chgData name="Corey Yuan-Zhen Cao" userId="894c8f18-9551-4354-8c83-83a52876c78b" providerId="ADAL" clId="{5C20EACE-63ED-4F04-8D93-67A70AD2AE1B}" dt="2025-03-31T18:49:46.847" v="2579" actId="1076"/>
          <ac:spMkLst>
            <pc:docMk/>
            <pc:sldMk cId="769096934" sldId="2210"/>
            <ac:spMk id="6" creationId="{4B7DB092-683D-6256-1958-DDA729BDCC59}"/>
          </ac:spMkLst>
        </pc:spChg>
        <pc:spChg chg="mod">
          <ac:chgData name="Corey Yuan-Zhen Cao" userId="894c8f18-9551-4354-8c83-83a52876c78b" providerId="ADAL" clId="{5C20EACE-63ED-4F04-8D93-67A70AD2AE1B}" dt="2025-03-31T17:19:13.761" v="2483" actId="2711"/>
          <ac:spMkLst>
            <pc:docMk/>
            <pc:sldMk cId="769096934" sldId="2210"/>
            <ac:spMk id="10" creationId="{E0E00BEC-57BF-3B24-0ED4-00223DE44ADB}"/>
          </ac:spMkLst>
        </pc:spChg>
        <pc:spChg chg="mod">
          <ac:chgData name="Corey Yuan-Zhen Cao" userId="894c8f18-9551-4354-8c83-83a52876c78b" providerId="ADAL" clId="{5C20EACE-63ED-4F04-8D93-67A70AD2AE1B}" dt="2025-03-31T17:19:22.064" v="2484" actId="2711"/>
          <ac:spMkLst>
            <pc:docMk/>
            <pc:sldMk cId="769096934" sldId="2210"/>
            <ac:spMk id="11" creationId="{70CC154B-462F-66BC-A323-AEE01C5A9DAE}"/>
          </ac:spMkLst>
        </pc:spChg>
        <pc:grpChg chg="mod">
          <ac:chgData name="Corey Yuan-Zhen Cao" userId="894c8f18-9551-4354-8c83-83a52876c78b" providerId="ADAL" clId="{5C20EACE-63ED-4F04-8D93-67A70AD2AE1B}" dt="2025-03-31T18:49:55.784" v="2581" actId="14100"/>
          <ac:grpSpMkLst>
            <pc:docMk/>
            <pc:sldMk cId="769096934" sldId="2210"/>
            <ac:grpSpMk id="13" creationId="{EF8AB33B-733A-F81D-4C0B-46B9A69AAC71}"/>
          </ac:grpSpMkLst>
        </pc:grpChg>
        <pc:graphicFrameChg chg="mod">
          <ac:chgData name="Corey Yuan-Zhen Cao" userId="894c8f18-9551-4354-8c83-83a52876c78b" providerId="ADAL" clId="{5C20EACE-63ED-4F04-8D93-67A70AD2AE1B}" dt="2025-03-31T18:49:47.279" v="2580"/>
          <ac:graphicFrameMkLst>
            <pc:docMk/>
            <pc:sldMk cId="769096934" sldId="2210"/>
            <ac:graphicFrameMk id="8" creationId="{D32D1A77-0C79-FEB7-48EC-42CC2EBE64E8}"/>
          </ac:graphicFrameMkLst>
        </pc:graphicFrameChg>
      </pc:sldChg>
      <pc:sldChg chg="modSp mod">
        <pc:chgData name="Corey Yuan-Zhen Cao" userId="894c8f18-9551-4354-8c83-83a52876c78b" providerId="ADAL" clId="{5C20EACE-63ED-4F04-8D93-67A70AD2AE1B}" dt="2025-03-31T17:18:55.617" v="2482" actId="947"/>
        <pc:sldMkLst>
          <pc:docMk/>
          <pc:sldMk cId="1933953106" sldId="2212"/>
        </pc:sldMkLst>
        <pc:graphicFrameChg chg="modGraphic">
          <ac:chgData name="Corey Yuan-Zhen Cao" userId="894c8f18-9551-4354-8c83-83a52876c78b" providerId="ADAL" clId="{5C20EACE-63ED-4F04-8D93-67A70AD2AE1B}" dt="2025-03-31T17:18:55.617" v="2482" actId="947"/>
          <ac:graphicFrameMkLst>
            <pc:docMk/>
            <pc:sldMk cId="1933953106" sldId="2212"/>
            <ac:graphicFrameMk id="9" creationId="{AF46ECF5-018E-1654-B717-6152176E90CC}"/>
          </ac:graphicFrameMkLst>
        </pc:graphicFrameChg>
      </pc:sldChg>
      <pc:sldChg chg="modSp mod">
        <pc:chgData name="Corey Yuan-Zhen Cao" userId="894c8f18-9551-4354-8c83-83a52876c78b" providerId="ADAL" clId="{5C20EACE-63ED-4F04-8D93-67A70AD2AE1B}" dt="2025-03-31T19:09:17.932" v="2683" actId="207"/>
        <pc:sldMkLst>
          <pc:docMk/>
          <pc:sldMk cId="1820830921" sldId="2213"/>
        </pc:sldMkLst>
        <pc:spChg chg="mod">
          <ac:chgData name="Corey Yuan-Zhen Cao" userId="894c8f18-9551-4354-8c83-83a52876c78b" providerId="ADAL" clId="{5C20EACE-63ED-4F04-8D93-67A70AD2AE1B}" dt="2025-03-31T19:09:00.606" v="2675" actId="207"/>
          <ac:spMkLst>
            <pc:docMk/>
            <pc:sldMk cId="1820830921" sldId="2213"/>
            <ac:spMk id="9" creationId="{282A67F6-1511-2C44-19D3-8E3A70B6C38C}"/>
          </ac:spMkLst>
        </pc:spChg>
        <pc:spChg chg="mod">
          <ac:chgData name="Corey Yuan-Zhen Cao" userId="894c8f18-9551-4354-8c83-83a52876c78b" providerId="ADAL" clId="{5C20EACE-63ED-4F04-8D93-67A70AD2AE1B}" dt="2025-03-31T19:09:02.616" v="2676" actId="207"/>
          <ac:spMkLst>
            <pc:docMk/>
            <pc:sldMk cId="1820830921" sldId="2213"/>
            <ac:spMk id="10" creationId="{584EE90B-9EAE-2082-5D21-3146D0735A32}"/>
          </ac:spMkLst>
        </pc:spChg>
        <pc:spChg chg="mod">
          <ac:chgData name="Corey Yuan-Zhen Cao" userId="894c8f18-9551-4354-8c83-83a52876c78b" providerId="ADAL" clId="{5C20EACE-63ED-4F04-8D93-67A70AD2AE1B}" dt="2025-03-31T19:09:04.841" v="2677" actId="207"/>
          <ac:spMkLst>
            <pc:docMk/>
            <pc:sldMk cId="1820830921" sldId="2213"/>
            <ac:spMk id="11" creationId="{D2533D0A-376D-51EC-3487-CCC3599B3ED9}"/>
          </ac:spMkLst>
        </pc:spChg>
        <pc:spChg chg="mod">
          <ac:chgData name="Corey Yuan-Zhen Cao" userId="894c8f18-9551-4354-8c83-83a52876c78b" providerId="ADAL" clId="{5C20EACE-63ED-4F04-8D93-67A70AD2AE1B}" dt="2025-03-31T19:09:10.872" v="2680" actId="207"/>
          <ac:spMkLst>
            <pc:docMk/>
            <pc:sldMk cId="1820830921" sldId="2213"/>
            <ac:spMk id="14" creationId="{E1A140DF-9E9E-40CE-B33A-828F954627B5}"/>
          </ac:spMkLst>
        </pc:spChg>
        <pc:spChg chg="mod">
          <ac:chgData name="Corey Yuan-Zhen Cao" userId="894c8f18-9551-4354-8c83-83a52876c78b" providerId="ADAL" clId="{5C20EACE-63ED-4F04-8D93-67A70AD2AE1B}" dt="2025-03-31T19:09:09.241" v="2679" actId="207"/>
          <ac:spMkLst>
            <pc:docMk/>
            <pc:sldMk cId="1820830921" sldId="2213"/>
            <ac:spMk id="15" creationId="{8A8A28E7-87C7-21EF-2751-DF838415F56F}"/>
          </ac:spMkLst>
        </pc:spChg>
        <pc:spChg chg="mod">
          <ac:chgData name="Corey Yuan-Zhen Cao" userId="894c8f18-9551-4354-8c83-83a52876c78b" providerId="ADAL" clId="{5C20EACE-63ED-4F04-8D93-67A70AD2AE1B}" dt="2025-03-31T19:09:07.416" v="2678" actId="207"/>
          <ac:spMkLst>
            <pc:docMk/>
            <pc:sldMk cId="1820830921" sldId="2213"/>
            <ac:spMk id="18" creationId="{F52DA4F7-071B-D933-6A98-C523BC2ACECC}"/>
          </ac:spMkLst>
        </pc:spChg>
        <pc:spChg chg="mod">
          <ac:chgData name="Corey Yuan-Zhen Cao" userId="894c8f18-9551-4354-8c83-83a52876c78b" providerId="ADAL" clId="{5C20EACE-63ED-4F04-8D93-67A70AD2AE1B}" dt="2025-03-31T19:09:13.331" v="2681" actId="207"/>
          <ac:spMkLst>
            <pc:docMk/>
            <pc:sldMk cId="1820830921" sldId="2213"/>
            <ac:spMk id="19" creationId="{814AF4B5-E4A8-3BB6-9C5E-AAEEE0B0FBDA}"/>
          </ac:spMkLst>
        </pc:spChg>
        <pc:graphicFrameChg chg="modGraphic">
          <ac:chgData name="Corey Yuan-Zhen Cao" userId="894c8f18-9551-4354-8c83-83a52876c78b" providerId="ADAL" clId="{5C20EACE-63ED-4F04-8D93-67A70AD2AE1B}" dt="2025-03-31T19:09:17.932" v="2683" actId="207"/>
          <ac:graphicFrameMkLst>
            <pc:docMk/>
            <pc:sldMk cId="1820830921" sldId="2213"/>
            <ac:graphicFrameMk id="7" creationId="{E0F1B0F6-866A-B49C-FE6B-0DD023BB3CBC}"/>
          </ac:graphicFrameMkLst>
        </pc:graphicFrameChg>
      </pc:sldChg>
      <pc:sldChg chg="modSp mod">
        <pc:chgData name="Corey Yuan-Zhen Cao" userId="894c8f18-9551-4354-8c83-83a52876c78b" providerId="ADAL" clId="{5C20EACE-63ED-4F04-8D93-67A70AD2AE1B}" dt="2025-03-31T03:37:26.080" v="2480" actId="20577"/>
        <pc:sldMkLst>
          <pc:docMk/>
          <pc:sldMk cId="605004554" sldId="2215"/>
        </pc:sldMkLst>
        <pc:spChg chg="mod">
          <ac:chgData name="Corey Yuan-Zhen Cao" userId="894c8f18-9551-4354-8c83-83a52876c78b" providerId="ADAL" clId="{5C20EACE-63ED-4F04-8D93-67A70AD2AE1B}" dt="2025-03-31T03:37:17.355" v="2461" actId="20577"/>
          <ac:spMkLst>
            <pc:docMk/>
            <pc:sldMk cId="605004554" sldId="2215"/>
            <ac:spMk id="22" creationId="{AD4C4200-8D2C-96A8-B82C-FAA3CEA75F3E}"/>
          </ac:spMkLst>
        </pc:spChg>
        <pc:spChg chg="mod">
          <ac:chgData name="Corey Yuan-Zhen Cao" userId="894c8f18-9551-4354-8c83-83a52876c78b" providerId="ADAL" clId="{5C20EACE-63ED-4F04-8D93-67A70AD2AE1B}" dt="2025-03-31T03:37:26.080" v="2480" actId="20577"/>
          <ac:spMkLst>
            <pc:docMk/>
            <pc:sldMk cId="605004554" sldId="2215"/>
            <ac:spMk id="23" creationId="{618B0FF2-6890-ACA9-9340-3573CD6E21CD}"/>
          </ac:spMkLst>
        </pc:spChg>
        <pc:spChg chg="mod">
          <ac:chgData name="Corey Yuan-Zhen Cao" userId="894c8f18-9551-4354-8c83-83a52876c78b" providerId="ADAL" clId="{5C20EACE-63ED-4F04-8D93-67A70AD2AE1B}" dt="2025-03-31T03:36:58.298" v="2419" actId="20577"/>
          <ac:spMkLst>
            <pc:docMk/>
            <pc:sldMk cId="605004554" sldId="2215"/>
            <ac:spMk id="24" creationId="{FF9E2B43-A852-6782-D0C4-3F4E27137DE2}"/>
          </ac:spMkLst>
        </pc:spChg>
      </pc:sldChg>
      <pc:sldChg chg="addSp delSp modSp mod modClrScheme chgLayout">
        <pc:chgData name="Corey Yuan-Zhen Cao" userId="894c8f18-9551-4354-8c83-83a52876c78b" providerId="ADAL" clId="{5C20EACE-63ED-4F04-8D93-67A70AD2AE1B}" dt="2025-04-01T17:56:00.338" v="2694" actId="700"/>
        <pc:sldMkLst>
          <pc:docMk/>
          <pc:sldMk cId="4021520181" sldId="2220"/>
        </pc:sldMkLst>
        <pc:spChg chg="add mod ord">
          <ac:chgData name="Corey Yuan-Zhen Cao" userId="894c8f18-9551-4354-8c83-83a52876c78b" providerId="ADAL" clId="{5C20EACE-63ED-4F04-8D93-67A70AD2AE1B}" dt="2025-04-01T17:56:00.338" v="2694" actId="700"/>
          <ac:spMkLst>
            <pc:docMk/>
            <pc:sldMk cId="4021520181" sldId="2220"/>
            <ac:spMk id="3" creationId="{03AB8CB8-FAAB-9318-83E9-093E04D76CFA}"/>
          </ac:spMkLst>
        </pc:spChg>
        <pc:spChg chg="add mod ord">
          <ac:chgData name="Corey Yuan-Zhen Cao" userId="894c8f18-9551-4354-8c83-83a52876c78b" providerId="ADAL" clId="{5C20EACE-63ED-4F04-8D93-67A70AD2AE1B}" dt="2025-04-01T17:56:00.338" v="2694" actId="700"/>
          <ac:spMkLst>
            <pc:docMk/>
            <pc:sldMk cId="4021520181" sldId="2220"/>
            <ac:spMk id="4" creationId="{3A4BC900-E4E2-7C3C-149A-E70894CB3619}"/>
          </ac:spMkLst>
        </pc:spChg>
        <pc:spChg chg="add mod ord">
          <ac:chgData name="Corey Yuan-Zhen Cao" userId="894c8f18-9551-4354-8c83-83a52876c78b" providerId="ADAL" clId="{5C20EACE-63ED-4F04-8D93-67A70AD2AE1B}" dt="2025-04-01T17:56:00.338" v="2694" actId="700"/>
          <ac:spMkLst>
            <pc:docMk/>
            <pc:sldMk cId="4021520181" sldId="2220"/>
            <ac:spMk id="5" creationId="{67AAC079-B472-6AAC-2B63-2B636051ED09}"/>
          </ac:spMkLst>
        </pc:spChg>
        <pc:spChg chg="add mod ord">
          <ac:chgData name="Corey Yuan-Zhen Cao" userId="894c8f18-9551-4354-8c83-83a52876c78b" providerId="ADAL" clId="{5C20EACE-63ED-4F04-8D93-67A70AD2AE1B}" dt="2025-04-01T17:56:00.338" v="2694" actId="700"/>
          <ac:spMkLst>
            <pc:docMk/>
            <pc:sldMk cId="4021520181" sldId="2220"/>
            <ac:spMk id="6" creationId="{BA48D43F-B6B1-AFF7-5DDB-02CB3AF363F0}"/>
          </ac:spMkLst>
        </pc:spChg>
        <pc:spChg chg="add mod ord">
          <ac:chgData name="Corey Yuan-Zhen Cao" userId="894c8f18-9551-4354-8c83-83a52876c78b" providerId="ADAL" clId="{5C20EACE-63ED-4F04-8D93-67A70AD2AE1B}" dt="2025-04-01T17:56:00.338" v="2694" actId="700"/>
          <ac:spMkLst>
            <pc:docMk/>
            <pc:sldMk cId="4021520181" sldId="2220"/>
            <ac:spMk id="7" creationId="{737FF6A8-6193-3394-AF2F-62F20CAD9B4F}"/>
          </ac:spMkLst>
        </pc:spChg>
        <pc:spChg chg="add mod ord">
          <ac:chgData name="Corey Yuan-Zhen Cao" userId="894c8f18-9551-4354-8c83-83a52876c78b" providerId="ADAL" clId="{5C20EACE-63ED-4F04-8D93-67A70AD2AE1B}" dt="2025-04-01T17:56:00.338" v="2694" actId="700"/>
          <ac:spMkLst>
            <pc:docMk/>
            <pc:sldMk cId="4021520181" sldId="2220"/>
            <ac:spMk id="8" creationId="{D8F896CF-2FB4-5A4D-9A4E-3A31EDD3CCF3}"/>
          </ac:spMkLst>
        </pc:spChg>
        <pc:spChg chg="mod ord">
          <ac:chgData name="Corey Yuan-Zhen Cao" userId="894c8f18-9551-4354-8c83-83a52876c78b" providerId="ADAL" clId="{5C20EACE-63ED-4F04-8D93-67A70AD2AE1B}" dt="2025-04-01T17:56:00.338" v="2694" actId="700"/>
          <ac:spMkLst>
            <pc:docMk/>
            <pc:sldMk cId="4021520181" sldId="2220"/>
            <ac:spMk id="11" creationId="{160DFDC1-F4DC-C312-4389-C5FCA4221409}"/>
          </ac:spMkLst>
        </pc:spChg>
        <pc:spChg chg="del mod ord">
          <ac:chgData name="Corey Yuan-Zhen Cao" userId="894c8f18-9551-4354-8c83-83a52876c78b" providerId="ADAL" clId="{5C20EACE-63ED-4F04-8D93-67A70AD2AE1B}" dt="2025-04-01T17:56:00.338" v="2694" actId="700"/>
          <ac:spMkLst>
            <pc:docMk/>
            <pc:sldMk cId="4021520181" sldId="2220"/>
            <ac:spMk id="12" creationId="{7DE0C440-CEFD-2F28-6596-B689B75DADE7}"/>
          </ac:spMkLst>
        </pc:spChg>
        <pc:spChg chg="mod ord">
          <ac:chgData name="Corey Yuan-Zhen Cao" userId="894c8f18-9551-4354-8c83-83a52876c78b" providerId="ADAL" clId="{5C20EACE-63ED-4F04-8D93-67A70AD2AE1B}" dt="2025-04-01T17:56:00.338" v="2694" actId="700"/>
          <ac:spMkLst>
            <pc:docMk/>
            <pc:sldMk cId="4021520181" sldId="2220"/>
            <ac:spMk id="14" creationId="{D506D61A-4316-130B-7A4A-0FCB74379AEA}"/>
          </ac:spMkLst>
        </pc:spChg>
        <pc:graphicFrameChg chg="mod ord">
          <ac:chgData name="Corey Yuan-Zhen Cao" userId="894c8f18-9551-4354-8c83-83a52876c78b" providerId="ADAL" clId="{5C20EACE-63ED-4F04-8D93-67A70AD2AE1B}" dt="2025-04-01T17:56:00.338" v="2694" actId="700"/>
          <ac:graphicFrameMkLst>
            <pc:docMk/>
            <pc:sldMk cId="4021520181" sldId="2220"/>
            <ac:graphicFrameMk id="15" creationId="{A0F5CAC2-5EFD-9B79-FC6F-0B7D90F92183}"/>
          </ac:graphicFrameMkLst>
        </pc:graphicFrameChg>
      </pc:sldChg>
      <pc:sldChg chg="modSp add del">
        <pc:chgData name="Corey Yuan-Zhen Cao" userId="894c8f18-9551-4354-8c83-83a52876c78b" providerId="ADAL" clId="{5C20EACE-63ED-4F04-8D93-67A70AD2AE1B}" dt="2025-03-31T18:47:37.058" v="2570" actId="2696"/>
        <pc:sldMkLst>
          <pc:docMk/>
          <pc:sldMk cId="178846379" sldId="2221"/>
        </pc:sldMkLst>
      </pc:sldChg>
      <pc:sldChg chg="addSp modSp add del">
        <pc:chgData name="Corey Yuan-Zhen Cao" userId="894c8f18-9551-4354-8c83-83a52876c78b" providerId="ADAL" clId="{5C20EACE-63ED-4F04-8D93-67A70AD2AE1B}" dt="2025-03-31T18:46:44.844" v="2567" actId="2696"/>
        <pc:sldMkLst>
          <pc:docMk/>
          <pc:sldMk cId="2497641236" sldId="2221"/>
        </pc:sldMkLst>
      </pc:sldChg>
      <pc:sldChg chg="new del">
        <pc:chgData name="Corey Yuan-Zhen Cao" userId="894c8f18-9551-4354-8c83-83a52876c78b" providerId="ADAL" clId="{5C20EACE-63ED-4F04-8D93-67A70AD2AE1B}" dt="2025-03-31T18:45:08.638" v="2561" actId="2696"/>
        <pc:sldMkLst>
          <pc:docMk/>
          <pc:sldMk cId="3875708587" sldId="2221"/>
        </pc:sldMkLst>
      </pc:sldChg>
      <pc:sldChg chg="modSp add mod ord">
        <pc:chgData name="Corey Yuan-Zhen Cao" userId="894c8f18-9551-4354-8c83-83a52876c78b" providerId="ADAL" clId="{5C20EACE-63ED-4F04-8D93-67A70AD2AE1B}" dt="2025-03-31T18:52:13.966" v="2598"/>
        <pc:sldMkLst>
          <pc:docMk/>
          <pc:sldMk cId="3858565632" sldId="2222"/>
        </pc:sldMkLst>
        <pc:spChg chg="mod">
          <ac:chgData name="Corey Yuan-Zhen Cao" userId="894c8f18-9551-4354-8c83-83a52876c78b" providerId="ADAL" clId="{5C20EACE-63ED-4F04-8D93-67A70AD2AE1B}" dt="2025-03-31T18:52:12.304" v="2596"/>
          <ac:spMkLst>
            <pc:docMk/>
            <pc:sldMk cId="3858565632" sldId="2222"/>
            <ac:spMk id="8" creationId="{0A22C6E6-660B-8007-1A90-0DC3C763A338}"/>
          </ac:spMkLst>
        </pc:spChg>
        <pc:spChg chg="mod">
          <ac:chgData name="Corey Yuan-Zhen Cao" userId="894c8f18-9551-4354-8c83-83a52876c78b" providerId="ADAL" clId="{5C20EACE-63ED-4F04-8D93-67A70AD2AE1B}" dt="2025-03-31T18:50:59.993" v="2587" actId="20577"/>
          <ac:spMkLst>
            <pc:docMk/>
            <pc:sldMk cId="3858565632" sldId="2222"/>
            <ac:spMk id="19" creationId="{9ACDABC7-5521-0781-B29B-60723A172D1E}"/>
          </ac:spMkLst>
        </pc:spChg>
      </pc:sldChg>
      <pc:sldChg chg="new del">
        <pc:chgData name="Corey Yuan-Zhen Cao" userId="894c8f18-9551-4354-8c83-83a52876c78b" providerId="ADAL" clId="{5C20EACE-63ED-4F04-8D93-67A70AD2AE1B}" dt="2025-03-31T18:58:46.367" v="2669" actId="2696"/>
        <pc:sldMkLst>
          <pc:docMk/>
          <pc:sldMk cId="1855374186" sldId="2223"/>
        </pc:sldMkLst>
      </pc:sldChg>
      <pc:sldChg chg="add">
        <pc:chgData name="Corey Yuan-Zhen Cao" userId="894c8f18-9551-4354-8c83-83a52876c78b" providerId="ADAL" clId="{5C20EACE-63ED-4F04-8D93-67A70AD2AE1B}" dt="2025-03-31T19:10:20.326" v="2685" actId="2890"/>
        <pc:sldMkLst>
          <pc:docMk/>
          <pc:sldMk cId="2561940492" sldId="2225"/>
        </pc:sldMkLst>
      </pc:sldChg>
      <pc:sldChg chg="modSp mod">
        <pc:chgData name="Corey Yuan-Zhen Cao" userId="894c8f18-9551-4354-8c83-83a52876c78b" providerId="ADAL" clId="{5C20EACE-63ED-4F04-8D93-67A70AD2AE1B}" dt="2025-04-02T03:15:27.207" v="2864" actId="207"/>
        <pc:sldMkLst>
          <pc:docMk/>
          <pc:sldMk cId="1295462071" sldId="2229"/>
        </pc:sldMkLst>
        <pc:spChg chg="mod">
          <ac:chgData name="Corey Yuan-Zhen Cao" userId="894c8f18-9551-4354-8c83-83a52876c78b" providerId="ADAL" clId="{5C20EACE-63ED-4F04-8D93-67A70AD2AE1B}" dt="2025-04-02T03:14:51.312" v="2859" actId="207"/>
          <ac:spMkLst>
            <pc:docMk/>
            <pc:sldMk cId="1295462071" sldId="2229"/>
            <ac:spMk id="7" creationId="{B4529011-0E42-02D4-E3F9-0B066AB40722}"/>
          </ac:spMkLst>
        </pc:spChg>
        <pc:spChg chg="mod">
          <ac:chgData name="Corey Yuan-Zhen Cao" userId="894c8f18-9551-4354-8c83-83a52876c78b" providerId="ADAL" clId="{5C20EACE-63ED-4F04-8D93-67A70AD2AE1B}" dt="2025-04-02T03:14:54.033" v="2860" actId="207"/>
          <ac:spMkLst>
            <pc:docMk/>
            <pc:sldMk cId="1295462071" sldId="2229"/>
            <ac:spMk id="8" creationId="{52733E81-2DFB-59EF-603B-122C0658301F}"/>
          </ac:spMkLst>
        </pc:spChg>
        <pc:graphicFrameChg chg="modGraphic">
          <ac:chgData name="Corey Yuan-Zhen Cao" userId="894c8f18-9551-4354-8c83-83a52876c78b" providerId="ADAL" clId="{5C20EACE-63ED-4F04-8D93-67A70AD2AE1B}" dt="2025-04-02T03:15:27.207" v="2864" actId="207"/>
          <ac:graphicFrameMkLst>
            <pc:docMk/>
            <pc:sldMk cId="1295462071" sldId="2229"/>
            <ac:graphicFrameMk id="6" creationId="{90D84662-5365-3BF3-0454-4B139F8F04A8}"/>
          </ac:graphicFrameMkLst>
        </pc:graphicFrameChg>
      </pc:sldChg>
      <pc:sldChg chg="modSp">
        <pc:chgData name="Corey Yuan-Zhen Cao" userId="894c8f18-9551-4354-8c83-83a52876c78b" providerId="ADAL" clId="{5C20EACE-63ED-4F04-8D93-67A70AD2AE1B}" dt="2025-04-02T15:24:43.612" v="3650" actId="20577"/>
        <pc:sldMkLst>
          <pc:docMk/>
          <pc:sldMk cId="3295877462" sldId="2230"/>
        </pc:sldMkLst>
        <pc:graphicFrameChg chg="mod">
          <ac:chgData name="Corey Yuan-Zhen Cao" userId="894c8f18-9551-4354-8c83-83a52876c78b" providerId="ADAL" clId="{5C20EACE-63ED-4F04-8D93-67A70AD2AE1B}" dt="2025-04-02T15:24:04.498" v="3644" actId="20577"/>
          <ac:graphicFrameMkLst>
            <pc:docMk/>
            <pc:sldMk cId="3295877462" sldId="2230"/>
            <ac:graphicFrameMk id="3" creationId="{BDF05900-847B-46BD-2D9C-CD26C8125E96}"/>
          </ac:graphicFrameMkLst>
        </pc:graphicFrameChg>
        <pc:graphicFrameChg chg="mod">
          <ac:chgData name="Corey Yuan-Zhen Cao" userId="894c8f18-9551-4354-8c83-83a52876c78b" providerId="ADAL" clId="{5C20EACE-63ED-4F04-8D93-67A70AD2AE1B}" dt="2025-04-02T15:24:43.612" v="3650" actId="20577"/>
          <ac:graphicFrameMkLst>
            <pc:docMk/>
            <pc:sldMk cId="3295877462" sldId="2230"/>
            <ac:graphicFrameMk id="21" creationId="{B58695DF-25CF-FD59-B42F-545CD329FBE5}"/>
          </ac:graphicFrameMkLst>
        </pc:graphicFrameChg>
      </pc:sldChg>
      <pc:sldChg chg="modSp del mod">
        <pc:chgData name="Corey Yuan-Zhen Cao" userId="894c8f18-9551-4354-8c83-83a52876c78b" providerId="ADAL" clId="{5C20EACE-63ED-4F04-8D93-67A70AD2AE1B}" dt="2025-04-02T03:41:22.358" v="2865" actId="47"/>
        <pc:sldMkLst>
          <pc:docMk/>
          <pc:sldMk cId="126571796" sldId="2237"/>
        </pc:sldMkLst>
        <pc:spChg chg="mod">
          <ac:chgData name="Corey Yuan-Zhen Cao" userId="894c8f18-9551-4354-8c83-83a52876c78b" providerId="ADAL" clId="{5C20EACE-63ED-4F04-8D93-67A70AD2AE1B}" dt="2025-04-02T02:30:21.535" v="2701" actId="1076"/>
          <ac:spMkLst>
            <pc:docMk/>
            <pc:sldMk cId="126571796" sldId="2237"/>
            <ac:spMk id="3" creationId="{5536904E-0ECD-BA0F-6BEE-F8F57D65F076}"/>
          </ac:spMkLst>
        </pc:spChg>
      </pc:sldChg>
      <pc:sldChg chg="delSp modSp mod">
        <pc:chgData name="Corey Yuan-Zhen Cao" userId="894c8f18-9551-4354-8c83-83a52876c78b" providerId="ADAL" clId="{5C20EACE-63ED-4F04-8D93-67A70AD2AE1B}" dt="2025-04-02T03:41:58.186" v="2872"/>
        <pc:sldMkLst>
          <pc:docMk/>
          <pc:sldMk cId="2391271550" sldId="2238"/>
        </pc:sldMkLst>
        <pc:spChg chg="del mod">
          <ac:chgData name="Corey Yuan-Zhen Cao" userId="894c8f18-9551-4354-8c83-83a52876c78b" providerId="ADAL" clId="{5C20EACE-63ED-4F04-8D93-67A70AD2AE1B}" dt="2025-04-02T03:41:34.718" v="2867" actId="478"/>
          <ac:spMkLst>
            <pc:docMk/>
            <pc:sldMk cId="2391271550" sldId="2238"/>
            <ac:spMk id="3" creationId="{31B1EF1B-E291-5654-7569-E377713552BE}"/>
          </ac:spMkLst>
        </pc:spChg>
        <pc:spChg chg="del">
          <ac:chgData name="Corey Yuan-Zhen Cao" userId="894c8f18-9551-4354-8c83-83a52876c78b" providerId="ADAL" clId="{5C20EACE-63ED-4F04-8D93-67A70AD2AE1B}" dt="2025-04-02T03:41:35.606" v="2868" actId="478"/>
          <ac:spMkLst>
            <pc:docMk/>
            <pc:sldMk cId="2391271550" sldId="2238"/>
            <ac:spMk id="6" creationId="{19DB6F09-4272-3041-895E-D12F9BFC4F1B}"/>
          </ac:spMkLst>
        </pc:spChg>
        <pc:graphicFrameChg chg="mod">
          <ac:chgData name="Corey Yuan-Zhen Cao" userId="894c8f18-9551-4354-8c83-83a52876c78b" providerId="ADAL" clId="{5C20EACE-63ED-4F04-8D93-67A70AD2AE1B}" dt="2025-04-02T03:41:58.186" v="2872"/>
          <ac:graphicFrameMkLst>
            <pc:docMk/>
            <pc:sldMk cId="2391271550" sldId="2238"/>
            <ac:graphicFrameMk id="2" creationId="{7C62835C-1156-4618-B89A-1C555DCB6340}"/>
          </ac:graphicFrameMkLst>
        </pc:graphicFrameChg>
        <pc:graphicFrameChg chg="mod">
          <ac:chgData name="Corey Yuan-Zhen Cao" userId="894c8f18-9551-4354-8c83-83a52876c78b" providerId="ADAL" clId="{5C20EACE-63ED-4F04-8D93-67A70AD2AE1B}" dt="2025-04-02T03:41:52.999" v="2871"/>
          <ac:graphicFrameMkLst>
            <pc:docMk/>
            <pc:sldMk cId="2391271550" sldId="2238"/>
            <ac:graphicFrameMk id="4" creationId="{7061D29F-7D63-52C4-8617-6CBB8DDC7C0F}"/>
          </ac:graphicFrameMkLst>
        </pc:graphicFrameChg>
      </pc:sldChg>
      <pc:sldChg chg="addSp modSp mod modClrScheme chgLayout">
        <pc:chgData name="Corey Yuan-Zhen Cao" userId="894c8f18-9551-4354-8c83-83a52876c78b" providerId="ADAL" clId="{5C20EACE-63ED-4F04-8D93-67A70AD2AE1B}" dt="2025-04-01T23:24:11.383" v="2696" actId="700"/>
        <pc:sldMkLst>
          <pc:docMk/>
          <pc:sldMk cId="3817512787" sldId="2239"/>
        </pc:sldMkLst>
        <pc:spChg chg="add mod ord">
          <ac:chgData name="Corey Yuan-Zhen Cao" userId="894c8f18-9551-4354-8c83-83a52876c78b" providerId="ADAL" clId="{5C20EACE-63ED-4F04-8D93-67A70AD2AE1B}" dt="2025-04-01T23:24:11.383" v="2696" actId="700"/>
          <ac:spMkLst>
            <pc:docMk/>
            <pc:sldMk cId="3817512787" sldId="2239"/>
            <ac:spMk id="2" creationId="{C8D8CA4D-C350-1935-7483-32B30A6009F3}"/>
          </ac:spMkLst>
        </pc:spChg>
        <pc:spChg chg="add mod ord">
          <ac:chgData name="Corey Yuan-Zhen Cao" userId="894c8f18-9551-4354-8c83-83a52876c78b" providerId="ADAL" clId="{5C20EACE-63ED-4F04-8D93-67A70AD2AE1B}" dt="2025-04-01T23:24:11.383" v="2696" actId="700"/>
          <ac:spMkLst>
            <pc:docMk/>
            <pc:sldMk cId="3817512787" sldId="2239"/>
            <ac:spMk id="3" creationId="{9180495E-887A-4279-BD92-6C87815053BA}"/>
          </ac:spMkLst>
        </pc:spChg>
        <pc:spChg chg="mod ord">
          <ac:chgData name="Corey Yuan-Zhen Cao" userId="894c8f18-9551-4354-8c83-83a52876c78b" providerId="ADAL" clId="{5C20EACE-63ED-4F04-8D93-67A70AD2AE1B}" dt="2025-04-01T23:24:11.383" v="2696" actId="700"/>
          <ac:spMkLst>
            <pc:docMk/>
            <pc:sldMk cId="3817512787" sldId="2239"/>
            <ac:spMk id="5" creationId="{63D66062-C1A6-438C-6384-6866FB201F6F}"/>
          </ac:spMkLst>
        </pc:spChg>
        <pc:spChg chg="add mod ord">
          <ac:chgData name="Corey Yuan-Zhen Cao" userId="894c8f18-9551-4354-8c83-83a52876c78b" providerId="ADAL" clId="{5C20EACE-63ED-4F04-8D93-67A70AD2AE1B}" dt="2025-04-01T23:24:11.383" v="2696" actId="700"/>
          <ac:spMkLst>
            <pc:docMk/>
            <pc:sldMk cId="3817512787" sldId="2239"/>
            <ac:spMk id="7" creationId="{AD92811C-0488-643D-21BA-737EDA5D7689}"/>
          </ac:spMkLst>
        </pc:spChg>
        <pc:spChg chg="mod ord">
          <ac:chgData name="Corey Yuan-Zhen Cao" userId="894c8f18-9551-4354-8c83-83a52876c78b" providerId="ADAL" clId="{5C20EACE-63ED-4F04-8D93-67A70AD2AE1B}" dt="2025-04-01T23:24:11.383" v="2696" actId="700"/>
          <ac:spMkLst>
            <pc:docMk/>
            <pc:sldMk cId="3817512787" sldId="2239"/>
            <ac:spMk id="8" creationId="{14066313-962F-F060-3D04-17D23F906E84}"/>
          </ac:spMkLst>
        </pc:spChg>
        <pc:spChg chg="add mod ord">
          <ac:chgData name="Corey Yuan-Zhen Cao" userId="894c8f18-9551-4354-8c83-83a52876c78b" providerId="ADAL" clId="{5C20EACE-63ED-4F04-8D93-67A70AD2AE1B}" dt="2025-04-01T23:24:11.383" v="2696" actId="700"/>
          <ac:spMkLst>
            <pc:docMk/>
            <pc:sldMk cId="3817512787" sldId="2239"/>
            <ac:spMk id="9" creationId="{CBE500E3-7A56-1C30-537F-9458B6A1223B}"/>
          </ac:spMkLst>
        </pc:spChg>
        <pc:spChg chg="add mod ord">
          <ac:chgData name="Corey Yuan-Zhen Cao" userId="894c8f18-9551-4354-8c83-83a52876c78b" providerId="ADAL" clId="{5C20EACE-63ED-4F04-8D93-67A70AD2AE1B}" dt="2025-04-01T23:24:11.383" v="2696" actId="700"/>
          <ac:spMkLst>
            <pc:docMk/>
            <pc:sldMk cId="3817512787" sldId="2239"/>
            <ac:spMk id="10" creationId="{812A12DA-9445-E031-3DE6-E67AB4667266}"/>
          </ac:spMkLst>
        </pc:spChg>
        <pc:spChg chg="add mod ord">
          <ac:chgData name="Corey Yuan-Zhen Cao" userId="894c8f18-9551-4354-8c83-83a52876c78b" providerId="ADAL" clId="{5C20EACE-63ED-4F04-8D93-67A70AD2AE1B}" dt="2025-04-01T23:24:11.383" v="2696" actId="700"/>
          <ac:spMkLst>
            <pc:docMk/>
            <pc:sldMk cId="3817512787" sldId="2239"/>
            <ac:spMk id="11" creationId="{7F808DEA-9E96-9B1D-2C3C-CAC0BBA45C67}"/>
          </ac:spMkLst>
        </pc:spChg>
        <pc:spChg chg="add mod ord">
          <ac:chgData name="Corey Yuan-Zhen Cao" userId="894c8f18-9551-4354-8c83-83a52876c78b" providerId="ADAL" clId="{5C20EACE-63ED-4F04-8D93-67A70AD2AE1B}" dt="2025-04-01T23:24:11.383" v="2696" actId="700"/>
          <ac:spMkLst>
            <pc:docMk/>
            <pc:sldMk cId="3817512787" sldId="2239"/>
            <ac:spMk id="12" creationId="{3CD1CCB2-4E38-93C8-A4E5-8B91DA1C3C77}"/>
          </ac:spMkLst>
        </pc:spChg>
      </pc:sldChg>
      <pc:sldChg chg="modSp mod">
        <pc:chgData name="Corey Yuan-Zhen Cao" userId="894c8f18-9551-4354-8c83-83a52876c78b" providerId="ADAL" clId="{5C20EACE-63ED-4F04-8D93-67A70AD2AE1B}" dt="2025-04-02T04:51:26.547" v="2941" actId="207"/>
        <pc:sldMkLst>
          <pc:docMk/>
          <pc:sldMk cId="540644153" sldId="2252"/>
        </pc:sldMkLst>
        <pc:spChg chg="mod">
          <ac:chgData name="Corey Yuan-Zhen Cao" userId="894c8f18-9551-4354-8c83-83a52876c78b" providerId="ADAL" clId="{5C20EACE-63ED-4F04-8D93-67A70AD2AE1B}" dt="2025-04-02T04:51:24.670" v="2940" actId="207"/>
          <ac:spMkLst>
            <pc:docMk/>
            <pc:sldMk cId="540644153" sldId="2252"/>
            <ac:spMk id="2" creationId="{6D187A21-1729-BA4B-92B0-86A8141733EA}"/>
          </ac:spMkLst>
        </pc:spChg>
        <pc:spChg chg="mod">
          <ac:chgData name="Corey Yuan-Zhen Cao" userId="894c8f18-9551-4354-8c83-83a52876c78b" providerId="ADAL" clId="{5C20EACE-63ED-4F04-8D93-67A70AD2AE1B}" dt="2025-04-02T04:51:26.547" v="2941" actId="207"/>
          <ac:spMkLst>
            <pc:docMk/>
            <pc:sldMk cId="540644153" sldId="2252"/>
            <ac:spMk id="4" creationId="{3CE8B7BE-EB4D-C195-8714-77343E850288}"/>
          </ac:spMkLst>
        </pc:spChg>
      </pc:sldChg>
      <pc:sldChg chg="addSp delSp modSp mod">
        <pc:chgData name="Corey Yuan-Zhen Cao" userId="894c8f18-9551-4354-8c83-83a52876c78b" providerId="ADAL" clId="{5C20EACE-63ED-4F04-8D93-67A70AD2AE1B}" dt="2025-04-02T05:26:45.973" v="3612" actId="20577"/>
        <pc:sldMkLst>
          <pc:docMk/>
          <pc:sldMk cId="751750684" sldId="2253"/>
        </pc:sldMkLst>
        <pc:spChg chg="mod">
          <ac:chgData name="Corey Yuan-Zhen Cao" userId="894c8f18-9551-4354-8c83-83a52876c78b" providerId="ADAL" clId="{5C20EACE-63ED-4F04-8D93-67A70AD2AE1B}" dt="2025-04-02T05:26:45.973" v="3612" actId="20577"/>
          <ac:spMkLst>
            <pc:docMk/>
            <pc:sldMk cId="751750684" sldId="2253"/>
            <ac:spMk id="2" creationId="{C5E96E20-671D-A4B2-5903-B68497000FDB}"/>
          </ac:spMkLst>
        </pc:spChg>
        <pc:spChg chg="add del">
          <ac:chgData name="Corey Yuan-Zhen Cao" userId="894c8f18-9551-4354-8c83-83a52876c78b" providerId="ADAL" clId="{5C20EACE-63ED-4F04-8D93-67A70AD2AE1B}" dt="2025-04-02T02:31:14.836" v="2703" actId="478"/>
          <ac:spMkLst>
            <pc:docMk/>
            <pc:sldMk cId="751750684" sldId="2253"/>
            <ac:spMk id="32" creationId="{914B6934-1E83-0369-4AC7-512783F2CDAD}"/>
          </ac:spMkLst>
        </pc:spChg>
        <pc:spChg chg="del mod">
          <ac:chgData name="Corey Yuan-Zhen Cao" userId="894c8f18-9551-4354-8c83-83a52876c78b" providerId="ADAL" clId="{5C20EACE-63ED-4F04-8D93-67A70AD2AE1B}" dt="2025-04-02T05:23:46.922" v="3393" actId="478"/>
          <ac:spMkLst>
            <pc:docMk/>
            <pc:sldMk cId="751750684" sldId="2253"/>
            <ac:spMk id="36" creationId="{97657296-7102-4D3C-9941-5A14407A89F5}"/>
          </ac:spMkLst>
        </pc:spChg>
        <pc:graphicFrameChg chg="modGraphic">
          <ac:chgData name="Corey Yuan-Zhen Cao" userId="894c8f18-9551-4354-8c83-83a52876c78b" providerId="ADAL" clId="{5C20EACE-63ED-4F04-8D93-67A70AD2AE1B}" dt="2025-04-02T05:23:33.015" v="3389" actId="20577"/>
          <ac:graphicFrameMkLst>
            <pc:docMk/>
            <pc:sldMk cId="751750684" sldId="2253"/>
            <ac:graphicFrameMk id="7" creationId="{056B59D7-327B-F07D-A4BE-217006271C73}"/>
          </ac:graphicFrameMkLst>
        </pc:graphicFrameChg>
      </pc:sldChg>
      <pc:sldChg chg="addSp delSp modSp mod">
        <pc:chgData name="Corey Yuan-Zhen Cao" userId="894c8f18-9551-4354-8c83-83a52876c78b" providerId="ADAL" clId="{5C20EACE-63ED-4F04-8D93-67A70AD2AE1B}" dt="2025-04-02T05:26:15.938" v="3591" actId="20577"/>
        <pc:sldMkLst>
          <pc:docMk/>
          <pc:sldMk cId="1585911357" sldId="2254"/>
        </pc:sldMkLst>
        <pc:spChg chg="add del mod">
          <ac:chgData name="Corey Yuan-Zhen Cao" userId="894c8f18-9551-4354-8c83-83a52876c78b" providerId="ADAL" clId="{5C20EACE-63ED-4F04-8D93-67A70AD2AE1B}" dt="2025-04-02T05:23:53.763" v="3394" actId="478"/>
          <ac:spMkLst>
            <pc:docMk/>
            <pc:sldMk cId="1585911357" sldId="2254"/>
            <ac:spMk id="6" creationId="{2FD6FFC1-C657-014C-65E1-ECB017111DAA}"/>
          </ac:spMkLst>
        </pc:spChg>
        <pc:spChg chg="mod">
          <ac:chgData name="Corey Yuan-Zhen Cao" userId="894c8f18-9551-4354-8c83-83a52876c78b" providerId="ADAL" clId="{5C20EACE-63ED-4F04-8D93-67A70AD2AE1B}" dt="2025-04-02T03:05:50.838" v="2845" actId="14100"/>
          <ac:spMkLst>
            <pc:docMk/>
            <pc:sldMk cId="1585911357" sldId="2254"/>
            <ac:spMk id="40" creationId="{764D28BE-16D7-451B-7CC4-43C607CC56FB}"/>
          </ac:spMkLst>
        </pc:spChg>
        <pc:spChg chg="mod">
          <ac:chgData name="Corey Yuan-Zhen Cao" userId="894c8f18-9551-4354-8c83-83a52876c78b" providerId="ADAL" clId="{5C20EACE-63ED-4F04-8D93-67A70AD2AE1B}" dt="2025-04-02T03:05:56.384" v="2847" actId="1076"/>
          <ac:spMkLst>
            <pc:docMk/>
            <pc:sldMk cId="1585911357" sldId="2254"/>
            <ac:spMk id="42" creationId="{77729942-AC03-4B4A-8CE3-99AA35B7B0D6}"/>
          </ac:spMkLst>
        </pc:spChg>
        <pc:spChg chg="mod">
          <ac:chgData name="Corey Yuan-Zhen Cao" userId="894c8f18-9551-4354-8c83-83a52876c78b" providerId="ADAL" clId="{5C20EACE-63ED-4F04-8D93-67A70AD2AE1B}" dt="2025-04-02T05:26:15.938" v="3591" actId="20577"/>
          <ac:spMkLst>
            <pc:docMk/>
            <pc:sldMk cId="1585911357" sldId="2254"/>
            <ac:spMk id="46" creationId="{7429B4C3-5D3C-E41E-6BF4-4BA32DE7B67D}"/>
          </ac:spMkLst>
        </pc:spChg>
        <pc:spChg chg="del">
          <ac:chgData name="Corey Yuan-Zhen Cao" userId="894c8f18-9551-4354-8c83-83a52876c78b" providerId="ADAL" clId="{5C20EACE-63ED-4F04-8D93-67A70AD2AE1B}" dt="2025-04-02T05:23:40.140" v="3390" actId="478"/>
          <ac:spMkLst>
            <pc:docMk/>
            <pc:sldMk cId="1585911357" sldId="2254"/>
            <ac:spMk id="47" creationId="{DA806474-44FD-0E11-A136-E95F396B8E4F}"/>
          </ac:spMkLst>
        </pc:spChg>
        <pc:spChg chg="del mod">
          <ac:chgData name="Corey Yuan-Zhen Cao" userId="894c8f18-9551-4354-8c83-83a52876c78b" providerId="ADAL" clId="{5C20EACE-63ED-4F04-8D93-67A70AD2AE1B}" dt="2025-04-02T05:23:40.870" v="3391" actId="478"/>
          <ac:spMkLst>
            <pc:docMk/>
            <pc:sldMk cId="1585911357" sldId="2254"/>
            <ac:spMk id="48" creationId="{71761BA1-02E3-D581-5EF9-60E8ED29D5C2}"/>
          </ac:spMkLst>
        </pc:spChg>
      </pc:sldChg>
      <pc:sldChg chg="addSp delSp modSp mod modClrScheme chgLayout">
        <pc:chgData name="Corey Yuan-Zhen Cao" userId="894c8f18-9551-4354-8c83-83a52876c78b" providerId="ADAL" clId="{5C20EACE-63ED-4F04-8D93-67A70AD2AE1B}" dt="2025-04-02T03:48:32.101" v="2876" actId="700"/>
        <pc:sldMkLst>
          <pc:docMk/>
          <pc:sldMk cId="4230794871" sldId="2262"/>
        </pc:sldMkLst>
        <pc:spChg chg="add del mod ord">
          <ac:chgData name="Corey Yuan-Zhen Cao" userId="894c8f18-9551-4354-8c83-83a52876c78b" providerId="ADAL" clId="{5C20EACE-63ED-4F04-8D93-67A70AD2AE1B}" dt="2025-04-02T03:48:32.101" v="2876" actId="700"/>
          <ac:spMkLst>
            <pc:docMk/>
            <pc:sldMk cId="4230794871" sldId="2262"/>
            <ac:spMk id="2" creationId="{87A40A5C-4F50-4D7D-72EE-19887BC565BB}"/>
          </ac:spMkLst>
        </pc:spChg>
        <pc:spChg chg="mod ord">
          <ac:chgData name="Corey Yuan-Zhen Cao" userId="894c8f18-9551-4354-8c83-83a52876c78b" providerId="ADAL" clId="{5C20EACE-63ED-4F04-8D93-67A70AD2AE1B}" dt="2025-04-02T03:48:32.101" v="2876" actId="700"/>
          <ac:spMkLst>
            <pc:docMk/>
            <pc:sldMk cId="4230794871" sldId="2262"/>
            <ac:spMk id="3" creationId="{EBA9D7EC-0FB8-857D-58ED-2BD2F9956BE7}"/>
          </ac:spMkLst>
        </pc:spChg>
        <pc:spChg chg="mod ord">
          <ac:chgData name="Corey Yuan-Zhen Cao" userId="894c8f18-9551-4354-8c83-83a52876c78b" providerId="ADAL" clId="{5C20EACE-63ED-4F04-8D93-67A70AD2AE1B}" dt="2025-04-02T03:48:32.101" v="2876" actId="700"/>
          <ac:spMkLst>
            <pc:docMk/>
            <pc:sldMk cId="4230794871" sldId="2262"/>
            <ac:spMk id="4" creationId="{01B9DB9E-6730-C2F3-B240-6229F0751888}"/>
          </ac:spMkLst>
        </pc:spChg>
        <pc:spChg chg="mod ord">
          <ac:chgData name="Corey Yuan-Zhen Cao" userId="894c8f18-9551-4354-8c83-83a52876c78b" providerId="ADAL" clId="{5C20EACE-63ED-4F04-8D93-67A70AD2AE1B}" dt="2025-04-02T03:48:32.101" v="2876" actId="700"/>
          <ac:spMkLst>
            <pc:docMk/>
            <pc:sldMk cId="4230794871" sldId="2262"/>
            <ac:spMk id="5" creationId="{959E957F-46D0-CC34-3668-8E74A1E42334}"/>
          </ac:spMkLst>
        </pc:spChg>
        <pc:spChg chg="add del mod ord">
          <ac:chgData name="Corey Yuan-Zhen Cao" userId="894c8f18-9551-4354-8c83-83a52876c78b" providerId="ADAL" clId="{5C20EACE-63ED-4F04-8D93-67A70AD2AE1B}" dt="2025-04-02T03:48:32.101" v="2876" actId="700"/>
          <ac:spMkLst>
            <pc:docMk/>
            <pc:sldMk cId="4230794871" sldId="2262"/>
            <ac:spMk id="6" creationId="{E6672D81-8251-95DF-401E-BDAEE1AD1E11}"/>
          </ac:spMkLst>
        </pc:spChg>
        <pc:spChg chg="mod ord">
          <ac:chgData name="Corey Yuan-Zhen Cao" userId="894c8f18-9551-4354-8c83-83a52876c78b" providerId="ADAL" clId="{5C20EACE-63ED-4F04-8D93-67A70AD2AE1B}" dt="2025-04-02T03:48:32.101" v="2876" actId="700"/>
          <ac:spMkLst>
            <pc:docMk/>
            <pc:sldMk cId="4230794871" sldId="2262"/>
            <ac:spMk id="7" creationId="{13A57781-CA0B-4D6D-6A28-CA0EC5D232CD}"/>
          </ac:spMkLst>
        </pc:spChg>
        <pc:spChg chg="mod ord">
          <ac:chgData name="Corey Yuan-Zhen Cao" userId="894c8f18-9551-4354-8c83-83a52876c78b" providerId="ADAL" clId="{5C20EACE-63ED-4F04-8D93-67A70AD2AE1B}" dt="2025-04-02T03:48:32.101" v="2876" actId="700"/>
          <ac:spMkLst>
            <pc:docMk/>
            <pc:sldMk cId="4230794871" sldId="2262"/>
            <ac:spMk id="8" creationId="{D952C4CD-0FE8-389E-526B-39B95F2CC3F0}"/>
          </ac:spMkLst>
        </pc:spChg>
        <pc:spChg chg="add del mod">
          <ac:chgData name="Corey Yuan-Zhen Cao" userId="894c8f18-9551-4354-8c83-83a52876c78b" providerId="ADAL" clId="{5C20EACE-63ED-4F04-8D93-67A70AD2AE1B}" dt="2025-04-02T03:48:30.892" v="2875" actId="478"/>
          <ac:spMkLst>
            <pc:docMk/>
            <pc:sldMk cId="4230794871" sldId="2262"/>
            <ac:spMk id="11" creationId="{AE57821E-E386-4599-A801-C97C49AF6049}"/>
          </ac:spMkLst>
        </pc:spChg>
        <pc:spChg chg="mod ord">
          <ac:chgData name="Corey Yuan-Zhen Cao" userId="894c8f18-9551-4354-8c83-83a52876c78b" providerId="ADAL" clId="{5C20EACE-63ED-4F04-8D93-67A70AD2AE1B}" dt="2025-04-02T03:48:32.101" v="2876" actId="700"/>
          <ac:spMkLst>
            <pc:docMk/>
            <pc:sldMk cId="4230794871" sldId="2262"/>
            <ac:spMk id="12" creationId="{184A3643-61F9-72BF-D3CD-2ACCD5061AC1}"/>
          </ac:spMkLst>
        </pc:spChg>
        <pc:spChg chg="mod ord">
          <ac:chgData name="Corey Yuan-Zhen Cao" userId="894c8f18-9551-4354-8c83-83a52876c78b" providerId="ADAL" clId="{5C20EACE-63ED-4F04-8D93-67A70AD2AE1B}" dt="2025-04-02T03:48:32.101" v="2876" actId="700"/>
          <ac:spMkLst>
            <pc:docMk/>
            <pc:sldMk cId="4230794871" sldId="2262"/>
            <ac:spMk id="13" creationId="{2C5C6127-445F-4826-AA63-F9D14E1B8808}"/>
          </ac:spMkLst>
        </pc:spChg>
        <pc:graphicFrameChg chg="mod ord">
          <ac:chgData name="Corey Yuan-Zhen Cao" userId="894c8f18-9551-4354-8c83-83a52876c78b" providerId="ADAL" clId="{5C20EACE-63ED-4F04-8D93-67A70AD2AE1B}" dt="2025-04-02T03:48:32.101" v="2876" actId="700"/>
          <ac:graphicFrameMkLst>
            <pc:docMk/>
            <pc:sldMk cId="4230794871" sldId="2262"/>
            <ac:graphicFrameMk id="10" creationId="{4F8F5F70-3DDD-E5ED-4B19-F14105F969AE}"/>
          </ac:graphicFrameMkLst>
        </pc:graphicFrameChg>
        <pc:graphicFrameChg chg="add del">
          <ac:chgData name="Corey Yuan-Zhen Cao" userId="894c8f18-9551-4354-8c83-83a52876c78b" providerId="ADAL" clId="{5C20EACE-63ED-4F04-8D93-67A70AD2AE1B}" dt="2025-04-02T03:48:30.892" v="2875" actId="478"/>
          <ac:graphicFrameMkLst>
            <pc:docMk/>
            <pc:sldMk cId="4230794871" sldId="2262"/>
            <ac:graphicFrameMk id="16" creationId="{7C7B3363-E606-0D05-31EE-86CD3D3283C3}"/>
          </ac:graphicFrameMkLst>
        </pc:graphicFrameChg>
      </pc:sldChg>
      <pc:sldChg chg="modSp mod">
        <pc:chgData name="Corey Yuan-Zhen Cao" userId="894c8f18-9551-4354-8c83-83a52876c78b" providerId="ADAL" clId="{5C20EACE-63ED-4F04-8D93-67A70AD2AE1B}" dt="2025-04-02T15:25:07.174" v="3654" actId="20577"/>
        <pc:sldMkLst>
          <pc:docMk/>
          <pc:sldMk cId="1042857578" sldId="2263"/>
        </pc:sldMkLst>
        <pc:spChg chg="mod">
          <ac:chgData name="Corey Yuan-Zhen Cao" userId="894c8f18-9551-4354-8c83-83a52876c78b" providerId="ADAL" clId="{5C20EACE-63ED-4F04-8D93-67A70AD2AE1B}" dt="2025-04-02T15:25:07.174" v="3654" actId="20577"/>
          <ac:spMkLst>
            <pc:docMk/>
            <pc:sldMk cId="1042857578" sldId="2263"/>
            <ac:spMk id="38" creationId="{AC4D3630-388C-0869-98DD-818B3CEAFF34}"/>
          </ac:spMkLst>
        </pc:spChg>
      </pc:sldChg>
      <pc:sldChg chg="add del ord">
        <pc:chgData name="Corey Yuan-Zhen Cao" userId="894c8f18-9551-4354-8c83-83a52876c78b" providerId="ADAL" clId="{5C20EACE-63ED-4F04-8D93-67A70AD2AE1B}" dt="2025-04-02T04:02:19.590" v="2915" actId="2696"/>
        <pc:sldMkLst>
          <pc:docMk/>
          <pc:sldMk cId="2569410078" sldId="2273"/>
        </pc:sldMkLst>
      </pc:sldChg>
      <pc:sldChg chg="new">
        <pc:chgData name="Corey Yuan-Zhen Cao" userId="894c8f18-9551-4354-8c83-83a52876c78b" providerId="ADAL" clId="{5C20EACE-63ED-4F04-8D93-67A70AD2AE1B}" dt="2025-04-02T03:13:14.737" v="2858" actId="680"/>
        <pc:sldMkLst>
          <pc:docMk/>
          <pc:sldMk cId="3787785397" sldId="2275"/>
        </pc:sldMkLst>
      </pc:sldChg>
      <pc:sldChg chg="modSp mod">
        <pc:chgData name="Corey Yuan-Zhen Cao" userId="894c8f18-9551-4354-8c83-83a52876c78b" providerId="ADAL" clId="{5C20EACE-63ED-4F04-8D93-67A70AD2AE1B}" dt="2025-04-02T04:51:21.230" v="2939" actId="207"/>
        <pc:sldMkLst>
          <pc:docMk/>
          <pc:sldMk cId="4220811490" sldId="2276"/>
        </pc:sldMkLst>
        <pc:spChg chg="mod">
          <ac:chgData name="Corey Yuan-Zhen Cao" userId="894c8f18-9551-4354-8c83-83a52876c78b" providerId="ADAL" clId="{5C20EACE-63ED-4F04-8D93-67A70AD2AE1B}" dt="2025-04-02T04:51:21.230" v="2939" actId="207"/>
          <ac:spMkLst>
            <pc:docMk/>
            <pc:sldMk cId="4220811490" sldId="2276"/>
            <ac:spMk id="40" creationId="{E3EF2377-B9C2-0156-1B74-4BDCD183D334}"/>
          </ac:spMkLst>
        </pc:spChg>
      </pc:sldChg>
      <pc:sldChg chg="addSp delSp modSp new mod modClrScheme chgLayout">
        <pc:chgData name="Corey Yuan-Zhen Cao" userId="894c8f18-9551-4354-8c83-83a52876c78b" providerId="ADAL" clId="{5C20EACE-63ED-4F04-8D93-67A70AD2AE1B}" dt="2025-04-02T15:58:52.399" v="4270" actId="1076"/>
        <pc:sldMkLst>
          <pc:docMk/>
          <pc:sldMk cId="61870900" sldId="2278"/>
        </pc:sldMkLst>
        <pc:spChg chg="del mod ord">
          <ac:chgData name="Corey Yuan-Zhen Cao" userId="894c8f18-9551-4354-8c83-83a52876c78b" providerId="ADAL" clId="{5C20EACE-63ED-4F04-8D93-67A70AD2AE1B}" dt="2025-04-02T03:48:40.111" v="2878" actId="700"/>
          <ac:spMkLst>
            <pc:docMk/>
            <pc:sldMk cId="61870900" sldId="2278"/>
            <ac:spMk id="2" creationId="{F9D68EF5-FA69-637E-9F93-6627DFD0DAA4}"/>
          </ac:spMkLst>
        </pc:spChg>
        <pc:spChg chg="del mod ord">
          <ac:chgData name="Corey Yuan-Zhen Cao" userId="894c8f18-9551-4354-8c83-83a52876c78b" providerId="ADAL" clId="{5C20EACE-63ED-4F04-8D93-67A70AD2AE1B}" dt="2025-04-02T03:48:40.111" v="2878" actId="700"/>
          <ac:spMkLst>
            <pc:docMk/>
            <pc:sldMk cId="61870900" sldId="2278"/>
            <ac:spMk id="4" creationId="{B4AE9F52-6208-0EA2-C490-D23F5D075841}"/>
          </ac:spMkLst>
        </pc:spChg>
        <pc:spChg chg="del">
          <ac:chgData name="Corey Yuan-Zhen Cao" userId="894c8f18-9551-4354-8c83-83a52876c78b" providerId="ADAL" clId="{5C20EACE-63ED-4F04-8D93-67A70AD2AE1B}" dt="2025-04-02T03:48:40.111" v="2878" actId="700"/>
          <ac:spMkLst>
            <pc:docMk/>
            <pc:sldMk cId="61870900" sldId="2278"/>
            <ac:spMk id="5" creationId="{E3AABABE-852B-E171-DF7C-11F9FAB0CC47}"/>
          </ac:spMkLst>
        </pc:spChg>
        <pc:spChg chg="del mod ord">
          <ac:chgData name="Corey Yuan-Zhen Cao" userId="894c8f18-9551-4354-8c83-83a52876c78b" providerId="ADAL" clId="{5C20EACE-63ED-4F04-8D93-67A70AD2AE1B}" dt="2025-04-02T03:48:40.111" v="2878" actId="700"/>
          <ac:spMkLst>
            <pc:docMk/>
            <pc:sldMk cId="61870900" sldId="2278"/>
            <ac:spMk id="6" creationId="{284ECFFD-35CC-68DB-E23F-927527CE405C}"/>
          </ac:spMkLst>
        </pc:spChg>
        <pc:spChg chg="del">
          <ac:chgData name="Corey Yuan-Zhen Cao" userId="894c8f18-9551-4354-8c83-83a52876c78b" providerId="ADAL" clId="{5C20EACE-63ED-4F04-8D93-67A70AD2AE1B}" dt="2025-04-02T03:48:40.111" v="2878" actId="700"/>
          <ac:spMkLst>
            <pc:docMk/>
            <pc:sldMk cId="61870900" sldId="2278"/>
            <ac:spMk id="7" creationId="{AFF497F6-DC3E-F517-CE1B-29C8A8550BA0}"/>
          </ac:spMkLst>
        </pc:spChg>
        <pc:spChg chg="del">
          <ac:chgData name="Corey Yuan-Zhen Cao" userId="894c8f18-9551-4354-8c83-83a52876c78b" providerId="ADAL" clId="{5C20EACE-63ED-4F04-8D93-67A70AD2AE1B}" dt="2025-04-02T03:48:40.111" v="2878" actId="700"/>
          <ac:spMkLst>
            <pc:docMk/>
            <pc:sldMk cId="61870900" sldId="2278"/>
            <ac:spMk id="9" creationId="{4CAB1F60-D2ED-AEDB-5550-E8AF1A90609A}"/>
          </ac:spMkLst>
        </pc:spChg>
        <pc:spChg chg="del">
          <ac:chgData name="Corey Yuan-Zhen Cao" userId="894c8f18-9551-4354-8c83-83a52876c78b" providerId="ADAL" clId="{5C20EACE-63ED-4F04-8D93-67A70AD2AE1B}" dt="2025-04-02T03:48:40.111" v="2878" actId="700"/>
          <ac:spMkLst>
            <pc:docMk/>
            <pc:sldMk cId="61870900" sldId="2278"/>
            <ac:spMk id="10" creationId="{A523AF89-3B83-AF4D-05A0-A3EE6C68DB93}"/>
          </ac:spMkLst>
        </pc:spChg>
        <pc:spChg chg="add mod ord">
          <ac:chgData name="Corey Yuan-Zhen Cao" userId="894c8f18-9551-4354-8c83-83a52876c78b" providerId="ADAL" clId="{5C20EACE-63ED-4F04-8D93-67A70AD2AE1B}" dt="2025-04-02T03:50:40.147" v="2914" actId="20577"/>
          <ac:spMkLst>
            <pc:docMk/>
            <pc:sldMk cId="61870900" sldId="2278"/>
            <ac:spMk id="11" creationId="{53F7BD03-C234-38BA-781D-392503763F6B}"/>
          </ac:spMkLst>
        </pc:spChg>
        <pc:spChg chg="add del mod ord">
          <ac:chgData name="Corey Yuan-Zhen Cao" userId="894c8f18-9551-4354-8c83-83a52876c78b" providerId="ADAL" clId="{5C20EACE-63ED-4F04-8D93-67A70AD2AE1B}" dt="2025-04-02T04:32:49.751" v="2919"/>
          <ac:spMkLst>
            <pc:docMk/>
            <pc:sldMk cId="61870900" sldId="2278"/>
            <ac:spMk id="13" creationId="{DADD6702-D00D-3574-7A3A-9784906EE1A4}"/>
          </ac:spMkLst>
        </pc:spChg>
        <pc:spChg chg="add mod ord">
          <ac:chgData name="Corey Yuan-Zhen Cao" userId="894c8f18-9551-4354-8c83-83a52876c78b" providerId="ADAL" clId="{5C20EACE-63ED-4F04-8D93-67A70AD2AE1B}" dt="2025-04-02T03:48:40.111" v="2878" actId="700"/>
          <ac:spMkLst>
            <pc:docMk/>
            <pc:sldMk cId="61870900" sldId="2278"/>
            <ac:spMk id="14" creationId="{E7644E2E-00FE-42B4-3682-0266A15365AA}"/>
          </ac:spMkLst>
        </pc:spChg>
        <pc:spChg chg="add del mod">
          <ac:chgData name="Corey Yuan-Zhen Cao" userId="894c8f18-9551-4354-8c83-83a52876c78b" providerId="ADAL" clId="{5C20EACE-63ED-4F04-8D93-67A70AD2AE1B}" dt="2025-04-02T04:33:14.838" v="2924" actId="478"/>
          <ac:spMkLst>
            <pc:docMk/>
            <pc:sldMk cId="61870900" sldId="2278"/>
            <ac:spMk id="17" creationId="{6998FE57-861D-A16F-B6D6-C2CBC46D6213}"/>
          </ac:spMkLst>
        </pc:spChg>
        <pc:graphicFrameChg chg="add del">
          <ac:chgData name="Corey Yuan-Zhen Cao" userId="894c8f18-9551-4354-8c83-83a52876c78b" providerId="ADAL" clId="{5C20EACE-63ED-4F04-8D93-67A70AD2AE1B}" dt="2025-04-02T04:33:14.838" v="2924" actId="478"/>
          <ac:graphicFrameMkLst>
            <pc:docMk/>
            <pc:sldMk cId="61870900" sldId="2278"/>
            <ac:graphicFrameMk id="2" creationId="{ABF58D9C-C4CF-9DB6-4257-8C1E9BF9125F}"/>
          </ac:graphicFrameMkLst>
        </pc:graphicFrameChg>
        <pc:graphicFrameChg chg="add mod">
          <ac:chgData name="Corey Yuan-Zhen Cao" userId="894c8f18-9551-4354-8c83-83a52876c78b" providerId="ADAL" clId="{5C20EACE-63ED-4F04-8D93-67A70AD2AE1B}" dt="2025-04-02T15:58:38.505" v="4267"/>
          <ac:graphicFrameMkLst>
            <pc:docMk/>
            <pc:sldMk cId="61870900" sldId="2278"/>
            <ac:graphicFrameMk id="15" creationId="{20A5A5EF-6F45-48B3-1A7F-1D750C2A8141}"/>
          </ac:graphicFrameMkLst>
        </pc:graphicFrameChg>
        <pc:cxnChg chg="mod">
          <ac:chgData name="Corey Yuan-Zhen Cao" userId="894c8f18-9551-4354-8c83-83a52876c78b" providerId="ADAL" clId="{5C20EACE-63ED-4F04-8D93-67A70AD2AE1B}" dt="2025-04-02T15:58:28.692" v="4266" actId="1076"/>
          <ac:cxnSpMkLst>
            <pc:docMk/>
            <pc:sldMk cId="61870900" sldId="2278"/>
            <ac:cxnSpMk id="6" creationId="{15242277-E1BF-BECC-8431-C7C2C7A0E990}"/>
          </ac:cxnSpMkLst>
        </pc:cxnChg>
        <pc:cxnChg chg="mod">
          <ac:chgData name="Corey Yuan-Zhen Cao" userId="894c8f18-9551-4354-8c83-83a52876c78b" providerId="ADAL" clId="{5C20EACE-63ED-4F04-8D93-67A70AD2AE1B}" dt="2025-04-02T15:58:52.399" v="4270" actId="1076"/>
          <ac:cxnSpMkLst>
            <pc:docMk/>
            <pc:sldMk cId="61870900" sldId="2278"/>
            <ac:cxnSpMk id="7" creationId="{92D08B5C-956C-E965-62ED-6381387F5B18}"/>
          </ac:cxnSpMkLst>
        </pc:cxnChg>
        <pc:cxnChg chg="mod">
          <ac:chgData name="Corey Yuan-Zhen Cao" userId="894c8f18-9551-4354-8c83-83a52876c78b" providerId="ADAL" clId="{5C20EACE-63ED-4F04-8D93-67A70AD2AE1B}" dt="2025-04-02T15:58:19.972" v="4265" actId="1076"/>
          <ac:cxnSpMkLst>
            <pc:docMk/>
            <pc:sldMk cId="61870900" sldId="2278"/>
            <ac:cxnSpMk id="8" creationId="{2154E42B-78ED-CAD1-2445-89F1440ED44D}"/>
          </ac:cxnSpMkLst>
        </pc:cxnChg>
        <pc:cxnChg chg="mod">
          <ac:chgData name="Corey Yuan-Zhen Cao" userId="894c8f18-9551-4354-8c83-83a52876c78b" providerId="ADAL" clId="{5C20EACE-63ED-4F04-8D93-67A70AD2AE1B}" dt="2025-04-02T15:58:43.821" v="4269" actId="1076"/>
          <ac:cxnSpMkLst>
            <pc:docMk/>
            <pc:sldMk cId="61870900" sldId="2278"/>
            <ac:cxnSpMk id="9" creationId="{D6755C15-3FD6-CE2B-AB82-7B9CEC0B94B1}"/>
          </ac:cxnSpMkLst>
        </pc:cxnChg>
      </pc:sldChg>
      <pc:sldChg chg="new del">
        <pc:chgData name="Corey Yuan-Zhen Cao" userId="894c8f18-9551-4354-8c83-83a52876c78b" providerId="ADAL" clId="{5C20EACE-63ED-4F04-8D93-67A70AD2AE1B}" dt="2025-04-02T15:31:49.110" v="3656" actId="2696"/>
        <pc:sldMkLst>
          <pc:docMk/>
          <pc:sldMk cId="1267971973" sldId="2279"/>
        </pc:sldMkLst>
      </pc:sldChg>
      <pc:sldChg chg="addSp delSp modSp new del mod">
        <pc:chgData name="Corey Yuan-Zhen Cao" userId="894c8f18-9551-4354-8c83-83a52876c78b" providerId="ADAL" clId="{5C20EACE-63ED-4F04-8D93-67A70AD2AE1B}" dt="2025-04-02T04:40:00.242" v="2937" actId="2696"/>
        <pc:sldMkLst>
          <pc:docMk/>
          <pc:sldMk cId="2631749044" sldId="2279"/>
        </pc:sldMkLst>
        <pc:spChg chg="del">
          <ac:chgData name="Corey Yuan-Zhen Cao" userId="894c8f18-9551-4354-8c83-83a52876c78b" providerId="ADAL" clId="{5C20EACE-63ED-4F04-8D93-67A70AD2AE1B}" dt="2025-04-02T04:33:37.121" v="2927"/>
          <ac:spMkLst>
            <pc:docMk/>
            <pc:sldMk cId="2631749044" sldId="2279"/>
            <ac:spMk id="3" creationId="{DB9F801D-3AFB-15B1-26A6-FA339F16BBF0}"/>
          </ac:spMkLst>
        </pc:spChg>
        <pc:spChg chg="add mod">
          <ac:chgData name="Corey Yuan-Zhen Cao" userId="894c8f18-9551-4354-8c83-83a52876c78b" providerId="ADAL" clId="{5C20EACE-63ED-4F04-8D93-67A70AD2AE1B}" dt="2025-04-02T04:38:48.452" v="2935" actId="478"/>
          <ac:spMkLst>
            <pc:docMk/>
            <pc:sldMk cId="2631749044" sldId="2279"/>
            <ac:spMk id="8" creationId="{4F8F89BF-8C0B-45CD-EBFE-0CB9D030772F}"/>
          </ac:spMkLst>
        </pc:spChg>
        <pc:graphicFrameChg chg="add del mod">
          <ac:chgData name="Corey Yuan-Zhen Cao" userId="894c8f18-9551-4354-8c83-83a52876c78b" providerId="ADAL" clId="{5C20EACE-63ED-4F04-8D93-67A70AD2AE1B}" dt="2025-04-02T04:38:48.452" v="2935" actId="478"/>
          <ac:graphicFrameMkLst>
            <pc:docMk/>
            <pc:sldMk cId="2631749044" sldId="2279"/>
            <ac:graphicFrameMk id="6" creationId="{20A5A5EF-6F45-48B3-1A7F-1D750C2A8141}"/>
          </ac:graphicFrameMkLst>
        </pc:graphicFrameChg>
      </pc:sldChg>
      <pc:sldChg chg="addSp delSp modSp add mod">
        <pc:chgData name="Corey Yuan-Zhen Cao" userId="894c8f18-9551-4354-8c83-83a52876c78b" providerId="ADAL" clId="{5C20EACE-63ED-4F04-8D93-67A70AD2AE1B}" dt="2025-04-02T15:59:52.843" v="4276" actId="14100"/>
        <pc:sldMkLst>
          <pc:docMk/>
          <pc:sldMk cId="4010462100" sldId="2279"/>
        </pc:sldMkLst>
        <pc:spChg chg="mod">
          <ac:chgData name="Corey Yuan-Zhen Cao" userId="894c8f18-9551-4354-8c83-83a52876c78b" providerId="ADAL" clId="{5C20EACE-63ED-4F04-8D93-67A70AD2AE1B}" dt="2025-04-02T15:34:05.957" v="3913" actId="20577"/>
          <ac:spMkLst>
            <pc:docMk/>
            <pc:sldMk cId="4010462100" sldId="2279"/>
            <ac:spMk id="2" creationId="{477620EF-38C8-175D-F3C1-F65EA8DA6B24}"/>
          </ac:spMkLst>
        </pc:spChg>
        <pc:spChg chg="mod">
          <ac:chgData name="Corey Yuan-Zhen Cao" userId="894c8f18-9551-4354-8c83-83a52876c78b" providerId="ADAL" clId="{5C20EACE-63ED-4F04-8D93-67A70AD2AE1B}" dt="2025-04-02T15:33:40.094" v="3790" actId="20577"/>
          <ac:spMkLst>
            <pc:docMk/>
            <pc:sldMk cId="4010462100" sldId="2279"/>
            <ac:spMk id="4" creationId="{24F95ECB-CCAE-3513-53EE-F20380A60C7F}"/>
          </ac:spMkLst>
        </pc:spChg>
        <pc:spChg chg="add del mod">
          <ac:chgData name="Corey Yuan-Zhen Cao" userId="894c8f18-9551-4354-8c83-83a52876c78b" providerId="ADAL" clId="{5C20EACE-63ED-4F04-8D93-67A70AD2AE1B}" dt="2025-04-02T15:34:39.733" v="3921" actId="478"/>
          <ac:spMkLst>
            <pc:docMk/>
            <pc:sldMk cId="4010462100" sldId="2279"/>
            <ac:spMk id="10" creationId="{0BAF8419-610A-4F6A-CFF8-081D2F17BDA9}"/>
          </ac:spMkLst>
        </pc:spChg>
        <pc:spChg chg="add del mod">
          <ac:chgData name="Corey Yuan-Zhen Cao" userId="894c8f18-9551-4354-8c83-83a52876c78b" providerId="ADAL" clId="{5C20EACE-63ED-4F04-8D93-67A70AD2AE1B}" dt="2025-04-02T15:34:48.981" v="3927" actId="478"/>
          <ac:spMkLst>
            <pc:docMk/>
            <pc:sldMk cId="4010462100" sldId="2279"/>
            <ac:spMk id="17" creationId="{F63E4F2B-2B9C-3ED1-18D4-C272A5F98879}"/>
          </ac:spMkLst>
        </pc:spChg>
        <pc:spChg chg="mod">
          <ac:chgData name="Corey Yuan-Zhen Cao" userId="894c8f18-9551-4354-8c83-83a52876c78b" providerId="ADAL" clId="{5C20EACE-63ED-4F04-8D93-67A70AD2AE1B}" dt="2025-04-02T15:35:00.929" v="3932" actId="14100"/>
          <ac:spMkLst>
            <pc:docMk/>
            <pc:sldMk cId="4010462100" sldId="2279"/>
            <ac:spMk id="19" creationId="{D882D242-89DC-F202-79F9-28D7F7551481}"/>
          </ac:spMkLst>
        </pc:spChg>
        <pc:spChg chg="del">
          <ac:chgData name="Corey Yuan-Zhen Cao" userId="894c8f18-9551-4354-8c83-83a52876c78b" providerId="ADAL" clId="{5C20EACE-63ED-4F04-8D93-67A70AD2AE1B}" dt="2025-04-02T15:32:08.114" v="3669" actId="478"/>
          <ac:spMkLst>
            <pc:docMk/>
            <pc:sldMk cId="4010462100" sldId="2279"/>
            <ac:spMk id="21" creationId="{45842239-CF3A-65BC-A6D0-1591A4725421}"/>
          </ac:spMkLst>
        </pc:spChg>
        <pc:spChg chg="del">
          <ac:chgData name="Corey Yuan-Zhen Cao" userId="894c8f18-9551-4354-8c83-83a52876c78b" providerId="ADAL" clId="{5C20EACE-63ED-4F04-8D93-67A70AD2AE1B}" dt="2025-04-02T15:32:08.114" v="3669" actId="478"/>
          <ac:spMkLst>
            <pc:docMk/>
            <pc:sldMk cId="4010462100" sldId="2279"/>
            <ac:spMk id="22" creationId="{3E7425AC-3335-FD80-0231-863842299CC2}"/>
          </ac:spMkLst>
        </pc:spChg>
        <pc:spChg chg="del">
          <ac:chgData name="Corey Yuan-Zhen Cao" userId="894c8f18-9551-4354-8c83-83a52876c78b" providerId="ADAL" clId="{5C20EACE-63ED-4F04-8D93-67A70AD2AE1B}" dt="2025-04-02T15:32:10.416" v="3671" actId="478"/>
          <ac:spMkLst>
            <pc:docMk/>
            <pc:sldMk cId="4010462100" sldId="2279"/>
            <ac:spMk id="23" creationId="{7FB63D7E-8D9D-AB96-B82D-C6C409BA64FE}"/>
          </ac:spMkLst>
        </pc:spChg>
        <pc:spChg chg="del">
          <ac:chgData name="Corey Yuan-Zhen Cao" userId="894c8f18-9551-4354-8c83-83a52876c78b" providerId="ADAL" clId="{5C20EACE-63ED-4F04-8D93-67A70AD2AE1B}" dt="2025-04-02T15:32:09.619" v="3670" actId="478"/>
          <ac:spMkLst>
            <pc:docMk/>
            <pc:sldMk cId="4010462100" sldId="2279"/>
            <ac:spMk id="24" creationId="{98C944B7-34FF-4076-28DC-C7278381E164}"/>
          </ac:spMkLst>
        </pc:spChg>
        <pc:spChg chg="del">
          <ac:chgData name="Corey Yuan-Zhen Cao" userId="894c8f18-9551-4354-8c83-83a52876c78b" providerId="ADAL" clId="{5C20EACE-63ED-4F04-8D93-67A70AD2AE1B}" dt="2025-04-02T15:32:12.386" v="3673" actId="478"/>
          <ac:spMkLst>
            <pc:docMk/>
            <pc:sldMk cId="4010462100" sldId="2279"/>
            <ac:spMk id="25" creationId="{BDD5DEF7-BFBF-9B32-9B50-07F912CB4BB7}"/>
          </ac:spMkLst>
        </pc:spChg>
        <pc:spChg chg="del">
          <ac:chgData name="Corey Yuan-Zhen Cao" userId="894c8f18-9551-4354-8c83-83a52876c78b" providerId="ADAL" clId="{5C20EACE-63ED-4F04-8D93-67A70AD2AE1B}" dt="2025-04-02T15:32:11.394" v="3672" actId="478"/>
          <ac:spMkLst>
            <pc:docMk/>
            <pc:sldMk cId="4010462100" sldId="2279"/>
            <ac:spMk id="26" creationId="{4221449E-86FC-F466-7B5E-A23215D42622}"/>
          </ac:spMkLst>
        </pc:spChg>
        <pc:spChg chg="mod">
          <ac:chgData name="Corey Yuan-Zhen Cao" userId="894c8f18-9551-4354-8c83-83a52876c78b" providerId="ADAL" clId="{5C20EACE-63ED-4F04-8D93-67A70AD2AE1B}" dt="2025-04-02T15:59:41.443" v="4274" actId="1076"/>
          <ac:spMkLst>
            <pc:docMk/>
            <pc:sldMk cId="4010462100" sldId="2279"/>
            <ac:spMk id="29" creationId="{0607A5FA-1B12-A98F-65C2-33ED21AED079}"/>
          </ac:spMkLst>
        </pc:spChg>
        <pc:spChg chg="mod">
          <ac:chgData name="Corey Yuan-Zhen Cao" userId="894c8f18-9551-4354-8c83-83a52876c78b" providerId="ADAL" clId="{5C20EACE-63ED-4F04-8D93-67A70AD2AE1B}" dt="2025-04-02T15:59:52.843" v="4276" actId="14100"/>
          <ac:spMkLst>
            <pc:docMk/>
            <pc:sldMk cId="4010462100" sldId="2279"/>
            <ac:spMk id="32" creationId="{AA807C26-E9A0-FDCA-6110-038C1C5C7CF9}"/>
          </ac:spMkLst>
        </pc:spChg>
        <pc:graphicFrameChg chg="add del mod modGraphic">
          <ac:chgData name="Corey Yuan-Zhen Cao" userId="894c8f18-9551-4354-8c83-83a52876c78b" providerId="ADAL" clId="{5C20EACE-63ED-4F04-8D93-67A70AD2AE1B}" dt="2025-04-02T15:54:31.043" v="4248" actId="20577"/>
          <ac:graphicFrameMkLst>
            <pc:docMk/>
            <pc:sldMk cId="4010462100" sldId="2279"/>
            <ac:graphicFrameMk id="8" creationId="{A78EDF98-7DE3-CFB9-A568-B0137D61C685}"/>
          </ac:graphicFrameMkLst>
        </pc:graphicFrameChg>
        <pc:picChg chg="add del mod">
          <ac:chgData name="Corey Yuan-Zhen Cao" userId="894c8f18-9551-4354-8c83-83a52876c78b" providerId="ADAL" clId="{5C20EACE-63ED-4F04-8D93-67A70AD2AE1B}" dt="2025-04-02T15:34:49.693" v="3930" actId="22"/>
          <ac:picMkLst>
            <pc:docMk/>
            <pc:sldMk cId="4010462100" sldId="2279"/>
            <ac:picMk id="6" creationId="{975CE850-D74B-702C-0D7E-1F069AB43F91}"/>
          </ac:picMkLst>
        </pc:picChg>
        <pc:picChg chg="del">
          <ac:chgData name="Corey Yuan-Zhen Cao" userId="894c8f18-9551-4354-8c83-83a52876c78b" providerId="ADAL" clId="{5C20EACE-63ED-4F04-8D93-67A70AD2AE1B}" dt="2025-04-02T15:33:22.999" v="3732" actId="478"/>
          <ac:picMkLst>
            <pc:docMk/>
            <pc:sldMk cId="4010462100" sldId="2279"/>
            <ac:picMk id="9" creationId="{21069855-4F42-C349-EA1D-4C45EDEFF9BD}"/>
          </ac:picMkLst>
        </pc:picChg>
        <pc:picChg chg="del">
          <ac:chgData name="Corey Yuan-Zhen Cao" userId="894c8f18-9551-4354-8c83-83a52876c78b" providerId="ADAL" clId="{5C20EACE-63ED-4F04-8D93-67A70AD2AE1B}" dt="2025-04-02T15:33:23.773" v="3733" actId="478"/>
          <ac:picMkLst>
            <pc:docMk/>
            <pc:sldMk cId="4010462100" sldId="2279"/>
            <ac:picMk id="11" creationId="{5C630494-CAB4-83A1-BBB0-34343178C809}"/>
          </ac:picMkLst>
        </pc:picChg>
        <pc:picChg chg="del">
          <ac:chgData name="Corey Yuan-Zhen Cao" userId="894c8f18-9551-4354-8c83-83a52876c78b" providerId="ADAL" clId="{5C20EACE-63ED-4F04-8D93-67A70AD2AE1B}" dt="2025-04-02T15:33:24.132" v="3734" actId="478"/>
          <ac:picMkLst>
            <pc:docMk/>
            <pc:sldMk cId="4010462100" sldId="2279"/>
            <ac:picMk id="12" creationId="{22D5E965-085B-F80A-95BA-B6B697008D65}"/>
          </ac:picMkLst>
        </pc:picChg>
        <pc:picChg chg="del">
          <ac:chgData name="Corey Yuan-Zhen Cao" userId="894c8f18-9551-4354-8c83-83a52876c78b" providerId="ADAL" clId="{5C20EACE-63ED-4F04-8D93-67A70AD2AE1B}" dt="2025-04-02T15:33:24.674" v="3735" actId="478"/>
          <ac:picMkLst>
            <pc:docMk/>
            <pc:sldMk cId="4010462100" sldId="2279"/>
            <ac:picMk id="13" creationId="{24FEB2AC-B3EE-43FB-6E1F-2F81CE13ADBB}"/>
          </ac:picMkLst>
        </pc:picChg>
        <pc:picChg chg="del">
          <ac:chgData name="Corey Yuan-Zhen Cao" userId="894c8f18-9551-4354-8c83-83a52876c78b" providerId="ADAL" clId="{5C20EACE-63ED-4F04-8D93-67A70AD2AE1B}" dt="2025-04-02T15:33:25.323" v="3736" actId="478"/>
          <ac:picMkLst>
            <pc:docMk/>
            <pc:sldMk cId="4010462100" sldId="2279"/>
            <ac:picMk id="14" creationId="{993F716D-0183-9757-A18F-374D2072578C}"/>
          </ac:picMkLst>
        </pc:picChg>
        <pc:picChg chg="mod">
          <ac:chgData name="Corey Yuan-Zhen Cao" userId="894c8f18-9551-4354-8c83-83a52876c78b" providerId="ADAL" clId="{5C20EACE-63ED-4F04-8D93-67A70AD2AE1B}" dt="2025-04-02T15:53:37.225" v="4228" actId="1076"/>
          <ac:picMkLst>
            <pc:docMk/>
            <pc:sldMk cId="4010462100" sldId="2279"/>
            <ac:picMk id="15" creationId="{8C818A8B-35DA-18AD-E852-34D4A2901F19}"/>
          </ac:picMkLst>
        </pc:picChg>
        <pc:picChg chg="add del mod">
          <ac:chgData name="Corey Yuan-Zhen Cao" userId="894c8f18-9551-4354-8c83-83a52876c78b" providerId="ADAL" clId="{5C20EACE-63ED-4F04-8D93-67A70AD2AE1B}" dt="2025-04-02T15:36:17.812" v="3947" actId="478"/>
          <ac:picMkLst>
            <pc:docMk/>
            <pc:sldMk cId="4010462100" sldId="2279"/>
            <ac:picMk id="27" creationId="{AB91D13A-96CC-3DD4-76FF-066DF15BE010}"/>
          </ac:picMkLst>
        </pc:picChg>
        <pc:picChg chg="add del mod">
          <ac:chgData name="Corey Yuan-Zhen Cao" userId="894c8f18-9551-4354-8c83-83a52876c78b" providerId="ADAL" clId="{5C20EACE-63ED-4F04-8D93-67A70AD2AE1B}" dt="2025-04-02T15:36:28.961" v="3952" actId="478"/>
          <ac:picMkLst>
            <pc:docMk/>
            <pc:sldMk cId="4010462100" sldId="2279"/>
            <ac:picMk id="31" creationId="{3C23F50A-CB45-3776-8AC8-8AC721694C6B}"/>
          </ac:picMkLst>
        </pc:picChg>
        <pc:picChg chg="add mod">
          <ac:chgData name="Corey Yuan-Zhen Cao" userId="894c8f18-9551-4354-8c83-83a52876c78b" providerId="ADAL" clId="{5C20EACE-63ED-4F04-8D93-67A70AD2AE1B}" dt="2025-04-02T15:39:44.618" v="4046" actId="1076"/>
          <ac:picMkLst>
            <pc:docMk/>
            <pc:sldMk cId="4010462100" sldId="2279"/>
            <ac:picMk id="34" creationId="{0C36BDF6-E5FF-1A4E-9DBE-FF5699EAC5D7}"/>
          </ac:picMkLst>
        </pc:picChg>
        <pc:picChg chg="add del mod">
          <ac:chgData name="Corey Yuan-Zhen Cao" userId="894c8f18-9551-4354-8c83-83a52876c78b" providerId="ADAL" clId="{5C20EACE-63ED-4F04-8D93-67A70AD2AE1B}" dt="2025-04-02T15:37:09.121" v="3964" actId="478"/>
          <ac:picMkLst>
            <pc:docMk/>
            <pc:sldMk cId="4010462100" sldId="2279"/>
            <ac:picMk id="36" creationId="{EC82F97F-7622-E797-0978-6CA2B3D007B7}"/>
          </ac:picMkLst>
        </pc:picChg>
        <pc:picChg chg="add mod">
          <ac:chgData name="Corey Yuan-Zhen Cao" userId="894c8f18-9551-4354-8c83-83a52876c78b" providerId="ADAL" clId="{5C20EACE-63ED-4F04-8D93-67A70AD2AE1B}" dt="2025-04-02T15:47:24.339" v="4127" actId="1076"/>
          <ac:picMkLst>
            <pc:docMk/>
            <pc:sldMk cId="4010462100" sldId="2279"/>
            <ac:picMk id="38" creationId="{2D99D518-FE75-DEE1-C6DE-7D1ED6A6A8DF}"/>
          </ac:picMkLst>
        </pc:picChg>
        <pc:picChg chg="add mod">
          <ac:chgData name="Corey Yuan-Zhen Cao" userId="894c8f18-9551-4354-8c83-83a52876c78b" providerId="ADAL" clId="{5C20EACE-63ED-4F04-8D93-67A70AD2AE1B}" dt="2025-04-02T15:42:29.450" v="4067" actId="1076"/>
          <ac:picMkLst>
            <pc:docMk/>
            <pc:sldMk cId="4010462100" sldId="2279"/>
            <ac:picMk id="40" creationId="{B6AE89FB-4614-5BB1-C439-36DEBFB408A9}"/>
          </ac:picMkLst>
        </pc:picChg>
        <pc:picChg chg="add mod">
          <ac:chgData name="Corey Yuan-Zhen Cao" userId="894c8f18-9551-4354-8c83-83a52876c78b" providerId="ADAL" clId="{5C20EACE-63ED-4F04-8D93-67A70AD2AE1B}" dt="2025-04-02T15:47:22.179" v="4126" actId="1076"/>
          <ac:picMkLst>
            <pc:docMk/>
            <pc:sldMk cId="4010462100" sldId="2279"/>
            <ac:picMk id="42" creationId="{F540FEAD-57B8-00EA-06FD-23BEBC06C02B}"/>
          </ac:picMkLst>
        </pc:picChg>
        <pc:picChg chg="add mod">
          <ac:chgData name="Corey Yuan-Zhen Cao" userId="894c8f18-9551-4354-8c83-83a52876c78b" providerId="ADAL" clId="{5C20EACE-63ED-4F04-8D93-67A70AD2AE1B}" dt="2025-04-02T15:43:49.481" v="4085" actId="1076"/>
          <ac:picMkLst>
            <pc:docMk/>
            <pc:sldMk cId="4010462100" sldId="2279"/>
            <ac:picMk id="44" creationId="{ACA0002B-57E4-96B9-0997-57437407FA97}"/>
          </ac:picMkLst>
        </pc:picChg>
        <pc:picChg chg="add mod">
          <ac:chgData name="Corey Yuan-Zhen Cao" userId="894c8f18-9551-4354-8c83-83a52876c78b" providerId="ADAL" clId="{5C20EACE-63ED-4F04-8D93-67A70AD2AE1B}" dt="2025-04-02T15:47:20.436" v="4125" actId="1076"/>
          <ac:picMkLst>
            <pc:docMk/>
            <pc:sldMk cId="4010462100" sldId="2279"/>
            <ac:picMk id="46" creationId="{949E391F-4D39-B262-5BF0-8F61A9036AC8}"/>
          </ac:picMkLst>
        </pc:picChg>
        <pc:picChg chg="add mod">
          <ac:chgData name="Corey Yuan-Zhen Cao" userId="894c8f18-9551-4354-8c83-83a52876c78b" providerId="ADAL" clId="{5C20EACE-63ED-4F04-8D93-67A70AD2AE1B}" dt="2025-04-02T15:46:32.087" v="4113" actId="1076"/>
          <ac:picMkLst>
            <pc:docMk/>
            <pc:sldMk cId="4010462100" sldId="2279"/>
            <ac:picMk id="48" creationId="{1CF422DF-1A97-5B59-EE02-DB459EF7FD8E}"/>
          </ac:picMkLst>
        </pc:picChg>
        <pc:picChg chg="add mod">
          <ac:chgData name="Corey Yuan-Zhen Cao" userId="894c8f18-9551-4354-8c83-83a52876c78b" providerId="ADAL" clId="{5C20EACE-63ED-4F04-8D93-67A70AD2AE1B}" dt="2025-04-02T15:52:01.217" v="4193" actId="1076"/>
          <ac:picMkLst>
            <pc:docMk/>
            <pc:sldMk cId="4010462100" sldId="2279"/>
            <ac:picMk id="50" creationId="{6A9B7FA2-5717-6EC0-AEE1-04931553F312}"/>
          </ac:picMkLst>
        </pc:picChg>
        <pc:picChg chg="add mod">
          <ac:chgData name="Corey Yuan-Zhen Cao" userId="894c8f18-9551-4354-8c83-83a52876c78b" providerId="ADAL" clId="{5C20EACE-63ED-4F04-8D93-67A70AD2AE1B}" dt="2025-04-02T15:51:22.683" v="4184" actId="1076"/>
          <ac:picMkLst>
            <pc:docMk/>
            <pc:sldMk cId="4010462100" sldId="2279"/>
            <ac:picMk id="52" creationId="{80341C71-FE48-DC90-A5E1-0A7AF4555A18}"/>
          </ac:picMkLst>
        </pc:picChg>
        <pc:picChg chg="add mod">
          <ac:chgData name="Corey Yuan-Zhen Cao" userId="894c8f18-9551-4354-8c83-83a52876c78b" providerId="ADAL" clId="{5C20EACE-63ED-4F04-8D93-67A70AD2AE1B}" dt="2025-04-02T15:52:05.220" v="4194" actId="1076"/>
          <ac:picMkLst>
            <pc:docMk/>
            <pc:sldMk cId="4010462100" sldId="2279"/>
            <ac:picMk id="54" creationId="{22D9098B-4D9C-61B3-E84E-20ECD98EAE7F}"/>
          </ac:picMkLst>
        </pc:picChg>
        <pc:picChg chg="add mod">
          <ac:chgData name="Corey Yuan-Zhen Cao" userId="894c8f18-9551-4354-8c83-83a52876c78b" providerId="ADAL" clId="{5C20EACE-63ED-4F04-8D93-67A70AD2AE1B}" dt="2025-04-02T15:54:18.719" v="4238" actId="1076"/>
          <ac:picMkLst>
            <pc:docMk/>
            <pc:sldMk cId="4010462100" sldId="2279"/>
            <ac:picMk id="56" creationId="{4F690BB1-1F10-8F6C-12AE-E93B5DA1FEDC}"/>
          </ac:picMkLst>
        </pc:picChg>
        <pc:picChg chg="del">
          <ac:chgData name="Corey Yuan-Zhen Cao" userId="894c8f18-9551-4354-8c83-83a52876c78b" providerId="ADAL" clId="{5C20EACE-63ED-4F04-8D93-67A70AD2AE1B}" dt="2025-04-02T15:33:25.634" v="3737" actId="478"/>
          <ac:picMkLst>
            <pc:docMk/>
            <pc:sldMk cId="4010462100" sldId="2279"/>
            <ac:picMk id="5122" creationId="{7F787617-8CBF-27D0-669B-0EEA0F855C3B}"/>
          </ac:picMkLst>
        </pc:picChg>
        <pc:picChg chg="del">
          <ac:chgData name="Corey Yuan-Zhen Cao" userId="894c8f18-9551-4354-8c83-83a52876c78b" providerId="ADAL" clId="{5C20EACE-63ED-4F04-8D93-67A70AD2AE1B}" dt="2025-04-02T15:33:26.521" v="3738" actId="478"/>
          <ac:picMkLst>
            <pc:docMk/>
            <pc:sldMk cId="4010462100" sldId="2279"/>
            <ac:picMk id="5124" creationId="{B99D82EC-57FF-DC81-8DCB-C12E35DE4E09}"/>
          </ac:picMkLst>
        </pc:picChg>
        <pc:picChg chg="del">
          <ac:chgData name="Corey Yuan-Zhen Cao" userId="894c8f18-9551-4354-8c83-83a52876c78b" providerId="ADAL" clId="{5C20EACE-63ED-4F04-8D93-67A70AD2AE1B}" dt="2025-04-02T15:33:26.849" v="3739" actId="478"/>
          <ac:picMkLst>
            <pc:docMk/>
            <pc:sldMk cId="4010462100" sldId="2279"/>
            <ac:picMk id="5126" creationId="{E93056F1-7B6E-55CC-7D24-3A0AD4C55D32}"/>
          </ac:picMkLst>
        </pc:picChg>
        <pc:cxnChg chg="mod">
          <ac:chgData name="Corey Yuan-Zhen Cao" userId="894c8f18-9551-4354-8c83-83a52876c78b" providerId="ADAL" clId="{5C20EACE-63ED-4F04-8D93-67A70AD2AE1B}" dt="2025-04-02T15:52:20.027" v="4195" actId="1076"/>
          <ac:cxnSpMkLst>
            <pc:docMk/>
            <pc:sldMk cId="4010462100" sldId="2279"/>
            <ac:cxnSpMk id="28" creationId="{DA9A3C4E-F39E-BF1E-203D-C74D85635A78}"/>
          </ac:cxnSpMkLst>
        </pc:cxnChg>
      </pc:sldChg>
      <pc:sldMasterChg chg="modSldLayout">
        <pc:chgData name="Corey Yuan-Zhen Cao" userId="894c8f18-9551-4354-8c83-83a52876c78b" providerId="ADAL" clId="{5C20EACE-63ED-4F04-8D93-67A70AD2AE1B}" dt="2025-03-30T18:53:50.273" v="2097"/>
        <pc:sldMasterMkLst>
          <pc:docMk/>
          <pc:sldMasterMk cId="108896749" sldId="2147483674"/>
        </pc:sldMasterMkLst>
        <pc:sldLayoutChg chg="modSp mod">
          <pc:chgData name="Corey Yuan-Zhen Cao" userId="894c8f18-9551-4354-8c83-83a52876c78b" providerId="ADAL" clId="{5C20EACE-63ED-4F04-8D93-67A70AD2AE1B}" dt="2025-03-23T18:24:33.577" v="203" actId="1076"/>
          <pc:sldLayoutMkLst>
            <pc:docMk/>
            <pc:sldMasterMk cId="108896749" sldId="2147483674"/>
            <pc:sldLayoutMk cId="2977562269" sldId="2147483684"/>
          </pc:sldLayoutMkLst>
        </pc:sldLayoutChg>
        <pc:sldLayoutChg chg="addSp modSp mod">
          <pc:chgData name="Corey Yuan-Zhen Cao" userId="894c8f18-9551-4354-8c83-83a52876c78b" providerId="ADAL" clId="{5C20EACE-63ED-4F04-8D93-67A70AD2AE1B}" dt="2025-03-30T18:53:50.273" v="2097"/>
          <pc:sldLayoutMkLst>
            <pc:docMk/>
            <pc:sldMasterMk cId="108896749" sldId="2147483674"/>
            <pc:sldLayoutMk cId="2703187418" sldId="2147483694"/>
          </pc:sldLayoutMkLst>
        </pc:sldLayoutChg>
      </pc:sldMasterChg>
    </pc:docChg>
  </pc:docChgLst>
  <pc:docChgLst>
    <pc:chgData name="Christian Gillam" userId="S::cgill016@uottawa.ca::178737ef-0014-4dd8-b439-bc02dd9433a1" providerId="AD" clId="Web-{D919E9B7-1743-39B4-1C85-E1F1AA0FCB7F}"/>
    <pc:docChg chg="modSld">
      <pc:chgData name="Christian Gillam" userId="S::cgill016@uottawa.ca::178737ef-0014-4dd8-b439-bc02dd9433a1" providerId="AD" clId="Web-{D919E9B7-1743-39B4-1C85-E1F1AA0FCB7F}" dt="2025-03-30T19:06:10.436" v="20"/>
      <pc:docMkLst>
        <pc:docMk/>
      </pc:docMkLst>
      <pc:sldChg chg="addSp delSp modSp">
        <pc:chgData name="Christian Gillam" userId="S::cgill016@uottawa.ca::178737ef-0014-4dd8-b439-bc02dd9433a1" providerId="AD" clId="Web-{D919E9B7-1743-39B4-1C85-E1F1AA0FCB7F}" dt="2025-03-30T19:06:10.436" v="20"/>
        <pc:sldMkLst>
          <pc:docMk/>
          <pc:sldMk cId="4186388113" sldId="2159"/>
        </pc:sldMkLst>
        <pc:spChg chg="del">
          <ac:chgData name="Christian Gillam" userId="S::cgill016@uottawa.ca::178737ef-0014-4dd8-b439-bc02dd9433a1" providerId="AD" clId="Web-{D919E9B7-1743-39B4-1C85-E1F1AA0FCB7F}" dt="2025-03-30T19:05:55.983" v="18"/>
          <ac:spMkLst>
            <pc:docMk/>
            <pc:sldMk cId="4186388113" sldId="2159"/>
            <ac:spMk id="2" creationId="{F81E7161-0406-4B2C-827F-D211BEA65BB9}"/>
          </ac:spMkLst>
        </pc:spChg>
        <pc:spChg chg="add mod">
          <ac:chgData name="Christian Gillam" userId="S::cgill016@uottawa.ca::178737ef-0014-4dd8-b439-bc02dd9433a1" providerId="AD" clId="Web-{D919E9B7-1743-39B4-1C85-E1F1AA0FCB7F}" dt="2025-03-30T19:05:17.701" v="15" actId="1076"/>
          <ac:spMkLst>
            <pc:docMk/>
            <pc:sldMk cId="4186388113" sldId="2159"/>
            <ac:spMk id="3" creationId="{51FBA8F1-4436-4987-C1CA-1642B4A1E5E7}"/>
          </ac:spMkLst>
        </pc:spChg>
        <pc:spChg chg="mod">
          <ac:chgData name="Christian Gillam" userId="S::cgill016@uottawa.ca::178737ef-0014-4dd8-b439-bc02dd9433a1" providerId="AD" clId="Web-{D919E9B7-1743-39B4-1C85-E1F1AA0FCB7F}" dt="2025-03-30T19:06:10.436" v="20"/>
          <ac:spMkLst>
            <pc:docMk/>
            <pc:sldMk cId="4186388113" sldId="2159"/>
            <ac:spMk id="12" creationId="{3C58E064-3E33-6A8E-BAFF-2400D3B7A35B}"/>
          </ac:spMkLst>
        </pc:spChg>
        <pc:picChg chg="mod">
          <ac:chgData name="Christian Gillam" userId="S::cgill016@uottawa.ca::178737ef-0014-4dd8-b439-bc02dd9433a1" providerId="AD" clId="Web-{D919E9B7-1743-39B4-1C85-E1F1AA0FCB7F}" dt="2025-03-30T19:04:32.466" v="7" actId="1076"/>
          <ac:picMkLst>
            <pc:docMk/>
            <pc:sldMk cId="4186388113" sldId="2159"/>
            <ac:picMk id="13" creationId="{5137E24B-FE5B-AFE5-0BEA-D6D25ED31CC9}"/>
          </ac:picMkLst>
        </pc:picChg>
        <pc:picChg chg="mod">
          <ac:chgData name="Christian Gillam" userId="S::cgill016@uottawa.ca::178737ef-0014-4dd8-b439-bc02dd9433a1" providerId="AD" clId="Web-{D919E9B7-1743-39B4-1C85-E1F1AA0FCB7F}" dt="2025-03-30T19:05:23.482" v="16" actId="1076"/>
          <ac:picMkLst>
            <pc:docMk/>
            <pc:sldMk cId="4186388113" sldId="2159"/>
            <ac:picMk id="14" creationId="{6E343014-C0C7-5F2E-3DF2-8012BC55436E}"/>
          </ac:picMkLst>
        </pc:picChg>
      </pc:sldChg>
      <pc:sldChg chg="modSp">
        <pc:chgData name="Christian Gillam" userId="S::cgill016@uottawa.ca::178737ef-0014-4dd8-b439-bc02dd9433a1" providerId="AD" clId="Web-{D919E9B7-1743-39B4-1C85-E1F1AA0FCB7F}" dt="2025-03-30T19:04:09.028" v="4" actId="1076"/>
        <pc:sldMkLst>
          <pc:docMk/>
          <pc:sldMk cId="4186388113" sldId="2161"/>
        </pc:sldMkLst>
        <pc:spChg chg="mod">
          <ac:chgData name="Christian Gillam" userId="S::cgill016@uottawa.ca::178737ef-0014-4dd8-b439-bc02dd9433a1" providerId="AD" clId="Web-{D919E9B7-1743-39B4-1C85-E1F1AA0FCB7F}" dt="2025-03-30T19:03:53.356" v="3"/>
          <ac:spMkLst>
            <pc:docMk/>
            <pc:sldMk cId="4186388113" sldId="2161"/>
            <ac:spMk id="12" creationId="{3C58E064-3E33-6A8E-BAFF-2400D3B7A35B}"/>
          </ac:spMkLst>
        </pc:spChg>
        <pc:picChg chg="mod">
          <ac:chgData name="Christian Gillam" userId="S::cgill016@uottawa.ca::178737ef-0014-4dd8-b439-bc02dd9433a1" providerId="AD" clId="Web-{D919E9B7-1743-39B4-1C85-E1F1AA0FCB7F}" dt="2025-03-30T19:04:09.028" v="4" actId="1076"/>
          <ac:picMkLst>
            <pc:docMk/>
            <pc:sldMk cId="4186388113" sldId="2161"/>
            <ac:picMk id="14" creationId="{6E343014-C0C7-5F2E-3DF2-8012BC55436E}"/>
          </ac:picMkLst>
        </pc:picChg>
      </pc:sldChg>
    </pc:docChg>
  </pc:docChgLst>
  <pc:docChgLst>
    <pc:chgData name="Christian Gillam" userId="S::cgill016@uottawa.ca::178737ef-0014-4dd8-b439-bc02dd9433a1" providerId="AD" clId="Web-{F384B134-BE5D-2B4C-8957-BAF27AA32143}"/>
    <pc:docChg chg="addSld modSld">
      <pc:chgData name="Christian Gillam" userId="S::cgill016@uottawa.ca::178737ef-0014-4dd8-b439-bc02dd9433a1" providerId="AD" clId="Web-{F384B134-BE5D-2B4C-8957-BAF27AA32143}" dt="2025-03-25T20:31:00.561" v="125" actId="20577"/>
      <pc:docMkLst>
        <pc:docMk/>
      </pc:docMkLst>
      <pc:sldChg chg="modSp">
        <pc:chgData name="Christian Gillam" userId="S::cgill016@uottawa.ca::178737ef-0014-4dd8-b439-bc02dd9433a1" providerId="AD" clId="Web-{F384B134-BE5D-2B4C-8957-BAF27AA32143}" dt="2025-03-25T20:19:48.143" v="121" actId="20577"/>
        <pc:sldMkLst>
          <pc:docMk/>
          <pc:sldMk cId="4107216613" sldId="292"/>
        </pc:sldMkLst>
        <pc:spChg chg="mod">
          <ac:chgData name="Christian Gillam" userId="S::cgill016@uottawa.ca::178737ef-0014-4dd8-b439-bc02dd9433a1" providerId="AD" clId="Web-{F384B134-BE5D-2B4C-8957-BAF27AA32143}" dt="2025-03-25T20:10:03.836" v="80" actId="20577"/>
          <ac:spMkLst>
            <pc:docMk/>
            <pc:sldMk cId="4107216613" sldId="292"/>
            <ac:spMk id="7" creationId="{FF32FC7A-78CB-CEC7-5D1A-53A110BED3A6}"/>
          </ac:spMkLst>
        </pc:spChg>
        <pc:spChg chg="mod">
          <ac:chgData name="Christian Gillam" userId="S::cgill016@uottawa.ca::178737ef-0014-4dd8-b439-bc02dd9433a1" providerId="AD" clId="Web-{F384B134-BE5D-2B4C-8957-BAF27AA32143}" dt="2025-03-25T20:19:48.143" v="121" actId="20577"/>
          <ac:spMkLst>
            <pc:docMk/>
            <pc:sldMk cId="4107216613" sldId="292"/>
            <ac:spMk id="10" creationId="{0E93DFF5-A034-7F93-7235-298CFB937B91}"/>
          </ac:spMkLst>
        </pc:spChg>
      </pc:sldChg>
      <pc:sldChg chg="modSp">
        <pc:chgData name="Christian Gillam" userId="S::cgill016@uottawa.ca::178737ef-0014-4dd8-b439-bc02dd9433a1" providerId="AD" clId="Web-{F384B134-BE5D-2B4C-8957-BAF27AA32143}" dt="2025-03-25T20:31:00.561" v="125" actId="20577"/>
        <pc:sldMkLst>
          <pc:docMk/>
          <pc:sldMk cId="229152731" sldId="315"/>
        </pc:sldMkLst>
        <pc:spChg chg="mod">
          <ac:chgData name="Christian Gillam" userId="S::cgill016@uottawa.ca::178737ef-0014-4dd8-b439-bc02dd9433a1" providerId="AD" clId="Web-{F384B134-BE5D-2B4C-8957-BAF27AA32143}" dt="2025-03-25T20:31:00.561" v="125" actId="20577"/>
          <ac:spMkLst>
            <pc:docMk/>
            <pc:sldMk cId="229152731" sldId="315"/>
            <ac:spMk id="7" creationId="{F15F6A29-BB29-E1C6-BACC-63A89B82628D}"/>
          </ac:spMkLst>
        </pc:spChg>
      </pc:sldChg>
      <pc:sldChg chg="modSp">
        <pc:chgData name="Christian Gillam" userId="S::cgill016@uottawa.ca::178737ef-0014-4dd8-b439-bc02dd9433a1" providerId="AD" clId="Web-{F384B134-BE5D-2B4C-8957-BAF27AA32143}" dt="2025-03-25T20:09:34.539" v="53" actId="20577"/>
        <pc:sldMkLst>
          <pc:docMk/>
          <pc:sldMk cId="2063434367" sldId="317"/>
        </pc:sldMkLst>
        <pc:spChg chg="mod">
          <ac:chgData name="Christian Gillam" userId="S::cgill016@uottawa.ca::178737ef-0014-4dd8-b439-bc02dd9433a1" providerId="AD" clId="Web-{F384B134-BE5D-2B4C-8957-BAF27AA32143}" dt="2025-03-25T20:09:34.539" v="53" actId="20577"/>
          <ac:spMkLst>
            <pc:docMk/>
            <pc:sldMk cId="2063434367" sldId="317"/>
            <ac:spMk id="7" creationId="{A61FB7DF-5B58-4C25-405E-B532056266F8}"/>
          </ac:spMkLst>
        </pc:spChg>
        <pc:spChg chg="mod">
          <ac:chgData name="Christian Gillam" userId="S::cgill016@uottawa.ca::178737ef-0014-4dd8-b439-bc02dd9433a1" providerId="AD" clId="Web-{F384B134-BE5D-2B4C-8957-BAF27AA32143}" dt="2025-03-25T20:08:56.272" v="23" actId="20577"/>
          <ac:spMkLst>
            <pc:docMk/>
            <pc:sldMk cId="2063434367" sldId="317"/>
            <ac:spMk id="9" creationId="{B8C7635D-F992-1F7F-A1CB-2C6CE8D04431}"/>
          </ac:spMkLst>
        </pc:spChg>
        <pc:spChg chg="mod">
          <ac:chgData name="Christian Gillam" userId="S::cgill016@uottawa.ca::178737ef-0014-4dd8-b439-bc02dd9433a1" providerId="AD" clId="Web-{F384B134-BE5D-2B4C-8957-BAF27AA32143}" dt="2025-03-25T20:01:53.671" v="21" actId="20577"/>
          <ac:spMkLst>
            <pc:docMk/>
            <pc:sldMk cId="2063434367" sldId="317"/>
            <ac:spMk id="10" creationId="{E46E1377-E8B3-1290-C1E2-FD02D8B72630}"/>
          </ac:spMkLst>
        </pc:spChg>
      </pc:sldChg>
      <pc:sldChg chg="modSp new">
        <pc:chgData name="Christian Gillam" userId="S::cgill016@uottawa.ca::178737ef-0014-4dd8-b439-bc02dd9433a1" providerId="AD" clId="Web-{F384B134-BE5D-2B4C-8957-BAF27AA32143}" dt="2025-03-25T20:09:46.617" v="71" actId="20577"/>
        <pc:sldMkLst>
          <pc:docMk/>
          <pc:sldMk cId="1262616228" sldId="318"/>
        </pc:sldMkLst>
        <pc:spChg chg="mod">
          <ac:chgData name="Christian Gillam" userId="S::cgill016@uottawa.ca::178737ef-0014-4dd8-b439-bc02dd9433a1" providerId="AD" clId="Web-{F384B134-BE5D-2B4C-8957-BAF27AA32143}" dt="2025-03-25T20:09:46.617" v="71" actId="20577"/>
          <ac:spMkLst>
            <pc:docMk/>
            <pc:sldMk cId="1262616228" sldId="318"/>
            <ac:spMk id="4" creationId="{31DF147C-9078-914A-7BDA-A26B73E07E50}"/>
          </ac:spMkLst>
        </pc:spChg>
      </pc:sldChg>
    </pc:docChg>
  </pc:docChgLst>
  <pc:docChgLst>
    <pc:chgData name="Corey Yuan-Zhen Cao" userId="894c8f18-9551-4354-8c83-83a52876c78b" providerId="ADAL" clId="{8E836401-0D26-4162-8D36-8E1FD2AA312B}"/>
    <pc:docChg chg="undo custSel addSld delSld modSld">
      <pc:chgData name="Corey Yuan-Zhen Cao" userId="894c8f18-9551-4354-8c83-83a52876c78b" providerId="ADAL" clId="{8E836401-0D26-4162-8D36-8E1FD2AA312B}" dt="2025-04-01T00:59:14.621" v="536" actId="2696"/>
      <pc:docMkLst>
        <pc:docMk/>
      </pc:docMkLst>
      <pc:sldChg chg="addSp delSp modSp mod modClrScheme chgLayout">
        <pc:chgData name="Corey Yuan-Zhen Cao" userId="894c8f18-9551-4354-8c83-83a52876c78b" providerId="ADAL" clId="{8E836401-0D26-4162-8D36-8E1FD2AA312B}" dt="2025-03-31T23:27:39.061" v="42" actId="700"/>
        <pc:sldMkLst>
          <pc:docMk/>
          <pc:sldMk cId="3658756422" sldId="271"/>
        </pc:sldMkLst>
        <pc:spChg chg="add del mod ord">
          <ac:chgData name="Corey Yuan-Zhen Cao" userId="894c8f18-9551-4354-8c83-83a52876c78b" providerId="ADAL" clId="{8E836401-0D26-4162-8D36-8E1FD2AA312B}" dt="2025-03-31T23:27:39.061" v="42" actId="700"/>
          <ac:spMkLst>
            <pc:docMk/>
            <pc:sldMk cId="3658756422" sldId="271"/>
            <ac:spMk id="2" creationId="{8AB0596A-A293-41B9-8A69-C0F59C5D15A6}"/>
          </ac:spMkLst>
        </pc:spChg>
        <pc:spChg chg="mod ord">
          <ac:chgData name="Corey Yuan-Zhen Cao" userId="894c8f18-9551-4354-8c83-83a52876c78b" providerId="ADAL" clId="{8E836401-0D26-4162-8D36-8E1FD2AA312B}" dt="2025-03-31T23:27:39.061" v="42" actId="700"/>
          <ac:spMkLst>
            <pc:docMk/>
            <pc:sldMk cId="3658756422" sldId="271"/>
            <ac:spMk id="4" creationId="{362E5396-E1C2-2648-1DD6-92CB6BCCADD9}"/>
          </ac:spMkLst>
        </pc:spChg>
        <pc:spChg chg="mod">
          <ac:chgData name="Corey Yuan-Zhen Cao" userId="894c8f18-9551-4354-8c83-83a52876c78b" providerId="ADAL" clId="{8E836401-0D26-4162-8D36-8E1FD2AA312B}" dt="2025-03-31T23:23:01.363" v="28" actId="1076"/>
          <ac:spMkLst>
            <pc:docMk/>
            <pc:sldMk cId="3658756422" sldId="271"/>
            <ac:spMk id="5" creationId="{A7C367D3-9AFF-73B8-C2F0-0FCCBD2A98B8}"/>
          </ac:spMkLst>
        </pc:spChg>
        <pc:spChg chg="mod ord">
          <ac:chgData name="Corey Yuan-Zhen Cao" userId="894c8f18-9551-4354-8c83-83a52876c78b" providerId="ADAL" clId="{8E836401-0D26-4162-8D36-8E1FD2AA312B}" dt="2025-03-31T23:27:39.061" v="42" actId="700"/>
          <ac:spMkLst>
            <pc:docMk/>
            <pc:sldMk cId="3658756422" sldId="271"/>
            <ac:spMk id="6" creationId="{1A2051C2-48BC-D1E6-E027-CEA4C4CF2801}"/>
          </ac:spMkLst>
        </pc:spChg>
        <pc:spChg chg="add del mod ord">
          <ac:chgData name="Corey Yuan-Zhen Cao" userId="894c8f18-9551-4354-8c83-83a52876c78b" providerId="ADAL" clId="{8E836401-0D26-4162-8D36-8E1FD2AA312B}" dt="2025-03-31T23:27:39.061" v="42" actId="700"/>
          <ac:spMkLst>
            <pc:docMk/>
            <pc:sldMk cId="3658756422" sldId="271"/>
            <ac:spMk id="7" creationId="{219C2FB4-744D-1568-8A11-B35A2DE4D23E}"/>
          </ac:spMkLst>
        </pc:spChg>
        <pc:spChg chg="mod">
          <ac:chgData name="Corey Yuan-Zhen Cao" userId="894c8f18-9551-4354-8c83-83a52876c78b" providerId="ADAL" clId="{8E836401-0D26-4162-8D36-8E1FD2AA312B}" dt="2025-03-31T23:23:10.981" v="30" actId="1076"/>
          <ac:spMkLst>
            <pc:docMk/>
            <pc:sldMk cId="3658756422" sldId="271"/>
            <ac:spMk id="8" creationId="{58D6A3DE-6B18-1FDC-39E2-CD38CC4A6A7E}"/>
          </ac:spMkLst>
        </pc:spChg>
        <pc:spChg chg="add del">
          <ac:chgData name="Corey Yuan-Zhen Cao" userId="894c8f18-9551-4354-8c83-83a52876c78b" providerId="ADAL" clId="{8E836401-0D26-4162-8D36-8E1FD2AA312B}" dt="2025-03-31T23:27:39.061" v="42" actId="700"/>
          <ac:spMkLst>
            <pc:docMk/>
            <pc:sldMk cId="3658756422" sldId="271"/>
            <ac:spMk id="9" creationId="{89514516-9934-A2CC-A714-742A6D8E74C4}"/>
          </ac:spMkLst>
        </pc:spChg>
        <pc:spChg chg="add del">
          <ac:chgData name="Corey Yuan-Zhen Cao" userId="894c8f18-9551-4354-8c83-83a52876c78b" providerId="ADAL" clId="{8E836401-0D26-4162-8D36-8E1FD2AA312B}" dt="2025-03-31T23:27:39.061" v="42" actId="700"/>
          <ac:spMkLst>
            <pc:docMk/>
            <pc:sldMk cId="3658756422" sldId="271"/>
            <ac:spMk id="10" creationId="{690CDED4-F5F4-3C6A-8793-2CD9FE451A7C}"/>
          </ac:spMkLst>
        </pc:spChg>
        <pc:spChg chg="add del mod">
          <ac:chgData name="Corey Yuan-Zhen Cao" userId="894c8f18-9551-4354-8c83-83a52876c78b" providerId="ADAL" clId="{8E836401-0D26-4162-8D36-8E1FD2AA312B}" dt="2025-03-31T23:27:39.061" v="42" actId="700"/>
          <ac:spMkLst>
            <pc:docMk/>
            <pc:sldMk cId="3658756422" sldId="271"/>
            <ac:spMk id="11" creationId="{E76673B5-CA90-EF72-67E7-E4FAEE2C7902}"/>
          </ac:spMkLst>
        </pc:spChg>
        <pc:spChg chg="del mod ord">
          <ac:chgData name="Corey Yuan-Zhen Cao" userId="894c8f18-9551-4354-8c83-83a52876c78b" providerId="ADAL" clId="{8E836401-0D26-4162-8D36-8E1FD2AA312B}" dt="2025-03-31T23:25:46.581" v="38" actId="478"/>
          <ac:spMkLst>
            <pc:docMk/>
            <pc:sldMk cId="3658756422" sldId="271"/>
            <ac:spMk id="12" creationId="{59DD8D95-ACAD-F457-8466-382006655F91}"/>
          </ac:spMkLst>
        </pc:spChg>
        <pc:spChg chg="mod">
          <ac:chgData name="Corey Yuan-Zhen Cao" userId="894c8f18-9551-4354-8c83-83a52876c78b" providerId="ADAL" clId="{8E836401-0D26-4162-8D36-8E1FD2AA312B}" dt="2025-03-31T23:23:23.470" v="32" actId="1076"/>
          <ac:spMkLst>
            <pc:docMk/>
            <pc:sldMk cId="3658756422" sldId="271"/>
            <ac:spMk id="23" creationId="{E0728ECE-1A7F-6194-2844-C20795F590C4}"/>
          </ac:spMkLst>
        </pc:spChg>
        <pc:spChg chg="mod">
          <ac:chgData name="Corey Yuan-Zhen Cao" userId="894c8f18-9551-4354-8c83-83a52876c78b" providerId="ADAL" clId="{8E836401-0D26-4162-8D36-8E1FD2AA312B}" dt="2025-03-31T23:22:32.143" v="24" actId="1076"/>
          <ac:spMkLst>
            <pc:docMk/>
            <pc:sldMk cId="3658756422" sldId="271"/>
            <ac:spMk id="25" creationId="{3F543EE6-CCF6-1692-BD00-D6C80C35E221}"/>
          </ac:spMkLst>
        </pc:spChg>
        <pc:spChg chg="mod">
          <ac:chgData name="Corey Yuan-Zhen Cao" userId="894c8f18-9551-4354-8c83-83a52876c78b" providerId="ADAL" clId="{8E836401-0D26-4162-8D36-8E1FD2AA312B}" dt="2025-03-31T23:23:07.092" v="29" actId="1076"/>
          <ac:spMkLst>
            <pc:docMk/>
            <pc:sldMk cId="3658756422" sldId="271"/>
            <ac:spMk id="32" creationId="{1F899EF7-7B10-81BA-0FF6-6E2DE3A155F2}"/>
          </ac:spMkLst>
        </pc:spChg>
        <pc:spChg chg="mod">
          <ac:chgData name="Corey Yuan-Zhen Cao" userId="894c8f18-9551-4354-8c83-83a52876c78b" providerId="ADAL" clId="{8E836401-0D26-4162-8D36-8E1FD2AA312B}" dt="2025-03-31T23:23:17.570" v="31" actId="1076"/>
          <ac:spMkLst>
            <pc:docMk/>
            <pc:sldMk cId="3658756422" sldId="271"/>
            <ac:spMk id="33" creationId="{D1197F6A-340F-F8B5-72C1-7D3B29016864}"/>
          </ac:spMkLst>
        </pc:spChg>
        <pc:spChg chg="mod">
          <ac:chgData name="Corey Yuan-Zhen Cao" userId="894c8f18-9551-4354-8c83-83a52876c78b" providerId="ADAL" clId="{8E836401-0D26-4162-8D36-8E1FD2AA312B}" dt="2025-03-31T23:23:28.124" v="33" actId="1076"/>
          <ac:spMkLst>
            <pc:docMk/>
            <pc:sldMk cId="3658756422" sldId="271"/>
            <ac:spMk id="34" creationId="{AD4F8E41-4B10-EEE3-AC81-080B75B25248}"/>
          </ac:spMkLst>
        </pc:spChg>
        <pc:graphicFrameChg chg="mod ord">
          <ac:chgData name="Corey Yuan-Zhen Cao" userId="894c8f18-9551-4354-8c83-83a52876c78b" providerId="ADAL" clId="{8E836401-0D26-4162-8D36-8E1FD2AA312B}" dt="2025-03-31T23:27:39.061" v="42" actId="700"/>
          <ac:graphicFrameMkLst>
            <pc:docMk/>
            <pc:sldMk cId="3658756422" sldId="271"/>
            <ac:graphicFrameMk id="20" creationId="{DD8036DA-664E-ED9C-648D-5F55884A74A8}"/>
          </ac:graphicFrameMkLst>
        </pc:graphicFrameChg>
      </pc:sldChg>
      <pc:sldChg chg="modSp del">
        <pc:chgData name="Corey Yuan-Zhen Cao" userId="894c8f18-9551-4354-8c83-83a52876c78b" providerId="ADAL" clId="{8E836401-0D26-4162-8D36-8E1FD2AA312B}" dt="2025-04-01T00:16:51.122" v="352" actId="47"/>
        <pc:sldMkLst>
          <pc:docMk/>
          <pc:sldMk cId="4180380748" sldId="275"/>
        </pc:sldMkLst>
        <pc:graphicFrameChg chg="mod">
          <ac:chgData name="Corey Yuan-Zhen Cao" userId="894c8f18-9551-4354-8c83-83a52876c78b" providerId="ADAL" clId="{8E836401-0D26-4162-8D36-8E1FD2AA312B}" dt="2025-04-01T00:09:57.187" v="279"/>
          <ac:graphicFrameMkLst>
            <pc:docMk/>
            <pc:sldMk cId="4180380748" sldId="275"/>
            <ac:graphicFrameMk id="2" creationId="{3E0CA8DA-5878-4BF1-0386-A8C97DDAF355}"/>
          </ac:graphicFrameMkLst>
        </pc:graphicFrameChg>
        <pc:graphicFrameChg chg="mod">
          <ac:chgData name="Corey Yuan-Zhen Cao" userId="894c8f18-9551-4354-8c83-83a52876c78b" providerId="ADAL" clId="{8E836401-0D26-4162-8D36-8E1FD2AA312B}" dt="2025-04-01T00:09:52.913" v="278"/>
          <ac:graphicFrameMkLst>
            <pc:docMk/>
            <pc:sldMk cId="4180380748" sldId="275"/>
            <ac:graphicFrameMk id="7" creationId="{922A4CD0-CBF3-B4BC-3AC0-D65C5936DF5B}"/>
          </ac:graphicFrameMkLst>
        </pc:graphicFrameChg>
      </pc:sldChg>
      <pc:sldChg chg="modSp mod">
        <pc:chgData name="Corey Yuan-Zhen Cao" userId="894c8f18-9551-4354-8c83-83a52876c78b" providerId="ADAL" clId="{8E836401-0D26-4162-8D36-8E1FD2AA312B}" dt="2025-04-01T00:04:11.161" v="277" actId="20577"/>
        <pc:sldMkLst>
          <pc:docMk/>
          <pc:sldMk cId="597480458" sldId="277"/>
        </pc:sldMkLst>
        <pc:spChg chg="mod">
          <ac:chgData name="Corey Yuan-Zhen Cao" userId="894c8f18-9551-4354-8c83-83a52876c78b" providerId="ADAL" clId="{8E836401-0D26-4162-8D36-8E1FD2AA312B}" dt="2025-04-01T00:04:11.161" v="277" actId="20577"/>
          <ac:spMkLst>
            <pc:docMk/>
            <pc:sldMk cId="597480458" sldId="277"/>
            <ac:spMk id="8" creationId="{0B2406F1-9A89-43CF-6B72-90C3789E3B2C}"/>
          </ac:spMkLst>
        </pc:spChg>
      </pc:sldChg>
      <pc:sldChg chg="del">
        <pc:chgData name="Corey Yuan-Zhen Cao" userId="894c8f18-9551-4354-8c83-83a52876c78b" providerId="ADAL" clId="{8E836401-0D26-4162-8D36-8E1FD2AA312B}" dt="2025-04-01T00:59:14.621" v="536" actId="2696"/>
        <pc:sldMkLst>
          <pc:docMk/>
          <pc:sldMk cId="1262616228" sldId="318"/>
        </pc:sldMkLst>
      </pc:sldChg>
      <pc:sldChg chg="modSp mod">
        <pc:chgData name="Corey Yuan-Zhen Cao" userId="894c8f18-9551-4354-8c83-83a52876c78b" providerId="ADAL" clId="{8E836401-0D26-4162-8D36-8E1FD2AA312B}" dt="2025-04-01T00:58:59.887" v="535" actId="207"/>
        <pc:sldMkLst>
          <pc:docMk/>
          <pc:sldMk cId="99878240" sldId="2174"/>
        </pc:sldMkLst>
        <pc:graphicFrameChg chg="modGraphic">
          <ac:chgData name="Corey Yuan-Zhen Cao" userId="894c8f18-9551-4354-8c83-83a52876c78b" providerId="ADAL" clId="{8E836401-0D26-4162-8D36-8E1FD2AA312B}" dt="2025-04-01T00:58:59.887" v="535" actId="207"/>
          <ac:graphicFrameMkLst>
            <pc:docMk/>
            <pc:sldMk cId="99878240" sldId="2174"/>
            <ac:graphicFrameMk id="14" creationId="{7416FF9B-981D-91CC-5F75-047BA5E574BB}"/>
          </ac:graphicFrameMkLst>
        </pc:graphicFrameChg>
        <pc:graphicFrameChg chg="modGraphic">
          <ac:chgData name="Corey Yuan-Zhen Cao" userId="894c8f18-9551-4354-8c83-83a52876c78b" providerId="ADAL" clId="{8E836401-0D26-4162-8D36-8E1FD2AA312B}" dt="2025-04-01T00:58:23.206" v="533" actId="207"/>
          <ac:graphicFrameMkLst>
            <pc:docMk/>
            <pc:sldMk cId="99878240" sldId="2174"/>
            <ac:graphicFrameMk id="18" creationId="{B1D6163C-40B9-34AA-ED02-A4A696BE6F13}"/>
          </ac:graphicFrameMkLst>
        </pc:graphicFrameChg>
        <pc:graphicFrameChg chg="modGraphic">
          <ac:chgData name="Corey Yuan-Zhen Cao" userId="894c8f18-9551-4354-8c83-83a52876c78b" providerId="ADAL" clId="{8E836401-0D26-4162-8D36-8E1FD2AA312B}" dt="2025-04-01T00:57:54.265" v="527" actId="207"/>
          <ac:graphicFrameMkLst>
            <pc:docMk/>
            <pc:sldMk cId="99878240" sldId="2174"/>
            <ac:graphicFrameMk id="24" creationId="{7C59455E-FF07-C056-6D59-43FE5AF8512D}"/>
          </ac:graphicFrameMkLst>
        </pc:graphicFrameChg>
      </pc:sldChg>
      <pc:sldChg chg="modSp">
        <pc:chgData name="Corey Yuan-Zhen Cao" userId="894c8f18-9551-4354-8c83-83a52876c78b" providerId="ADAL" clId="{8E836401-0D26-4162-8D36-8E1FD2AA312B}" dt="2025-03-31T23:18:45.729" v="10" actId="122"/>
        <pc:sldMkLst>
          <pc:docMk/>
          <pc:sldMk cId="2168724459" sldId="2227"/>
        </pc:sldMkLst>
        <pc:graphicFrameChg chg="mod">
          <ac:chgData name="Corey Yuan-Zhen Cao" userId="894c8f18-9551-4354-8c83-83a52876c78b" providerId="ADAL" clId="{8E836401-0D26-4162-8D36-8E1FD2AA312B}" dt="2025-03-31T23:18:45.729" v="10" actId="122"/>
          <ac:graphicFrameMkLst>
            <pc:docMk/>
            <pc:sldMk cId="2168724459" sldId="2227"/>
            <ac:graphicFrameMk id="8" creationId="{2F061250-990B-1577-4ECA-E7EB45FBF37A}"/>
          </ac:graphicFrameMkLst>
        </pc:graphicFrameChg>
      </pc:sldChg>
      <pc:sldChg chg="modSp mod">
        <pc:chgData name="Corey Yuan-Zhen Cao" userId="894c8f18-9551-4354-8c83-83a52876c78b" providerId="ADAL" clId="{8E836401-0D26-4162-8D36-8E1FD2AA312B}" dt="2025-03-31T23:18:17.426" v="5" actId="113"/>
        <pc:sldMkLst>
          <pc:docMk/>
          <pc:sldMk cId="1295462071" sldId="2229"/>
        </pc:sldMkLst>
        <pc:spChg chg="mod">
          <ac:chgData name="Corey Yuan-Zhen Cao" userId="894c8f18-9551-4354-8c83-83a52876c78b" providerId="ADAL" clId="{8E836401-0D26-4162-8D36-8E1FD2AA312B}" dt="2025-03-31T23:18:15.964" v="4" actId="113"/>
          <ac:spMkLst>
            <pc:docMk/>
            <pc:sldMk cId="1295462071" sldId="2229"/>
            <ac:spMk id="7" creationId="{B4529011-0E42-02D4-E3F9-0B066AB40722}"/>
          </ac:spMkLst>
        </pc:spChg>
        <pc:spChg chg="mod">
          <ac:chgData name="Corey Yuan-Zhen Cao" userId="894c8f18-9551-4354-8c83-83a52876c78b" providerId="ADAL" clId="{8E836401-0D26-4162-8D36-8E1FD2AA312B}" dt="2025-03-31T23:18:17.426" v="5" actId="113"/>
          <ac:spMkLst>
            <pc:docMk/>
            <pc:sldMk cId="1295462071" sldId="2229"/>
            <ac:spMk id="8" creationId="{52733E81-2DFB-59EF-603B-122C0658301F}"/>
          </ac:spMkLst>
        </pc:spChg>
        <pc:graphicFrameChg chg="modGraphic">
          <ac:chgData name="Corey Yuan-Zhen Cao" userId="894c8f18-9551-4354-8c83-83a52876c78b" providerId="ADAL" clId="{8E836401-0D26-4162-8D36-8E1FD2AA312B}" dt="2025-03-31T23:17:46.225" v="3" actId="122"/>
          <ac:graphicFrameMkLst>
            <pc:docMk/>
            <pc:sldMk cId="1295462071" sldId="2229"/>
            <ac:graphicFrameMk id="6" creationId="{90D84662-5365-3BF3-0454-4B139F8F04A8}"/>
          </ac:graphicFrameMkLst>
        </pc:graphicFrameChg>
      </pc:sldChg>
      <pc:sldChg chg="modSp mod">
        <pc:chgData name="Corey Yuan-Zhen Cao" userId="894c8f18-9551-4354-8c83-83a52876c78b" providerId="ADAL" clId="{8E836401-0D26-4162-8D36-8E1FD2AA312B}" dt="2025-04-01T00:57:12.599" v="521" actId="207"/>
        <pc:sldMkLst>
          <pc:docMk/>
          <pc:sldMk cId="3295877462" sldId="2230"/>
        </pc:sldMkLst>
        <pc:graphicFrameChg chg="mod modGraphic">
          <ac:chgData name="Corey Yuan-Zhen Cao" userId="894c8f18-9551-4354-8c83-83a52876c78b" providerId="ADAL" clId="{8E836401-0D26-4162-8D36-8E1FD2AA312B}" dt="2025-04-01T00:57:12.599" v="521" actId="207"/>
          <ac:graphicFrameMkLst>
            <pc:docMk/>
            <pc:sldMk cId="3295877462" sldId="2230"/>
            <ac:graphicFrameMk id="27" creationId="{FA113642-5A78-A098-6ED4-B1E1AB7C64EB}"/>
          </ac:graphicFrameMkLst>
        </pc:graphicFrameChg>
      </pc:sldChg>
      <pc:sldChg chg="modSp mod">
        <pc:chgData name="Corey Yuan-Zhen Cao" userId="894c8f18-9551-4354-8c83-83a52876c78b" providerId="ADAL" clId="{8E836401-0D26-4162-8D36-8E1FD2AA312B}" dt="2025-03-31T23:35:36.258" v="123" actId="120"/>
        <pc:sldMkLst>
          <pc:docMk/>
          <pc:sldMk cId="4273748011" sldId="2231"/>
        </pc:sldMkLst>
        <pc:spChg chg="mod">
          <ac:chgData name="Corey Yuan-Zhen Cao" userId="894c8f18-9551-4354-8c83-83a52876c78b" providerId="ADAL" clId="{8E836401-0D26-4162-8D36-8E1FD2AA312B}" dt="2025-03-31T23:35:26.025" v="119" actId="12"/>
          <ac:spMkLst>
            <pc:docMk/>
            <pc:sldMk cId="4273748011" sldId="2231"/>
            <ac:spMk id="14" creationId="{B7CC9C70-B56E-5F4F-B28C-77FEF96085D7}"/>
          </ac:spMkLst>
        </pc:spChg>
        <pc:spChg chg="mod">
          <ac:chgData name="Corey Yuan-Zhen Cao" userId="894c8f18-9551-4354-8c83-83a52876c78b" providerId="ADAL" clId="{8E836401-0D26-4162-8D36-8E1FD2AA312B}" dt="2025-03-31T23:35:30.291" v="121" actId="120"/>
          <ac:spMkLst>
            <pc:docMk/>
            <pc:sldMk cId="4273748011" sldId="2231"/>
            <ac:spMk id="15" creationId="{1746EBB1-A0A2-31BF-D5EA-CA9852F13A54}"/>
          </ac:spMkLst>
        </pc:spChg>
        <pc:spChg chg="mod">
          <ac:chgData name="Corey Yuan-Zhen Cao" userId="894c8f18-9551-4354-8c83-83a52876c78b" providerId="ADAL" clId="{8E836401-0D26-4162-8D36-8E1FD2AA312B}" dt="2025-03-31T23:35:36.258" v="123" actId="120"/>
          <ac:spMkLst>
            <pc:docMk/>
            <pc:sldMk cId="4273748011" sldId="2231"/>
            <ac:spMk id="16" creationId="{4E9A29A4-133D-6F58-7923-67A933E278CF}"/>
          </ac:spMkLst>
        </pc:spChg>
        <pc:spChg chg="mod">
          <ac:chgData name="Corey Yuan-Zhen Cao" userId="894c8f18-9551-4354-8c83-83a52876c78b" providerId="ADAL" clId="{8E836401-0D26-4162-8D36-8E1FD2AA312B}" dt="2025-03-31T23:35:20.746" v="117" actId="12"/>
          <ac:spMkLst>
            <pc:docMk/>
            <pc:sldMk cId="4273748011" sldId="2231"/>
            <ac:spMk id="17" creationId="{7C808A9A-6172-373D-8EA2-1495DC6ACB14}"/>
          </ac:spMkLst>
        </pc:spChg>
      </pc:sldChg>
      <pc:sldChg chg="addSp delSp modSp add mod modClrScheme chgLayout">
        <pc:chgData name="Corey Yuan-Zhen Cao" userId="894c8f18-9551-4354-8c83-83a52876c78b" providerId="ADAL" clId="{8E836401-0D26-4162-8D36-8E1FD2AA312B}" dt="2025-03-31T23:31:22.509" v="104" actId="478"/>
        <pc:sldMkLst>
          <pc:docMk/>
          <pc:sldMk cId="3969090011" sldId="2232"/>
        </pc:sldMkLst>
        <pc:spChg chg="add mod ord">
          <ac:chgData name="Corey Yuan-Zhen Cao" userId="894c8f18-9551-4354-8c83-83a52876c78b" providerId="ADAL" clId="{8E836401-0D26-4162-8D36-8E1FD2AA312B}" dt="2025-03-31T23:27:45.577" v="44" actId="700"/>
          <ac:spMkLst>
            <pc:docMk/>
            <pc:sldMk cId="3969090011" sldId="2232"/>
            <ac:spMk id="2" creationId="{364F48D4-2C4D-49A2-8317-13AC5229830D}"/>
          </ac:spMkLst>
        </pc:spChg>
        <pc:spChg chg="add del mod ord">
          <ac:chgData name="Corey Yuan-Zhen Cao" userId="894c8f18-9551-4354-8c83-83a52876c78b" providerId="ADAL" clId="{8E836401-0D26-4162-8D36-8E1FD2AA312B}" dt="2025-03-31T23:31:22.509" v="104" actId="478"/>
          <ac:spMkLst>
            <pc:docMk/>
            <pc:sldMk cId="3969090011" sldId="2232"/>
            <ac:spMk id="3" creationId="{9C38D5A6-EBF0-43DB-90D9-7E500B6492CE}"/>
          </ac:spMkLst>
        </pc:spChg>
        <pc:spChg chg="mod ord">
          <ac:chgData name="Corey Yuan-Zhen Cao" userId="894c8f18-9551-4354-8c83-83a52876c78b" providerId="ADAL" clId="{8E836401-0D26-4162-8D36-8E1FD2AA312B}" dt="2025-03-31T23:27:45.577" v="44" actId="700"/>
          <ac:spMkLst>
            <pc:docMk/>
            <pc:sldMk cId="3969090011" sldId="2232"/>
            <ac:spMk id="4" creationId="{362E5396-E1C2-2648-1DD6-92CB6BCCADD9}"/>
          </ac:spMkLst>
        </pc:spChg>
        <pc:spChg chg="mod ord">
          <ac:chgData name="Corey Yuan-Zhen Cao" userId="894c8f18-9551-4354-8c83-83a52876c78b" providerId="ADAL" clId="{8E836401-0D26-4162-8D36-8E1FD2AA312B}" dt="2025-03-31T23:27:45.577" v="44" actId="700"/>
          <ac:spMkLst>
            <pc:docMk/>
            <pc:sldMk cId="3969090011" sldId="2232"/>
            <ac:spMk id="6" creationId="{1A2051C2-48BC-D1E6-E027-CEA4C4CF2801}"/>
          </ac:spMkLst>
        </pc:spChg>
        <pc:spChg chg="del mod ord">
          <ac:chgData name="Corey Yuan-Zhen Cao" userId="894c8f18-9551-4354-8c83-83a52876c78b" providerId="ADAL" clId="{8E836401-0D26-4162-8D36-8E1FD2AA312B}" dt="2025-03-31T23:27:45.577" v="44" actId="700"/>
          <ac:spMkLst>
            <pc:docMk/>
            <pc:sldMk cId="3969090011" sldId="2232"/>
            <ac:spMk id="7" creationId="{219C2FB4-744D-1568-8A11-B35A2DE4D23E}"/>
          </ac:spMkLst>
        </pc:spChg>
        <pc:spChg chg="del">
          <ac:chgData name="Corey Yuan-Zhen Cao" userId="894c8f18-9551-4354-8c83-83a52876c78b" providerId="ADAL" clId="{8E836401-0D26-4162-8D36-8E1FD2AA312B}" dt="2025-03-31T23:27:45.577" v="44" actId="700"/>
          <ac:spMkLst>
            <pc:docMk/>
            <pc:sldMk cId="3969090011" sldId="2232"/>
            <ac:spMk id="9" creationId="{89514516-9934-A2CC-A714-742A6D8E74C4}"/>
          </ac:spMkLst>
        </pc:spChg>
        <pc:spChg chg="del">
          <ac:chgData name="Corey Yuan-Zhen Cao" userId="894c8f18-9551-4354-8c83-83a52876c78b" providerId="ADAL" clId="{8E836401-0D26-4162-8D36-8E1FD2AA312B}" dt="2025-03-31T23:27:45.577" v="44" actId="700"/>
          <ac:spMkLst>
            <pc:docMk/>
            <pc:sldMk cId="3969090011" sldId="2232"/>
            <ac:spMk id="10" creationId="{690CDED4-F5F4-3C6A-8793-2CD9FE451A7C}"/>
          </ac:spMkLst>
        </pc:spChg>
        <pc:spChg chg="del">
          <ac:chgData name="Corey Yuan-Zhen Cao" userId="894c8f18-9551-4354-8c83-83a52876c78b" providerId="ADAL" clId="{8E836401-0D26-4162-8D36-8E1FD2AA312B}" dt="2025-03-31T23:27:45.577" v="44" actId="700"/>
          <ac:spMkLst>
            <pc:docMk/>
            <pc:sldMk cId="3969090011" sldId="2232"/>
            <ac:spMk id="11" creationId="{E76673B5-CA90-EF72-67E7-E4FAEE2C7902}"/>
          </ac:spMkLst>
        </pc:spChg>
        <pc:spChg chg="mod">
          <ac:chgData name="Corey Yuan-Zhen Cao" userId="894c8f18-9551-4354-8c83-83a52876c78b" providerId="ADAL" clId="{8E836401-0D26-4162-8D36-8E1FD2AA312B}" dt="2025-03-31T23:30:57.957" v="97" actId="1076"/>
          <ac:spMkLst>
            <pc:docMk/>
            <pc:sldMk cId="3969090011" sldId="2232"/>
            <ac:spMk id="14" creationId="{B345EAB2-E819-9044-2866-CC8C5D2FA382}"/>
          </ac:spMkLst>
        </pc:spChg>
        <pc:spChg chg="mod">
          <ac:chgData name="Corey Yuan-Zhen Cao" userId="894c8f18-9551-4354-8c83-83a52876c78b" providerId="ADAL" clId="{8E836401-0D26-4162-8D36-8E1FD2AA312B}" dt="2025-03-31T23:31:02.805" v="98" actId="1076"/>
          <ac:spMkLst>
            <pc:docMk/>
            <pc:sldMk cId="3969090011" sldId="2232"/>
            <ac:spMk id="15" creationId="{869AAB04-C4D3-875C-1689-0276E50B23D2}"/>
          </ac:spMkLst>
        </pc:spChg>
        <pc:spChg chg="mod">
          <ac:chgData name="Corey Yuan-Zhen Cao" userId="894c8f18-9551-4354-8c83-83a52876c78b" providerId="ADAL" clId="{8E836401-0D26-4162-8D36-8E1FD2AA312B}" dt="2025-03-31T23:31:07.039" v="99" actId="1076"/>
          <ac:spMkLst>
            <pc:docMk/>
            <pc:sldMk cId="3969090011" sldId="2232"/>
            <ac:spMk id="16" creationId="{EB5307D9-F555-B2E5-4174-194DD3F201F0}"/>
          </ac:spMkLst>
        </pc:spChg>
        <pc:graphicFrameChg chg="mod ord">
          <ac:chgData name="Corey Yuan-Zhen Cao" userId="894c8f18-9551-4354-8c83-83a52876c78b" providerId="ADAL" clId="{8E836401-0D26-4162-8D36-8E1FD2AA312B}" dt="2025-03-31T23:31:16.436" v="103"/>
          <ac:graphicFrameMkLst>
            <pc:docMk/>
            <pc:sldMk cId="3969090011" sldId="2232"/>
            <ac:graphicFrameMk id="20" creationId="{DD8036DA-664E-ED9C-648D-5F55884A74A8}"/>
          </ac:graphicFrameMkLst>
        </pc:graphicFrameChg>
      </pc:sldChg>
      <pc:sldChg chg="add del">
        <pc:chgData name="Corey Yuan-Zhen Cao" userId="894c8f18-9551-4354-8c83-83a52876c78b" providerId="ADAL" clId="{8E836401-0D26-4162-8D36-8E1FD2AA312B}" dt="2025-04-01T00:02:53.383" v="150" actId="2696"/>
        <pc:sldMkLst>
          <pc:docMk/>
          <pc:sldMk cId="641672029" sldId="2234"/>
        </pc:sldMkLst>
      </pc:sldChg>
      <pc:sldChg chg="modSp add del mod">
        <pc:chgData name="Corey Yuan-Zhen Cao" userId="894c8f18-9551-4354-8c83-83a52876c78b" providerId="ADAL" clId="{8E836401-0D26-4162-8D36-8E1FD2AA312B}" dt="2025-04-01T00:16:50.005" v="351" actId="47"/>
        <pc:sldMkLst>
          <pc:docMk/>
          <pc:sldMk cId="1020799583" sldId="2234"/>
        </pc:sldMkLst>
        <pc:graphicFrameChg chg="mod">
          <ac:chgData name="Corey Yuan-Zhen Cao" userId="894c8f18-9551-4354-8c83-83a52876c78b" providerId="ADAL" clId="{8E836401-0D26-4162-8D36-8E1FD2AA312B}" dt="2025-04-01T00:10:13.727" v="281" actId="1076"/>
          <ac:graphicFrameMkLst>
            <pc:docMk/>
            <pc:sldMk cId="1020799583" sldId="2234"/>
            <ac:graphicFrameMk id="2" creationId="{3E0CA8DA-5878-4BF1-0386-A8C97DDAF355}"/>
          </ac:graphicFrameMkLst>
        </pc:graphicFrameChg>
      </pc:sldChg>
      <pc:sldChg chg="addSp delSp modSp add del mod">
        <pc:chgData name="Corey Yuan-Zhen Cao" userId="894c8f18-9551-4354-8c83-83a52876c78b" providerId="ADAL" clId="{8E836401-0D26-4162-8D36-8E1FD2AA312B}" dt="2025-04-01T00:21:00.794" v="407" actId="47"/>
        <pc:sldMkLst>
          <pc:docMk/>
          <pc:sldMk cId="3735209707" sldId="2235"/>
        </pc:sldMkLst>
        <pc:graphicFrameChg chg="del mod modGraphic">
          <ac:chgData name="Corey Yuan-Zhen Cao" userId="894c8f18-9551-4354-8c83-83a52876c78b" providerId="ADAL" clId="{8E836401-0D26-4162-8D36-8E1FD2AA312B}" dt="2025-04-01T00:11:50.967" v="289" actId="478"/>
          <ac:graphicFrameMkLst>
            <pc:docMk/>
            <pc:sldMk cId="3735209707" sldId="2235"/>
            <ac:graphicFrameMk id="2" creationId="{3E0CA8DA-5878-4BF1-0386-A8C97DDAF355}"/>
          </ac:graphicFrameMkLst>
        </pc:graphicFrameChg>
        <pc:graphicFrameChg chg="add del mod">
          <ac:chgData name="Corey Yuan-Zhen Cao" userId="894c8f18-9551-4354-8c83-83a52876c78b" providerId="ADAL" clId="{8E836401-0D26-4162-8D36-8E1FD2AA312B}" dt="2025-04-01T00:11:54.364" v="291"/>
          <ac:graphicFrameMkLst>
            <pc:docMk/>
            <pc:sldMk cId="3735209707" sldId="2235"/>
            <ac:graphicFrameMk id="3" creationId="{D98C76AA-D326-4A74-8A51-1A09AE4A57FF}"/>
          </ac:graphicFrameMkLst>
        </pc:graphicFrameChg>
        <pc:graphicFrameChg chg="mod">
          <ac:chgData name="Corey Yuan-Zhen Cao" userId="894c8f18-9551-4354-8c83-83a52876c78b" providerId="ADAL" clId="{8E836401-0D26-4162-8D36-8E1FD2AA312B}" dt="2025-04-01T00:14:15.365" v="296"/>
          <ac:graphicFrameMkLst>
            <pc:docMk/>
            <pc:sldMk cId="3735209707" sldId="2235"/>
            <ac:graphicFrameMk id="4" creationId="{7061D29F-7D63-52C4-8617-6CBB8DDC7C0F}"/>
          </ac:graphicFrameMkLst>
        </pc:graphicFrameChg>
        <pc:graphicFrameChg chg="add del mod modGraphic">
          <ac:chgData name="Corey Yuan-Zhen Cao" userId="894c8f18-9551-4354-8c83-83a52876c78b" providerId="ADAL" clId="{8E836401-0D26-4162-8D36-8E1FD2AA312B}" dt="2025-04-01T00:16:00.340" v="343" actId="478"/>
          <ac:graphicFrameMkLst>
            <pc:docMk/>
            <pc:sldMk cId="3735209707" sldId="2235"/>
            <ac:graphicFrameMk id="6" creationId="{F5E63EBE-9D6F-4EAA-A0F3-B0286185EDC5}"/>
          </ac:graphicFrameMkLst>
        </pc:graphicFrameChg>
        <pc:graphicFrameChg chg="mod">
          <ac:chgData name="Corey Yuan-Zhen Cao" userId="894c8f18-9551-4354-8c83-83a52876c78b" providerId="ADAL" clId="{8E836401-0D26-4162-8D36-8E1FD2AA312B}" dt="2025-04-01T00:16:45.484" v="350"/>
          <ac:graphicFrameMkLst>
            <pc:docMk/>
            <pc:sldMk cId="3735209707" sldId="2235"/>
            <ac:graphicFrameMk id="7" creationId="{922A4CD0-CBF3-B4BC-3AC0-D65C5936DF5B}"/>
          </ac:graphicFrameMkLst>
        </pc:graphicFrameChg>
        <pc:graphicFrameChg chg="add del mod">
          <ac:chgData name="Corey Yuan-Zhen Cao" userId="894c8f18-9551-4354-8c83-83a52876c78b" providerId="ADAL" clId="{8E836401-0D26-4162-8D36-8E1FD2AA312B}" dt="2025-04-01T00:14:50.432" v="305"/>
          <ac:graphicFrameMkLst>
            <pc:docMk/>
            <pc:sldMk cId="3735209707" sldId="2235"/>
            <ac:graphicFrameMk id="8" creationId="{33187661-57D6-4473-98D9-2D67B25451B3}"/>
          </ac:graphicFrameMkLst>
        </pc:graphicFrameChg>
        <pc:graphicFrameChg chg="add mod">
          <ac:chgData name="Corey Yuan-Zhen Cao" userId="894c8f18-9551-4354-8c83-83a52876c78b" providerId="ADAL" clId="{8E836401-0D26-4162-8D36-8E1FD2AA312B}" dt="2025-04-01T00:16:33.068" v="348"/>
          <ac:graphicFrameMkLst>
            <pc:docMk/>
            <pc:sldMk cId="3735209707" sldId="2235"/>
            <ac:graphicFrameMk id="9" creationId="{F4569315-059B-41F8-8F00-60280CD2D7BB}"/>
          </ac:graphicFrameMkLst>
        </pc:graphicFrameChg>
      </pc:sldChg>
      <pc:sldChg chg="addSp modSp add del mod">
        <pc:chgData name="Corey Yuan-Zhen Cao" userId="894c8f18-9551-4354-8c83-83a52876c78b" providerId="ADAL" clId="{8E836401-0D26-4162-8D36-8E1FD2AA312B}" dt="2025-04-01T00:24:09.847" v="448" actId="47"/>
        <pc:sldMkLst>
          <pc:docMk/>
          <pc:sldMk cId="3183000902" sldId="2236"/>
        </pc:sldMkLst>
        <pc:graphicFrameChg chg="add mod modGraphic">
          <ac:chgData name="Corey Yuan-Zhen Cao" userId="894c8f18-9551-4354-8c83-83a52876c78b" providerId="ADAL" clId="{8E836401-0D26-4162-8D36-8E1FD2AA312B}" dt="2025-04-01T00:20:55.209" v="405" actId="20577"/>
          <ac:graphicFrameMkLst>
            <pc:docMk/>
            <pc:sldMk cId="3183000902" sldId="2236"/>
            <ac:graphicFrameMk id="2" creationId="{7C62835C-1156-4618-B89A-1C555DCB6340}"/>
          </ac:graphicFrameMkLst>
        </pc:graphicFrameChg>
        <pc:graphicFrameChg chg="mod">
          <ac:chgData name="Corey Yuan-Zhen Cao" userId="894c8f18-9551-4354-8c83-83a52876c78b" providerId="ADAL" clId="{8E836401-0D26-4162-8D36-8E1FD2AA312B}" dt="2025-04-01T00:18:49.468" v="358" actId="1076"/>
          <ac:graphicFrameMkLst>
            <pc:docMk/>
            <pc:sldMk cId="3183000902" sldId="2236"/>
            <ac:graphicFrameMk id="4" creationId="{7061D29F-7D63-52C4-8617-6CBB8DDC7C0F}"/>
          </ac:graphicFrameMkLst>
        </pc:graphicFrameChg>
        <pc:graphicFrameChg chg="mod">
          <ac:chgData name="Corey Yuan-Zhen Cao" userId="894c8f18-9551-4354-8c83-83a52876c78b" providerId="ADAL" clId="{8E836401-0D26-4162-8D36-8E1FD2AA312B}" dt="2025-04-01T00:18:45.162" v="357" actId="1076"/>
          <ac:graphicFrameMkLst>
            <pc:docMk/>
            <pc:sldMk cId="3183000902" sldId="2236"/>
            <ac:graphicFrameMk id="9" creationId="{F4569315-059B-41F8-8F00-60280CD2D7BB}"/>
          </ac:graphicFrameMkLst>
        </pc:graphicFrameChg>
      </pc:sldChg>
      <pc:sldChg chg="modSp add mod">
        <pc:chgData name="Corey Yuan-Zhen Cao" userId="894c8f18-9551-4354-8c83-83a52876c78b" providerId="ADAL" clId="{8E836401-0D26-4162-8D36-8E1FD2AA312B}" dt="2025-04-01T00:56:16.855" v="513" actId="207"/>
        <pc:sldMkLst>
          <pc:docMk/>
          <pc:sldMk cId="126571796" sldId="2237"/>
        </pc:sldMkLst>
        <pc:spChg chg="mod">
          <ac:chgData name="Corey Yuan-Zhen Cao" userId="894c8f18-9551-4354-8c83-83a52876c78b" providerId="ADAL" clId="{8E836401-0D26-4162-8D36-8E1FD2AA312B}" dt="2025-04-01T00:27:45.299" v="506" actId="20577"/>
          <ac:spMkLst>
            <pc:docMk/>
            <pc:sldMk cId="126571796" sldId="2237"/>
            <ac:spMk id="5" creationId="{38D341EE-5E7D-E7DD-BFCE-FDDD57410BF4}"/>
          </ac:spMkLst>
        </pc:spChg>
        <pc:graphicFrameChg chg="modGraphic">
          <ac:chgData name="Corey Yuan-Zhen Cao" userId="894c8f18-9551-4354-8c83-83a52876c78b" providerId="ADAL" clId="{8E836401-0D26-4162-8D36-8E1FD2AA312B}" dt="2025-04-01T00:56:16.855" v="513" actId="207"/>
          <ac:graphicFrameMkLst>
            <pc:docMk/>
            <pc:sldMk cId="126571796" sldId="2237"/>
            <ac:graphicFrameMk id="2" creationId="{7C62835C-1156-4618-B89A-1C555DCB6340}"/>
          </ac:graphicFrameMkLst>
        </pc:graphicFrameChg>
        <pc:graphicFrameChg chg="mod modGraphic">
          <ac:chgData name="Corey Yuan-Zhen Cao" userId="894c8f18-9551-4354-8c83-83a52876c78b" providerId="ADAL" clId="{8E836401-0D26-4162-8D36-8E1FD2AA312B}" dt="2025-04-01T00:27:13.962" v="499" actId="14100"/>
          <ac:graphicFrameMkLst>
            <pc:docMk/>
            <pc:sldMk cId="126571796" sldId="2237"/>
            <ac:graphicFrameMk id="4" creationId="{7061D29F-7D63-52C4-8617-6CBB8DDC7C0F}"/>
          </ac:graphicFrameMkLst>
        </pc:graphicFrameChg>
        <pc:graphicFrameChg chg="mod modGraphic">
          <ac:chgData name="Corey Yuan-Zhen Cao" userId="894c8f18-9551-4354-8c83-83a52876c78b" providerId="ADAL" clId="{8E836401-0D26-4162-8D36-8E1FD2AA312B}" dt="2025-04-01T00:27:31.463" v="502"/>
          <ac:graphicFrameMkLst>
            <pc:docMk/>
            <pc:sldMk cId="126571796" sldId="2237"/>
            <ac:graphicFrameMk id="7" creationId="{922A4CD0-CBF3-B4BC-3AC0-D65C5936DF5B}"/>
          </ac:graphicFrameMkLst>
        </pc:graphicFrameChg>
        <pc:graphicFrameChg chg="mod modGraphic">
          <ac:chgData name="Corey Yuan-Zhen Cao" userId="894c8f18-9551-4354-8c83-83a52876c78b" providerId="ADAL" clId="{8E836401-0D26-4162-8D36-8E1FD2AA312B}" dt="2025-04-01T00:27:39.130" v="503"/>
          <ac:graphicFrameMkLst>
            <pc:docMk/>
            <pc:sldMk cId="126571796" sldId="2237"/>
            <ac:graphicFrameMk id="9" creationId="{F4569315-059B-41F8-8F00-60280CD2D7BB}"/>
          </ac:graphicFrameMkLst>
        </pc:graphicFrameChg>
      </pc:sldChg>
      <pc:sldChg chg="addSp delSp modSp add mod">
        <pc:chgData name="Corey Yuan-Zhen Cao" userId="894c8f18-9551-4354-8c83-83a52876c78b" providerId="ADAL" clId="{8E836401-0D26-4162-8D36-8E1FD2AA312B}" dt="2025-04-01T00:28:05.660" v="508" actId="313"/>
        <pc:sldMkLst>
          <pc:docMk/>
          <pc:sldMk cId="2391271550" sldId="2238"/>
        </pc:sldMkLst>
        <pc:graphicFrameChg chg="modGraphic">
          <ac:chgData name="Corey Yuan-Zhen Cao" userId="894c8f18-9551-4354-8c83-83a52876c78b" providerId="ADAL" clId="{8E836401-0D26-4162-8D36-8E1FD2AA312B}" dt="2025-04-01T00:28:05.660" v="508" actId="313"/>
          <ac:graphicFrameMkLst>
            <pc:docMk/>
            <pc:sldMk cId="2391271550" sldId="2238"/>
            <ac:graphicFrameMk id="2" creationId="{7C62835C-1156-4618-B89A-1C555DCB6340}"/>
          </ac:graphicFrameMkLst>
        </pc:graphicFrameChg>
        <pc:graphicFrameChg chg="add del mod">
          <ac:chgData name="Corey Yuan-Zhen Cao" userId="894c8f18-9551-4354-8c83-83a52876c78b" providerId="ADAL" clId="{8E836401-0D26-4162-8D36-8E1FD2AA312B}" dt="2025-04-01T00:26:08.365" v="467"/>
          <ac:graphicFrameMkLst>
            <pc:docMk/>
            <pc:sldMk cId="2391271550" sldId="2238"/>
            <ac:graphicFrameMk id="3" creationId="{F2297383-39D0-473D-B1BC-E96AD13C49AA}"/>
          </ac:graphicFrameMkLst>
        </pc:graphicFrameChg>
        <pc:graphicFrameChg chg="add del mod modGraphic">
          <ac:chgData name="Corey Yuan-Zhen Cao" userId="894c8f18-9551-4354-8c83-83a52876c78b" providerId="ADAL" clId="{8E836401-0D26-4162-8D36-8E1FD2AA312B}" dt="2025-04-01T00:26:18.414" v="469"/>
          <ac:graphicFrameMkLst>
            <pc:docMk/>
            <pc:sldMk cId="2391271550" sldId="2238"/>
            <ac:graphicFrameMk id="4" creationId="{7061D29F-7D63-52C4-8617-6CBB8DDC7C0F}"/>
          </ac:graphicFrameMkLst>
        </pc:graphicFrameChg>
        <pc:graphicFrameChg chg="mod modGraphic">
          <ac:chgData name="Corey Yuan-Zhen Cao" userId="894c8f18-9551-4354-8c83-83a52876c78b" providerId="ADAL" clId="{8E836401-0D26-4162-8D36-8E1FD2AA312B}" dt="2025-04-01T00:26:35.812" v="476" actId="20577"/>
          <ac:graphicFrameMkLst>
            <pc:docMk/>
            <pc:sldMk cId="2391271550" sldId="2238"/>
            <ac:graphicFrameMk id="7" creationId="{922A4CD0-CBF3-B4BC-3AC0-D65C5936DF5B}"/>
          </ac:graphicFrameMkLst>
        </pc:graphicFrameChg>
        <pc:graphicFrameChg chg="mod modGraphic">
          <ac:chgData name="Corey Yuan-Zhen Cao" userId="894c8f18-9551-4354-8c83-83a52876c78b" providerId="ADAL" clId="{8E836401-0D26-4162-8D36-8E1FD2AA312B}" dt="2025-04-01T00:26:43.779" v="477"/>
          <ac:graphicFrameMkLst>
            <pc:docMk/>
            <pc:sldMk cId="2391271550" sldId="2238"/>
            <ac:graphicFrameMk id="9" creationId="{F4569315-059B-41F8-8F00-60280CD2D7BB}"/>
          </ac:graphicFrameMkLst>
        </pc:graphicFrameChg>
      </pc:sldChg>
    </pc:docChg>
  </pc:docChgLst>
  <pc:docChgLst>
    <pc:chgData name="Armaan Kumar" userId="S::akuma045@uottawa.ca::a351e95c-5450-4e5f-a2d5-0f74c8f92915" providerId="AD" clId="Web-{308D27C4-3E1E-8C44-93D5-A2680B9FA8D2}"/>
    <pc:docChg chg="addSld modSld">
      <pc:chgData name="Armaan Kumar" userId="S::akuma045@uottawa.ca::a351e95c-5450-4e5f-a2d5-0f74c8f92915" providerId="AD" clId="Web-{308D27C4-3E1E-8C44-93D5-A2680B9FA8D2}" dt="2025-03-31T21:46:06.381" v="17" actId="14100"/>
      <pc:docMkLst>
        <pc:docMk/>
      </pc:docMkLst>
      <pc:sldChg chg="addSp delSp modSp add mod replId modShow">
        <pc:chgData name="Armaan Kumar" userId="S::akuma045@uottawa.ca::a351e95c-5450-4e5f-a2d5-0f74c8f92915" providerId="AD" clId="Web-{308D27C4-3E1E-8C44-93D5-A2680B9FA8D2}" dt="2025-03-31T21:46:06.381" v="17" actId="14100"/>
        <pc:sldMkLst>
          <pc:docMk/>
          <pc:sldMk cId="3295877462" sldId="2230"/>
        </pc:sldMkLst>
        <pc:spChg chg="del">
          <ac:chgData name="Armaan Kumar" userId="S::akuma045@uottawa.ca::a351e95c-5450-4e5f-a2d5-0f74c8f92915" providerId="AD" clId="Web-{308D27C4-3E1E-8C44-93D5-A2680B9FA8D2}" dt="2025-03-31T21:45:20.255" v="2"/>
          <ac:spMkLst>
            <pc:docMk/>
            <pc:sldMk cId="3295877462" sldId="2230"/>
            <ac:spMk id="30" creationId="{E23FD76A-CE47-E704-0987-5B54F197F3D6}"/>
          </ac:spMkLst>
        </pc:spChg>
        <pc:spChg chg="del">
          <ac:chgData name="Armaan Kumar" userId="S::akuma045@uottawa.ca::a351e95c-5450-4e5f-a2d5-0f74c8f92915" providerId="AD" clId="Web-{308D27C4-3E1E-8C44-93D5-A2680B9FA8D2}" dt="2025-03-31T21:45:28.177" v="12"/>
          <ac:spMkLst>
            <pc:docMk/>
            <pc:sldMk cId="3295877462" sldId="2230"/>
            <ac:spMk id="36" creationId="{A2BE4B07-FEA6-00A0-6F10-41CB8A3C112D}"/>
          </ac:spMkLst>
        </pc:spChg>
        <pc:spChg chg="del">
          <ac:chgData name="Armaan Kumar" userId="S::akuma045@uottawa.ca::a351e95c-5450-4e5f-a2d5-0f74c8f92915" providerId="AD" clId="Web-{308D27C4-3E1E-8C44-93D5-A2680B9FA8D2}" dt="2025-03-31T21:45:22.865" v="5"/>
          <ac:spMkLst>
            <pc:docMk/>
            <pc:sldMk cId="3295877462" sldId="2230"/>
            <ac:spMk id="38" creationId="{F9392509-061B-32CD-7357-2D7FC58DFB9E}"/>
          </ac:spMkLst>
        </pc:spChg>
        <pc:spChg chg="del">
          <ac:chgData name="Armaan Kumar" userId="S::akuma045@uottawa.ca::a351e95c-5450-4e5f-a2d5-0f74c8f92915" providerId="AD" clId="Web-{308D27C4-3E1E-8C44-93D5-A2680B9FA8D2}" dt="2025-03-31T21:45:20.927" v="3"/>
          <ac:spMkLst>
            <pc:docMk/>
            <pc:sldMk cId="3295877462" sldId="2230"/>
            <ac:spMk id="39" creationId="{BA597603-1BA1-2663-AE9A-0CEFB13E1D07}"/>
          </ac:spMkLst>
        </pc:spChg>
        <pc:spChg chg="del mod">
          <ac:chgData name="Armaan Kumar" userId="S::akuma045@uottawa.ca::a351e95c-5450-4e5f-a2d5-0f74c8f92915" providerId="AD" clId="Web-{308D27C4-3E1E-8C44-93D5-A2680B9FA8D2}" dt="2025-03-31T21:45:23.068" v="6"/>
          <ac:spMkLst>
            <pc:docMk/>
            <pc:sldMk cId="3295877462" sldId="2230"/>
            <ac:spMk id="40" creationId="{860FFD86-F5B0-6CA2-42E1-7801ED58078C}"/>
          </ac:spMkLst>
        </pc:spChg>
        <pc:spChg chg="del">
          <ac:chgData name="Armaan Kumar" userId="S::akuma045@uottawa.ca::a351e95c-5450-4e5f-a2d5-0f74c8f92915" providerId="AD" clId="Web-{308D27C4-3E1E-8C44-93D5-A2680B9FA8D2}" dt="2025-03-31T21:45:25.271" v="8"/>
          <ac:spMkLst>
            <pc:docMk/>
            <pc:sldMk cId="3295877462" sldId="2230"/>
            <ac:spMk id="41" creationId="{C64D78A0-A964-3D61-5BB9-04A9B0490991}"/>
          </ac:spMkLst>
        </pc:spChg>
        <pc:spChg chg="del">
          <ac:chgData name="Armaan Kumar" userId="S::akuma045@uottawa.ca::a351e95c-5450-4e5f-a2d5-0f74c8f92915" providerId="AD" clId="Web-{308D27C4-3E1E-8C44-93D5-A2680B9FA8D2}" dt="2025-03-31T21:45:27.302" v="11"/>
          <ac:spMkLst>
            <pc:docMk/>
            <pc:sldMk cId="3295877462" sldId="2230"/>
            <ac:spMk id="45" creationId="{4B1D71DF-16BC-35ED-7A30-38F27C752701}"/>
          </ac:spMkLst>
        </pc:spChg>
        <pc:spChg chg="del">
          <ac:chgData name="Armaan Kumar" userId="S::akuma045@uottawa.ca::a351e95c-5450-4e5f-a2d5-0f74c8f92915" providerId="AD" clId="Web-{308D27C4-3E1E-8C44-93D5-A2680B9FA8D2}" dt="2025-03-31T21:45:25.912" v="9"/>
          <ac:spMkLst>
            <pc:docMk/>
            <pc:sldMk cId="3295877462" sldId="2230"/>
            <ac:spMk id="50" creationId="{ACCFA45C-DE1E-5DFB-FA7B-D6699C2C1537}"/>
          </ac:spMkLst>
        </pc:spChg>
        <pc:spChg chg="del">
          <ac:chgData name="Armaan Kumar" userId="S::akuma045@uottawa.ca::a351e95c-5450-4e5f-a2d5-0f74c8f92915" providerId="AD" clId="Web-{308D27C4-3E1E-8C44-93D5-A2680B9FA8D2}" dt="2025-03-31T21:45:24.568" v="7"/>
          <ac:spMkLst>
            <pc:docMk/>
            <pc:sldMk cId="3295877462" sldId="2230"/>
            <ac:spMk id="52" creationId="{3695609D-B30A-2937-6FFF-F87C047EDD8D}"/>
          </ac:spMkLst>
        </pc:spChg>
        <pc:graphicFrameChg chg="add mod modGraphic">
          <ac:chgData name="Armaan Kumar" userId="S::akuma045@uottawa.ca::a351e95c-5450-4e5f-a2d5-0f74c8f92915" providerId="AD" clId="Web-{308D27C4-3E1E-8C44-93D5-A2680B9FA8D2}" dt="2025-03-31T21:46:06.381" v="17" actId="14100"/>
          <ac:graphicFrameMkLst>
            <pc:docMk/>
            <pc:sldMk cId="3295877462" sldId="2230"/>
            <ac:graphicFrameMk id="3" creationId="{BDF05900-847B-46BD-2D9C-CD26C8125E96}"/>
          </ac:graphicFrameMkLst>
        </pc:graphicFrameChg>
        <pc:cxnChg chg="del">
          <ac:chgData name="Armaan Kumar" userId="S::akuma045@uottawa.ca::a351e95c-5450-4e5f-a2d5-0f74c8f92915" providerId="AD" clId="Web-{308D27C4-3E1E-8C44-93D5-A2680B9FA8D2}" dt="2025-03-31T21:45:26.771" v="10"/>
          <ac:cxnSpMkLst>
            <pc:docMk/>
            <pc:sldMk cId="3295877462" sldId="2230"/>
            <ac:cxnSpMk id="43" creationId="{AB0BF147-7E3E-5A1A-3410-32850E7F27C8}"/>
          </ac:cxnSpMkLst>
        </pc:cxnChg>
      </pc:sldChg>
    </pc:docChg>
  </pc:docChgLst>
  <pc:docChgLst>
    <pc:chgData name="Armaan Kumar" userId="S::akuma045@uottawa.ca::a351e95c-5450-4e5f-a2d5-0f74c8f92915" providerId="AD" clId="Web-{AA3A3E8E-B46F-6F8C-FF89-112C301FDF03}"/>
    <pc:docChg chg="modSld">
      <pc:chgData name="Armaan Kumar" userId="S::akuma045@uottawa.ca::a351e95c-5450-4e5f-a2d5-0f74c8f92915" providerId="AD" clId="Web-{AA3A3E8E-B46F-6F8C-FF89-112C301FDF03}" dt="2025-04-02T17:57:23.391" v="79" actId="20577"/>
      <pc:docMkLst>
        <pc:docMk/>
      </pc:docMkLst>
      <pc:sldChg chg="modSp">
        <pc:chgData name="Armaan Kumar" userId="S::akuma045@uottawa.ca::a351e95c-5450-4e5f-a2d5-0f74c8f92915" providerId="AD" clId="Web-{AA3A3E8E-B46F-6F8C-FF89-112C301FDF03}" dt="2025-04-02T17:56:07.718" v="63" actId="1076"/>
        <pc:sldMkLst>
          <pc:docMk/>
          <pc:sldMk cId="99878240" sldId="2174"/>
        </pc:sldMkLst>
        <pc:graphicFrameChg chg="mod">
          <ac:chgData name="Armaan Kumar" userId="S::akuma045@uottawa.ca::a351e95c-5450-4e5f-a2d5-0f74c8f92915" providerId="AD" clId="Web-{AA3A3E8E-B46F-6F8C-FF89-112C301FDF03}" dt="2025-04-02T17:56:07.718" v="63" actId="1076"/>
          <ac:graphicFrameMkLst>
            <pc:docMk/>
            <pc:sldMk cId="99878240" sldId="2174"/>
            <ac:graphicFrameMk id="11" creationId="{9772BE50-50D6-397F-7C7F-5584CDAAAA5F}"/>
          </ac:graphicFrameMkLst>
        </pc:graphicFrameChg>
      </pc:sldChg>
      <pc:sldChg chg="addSp delSp modSp">
        <pc:chgData name="Armaan Kumar" userId="S::akuma045@uottawa.ca::a351e95c-5450-4e5f-a2d5-0f74c8f92915" providerId="AD" clId="Web-{AA3A3E8E-B46F-6F8C-FF89-112C301FDF03}" dt="2025-04-02T17:56:12.546" v="66" actId="20577"/>
        <pc:sldMkLst>
          <pc:docMk/>
          <pc:sldMk cId="3295877462" sldId="2230"/>
        </pc:sldMkLst>
        <pc:spChg chg="mod">
          <ac:chgData name="Armaan Kumar" userId="S::akuma045@uottawa.ca::a351e95c-5450-4e5f-a2d5-0f74c8f92915" providerId="AD" clId="Web-{AA3A3E8E-B46F-6F8C-FF89-112C301FDF03}" dt="2025-04-02T17:56:12.546" v="66" actId="20577"/>
          <ac:spMkLst>
            <pc:docMk/>
            <pc:sldMk cId="3295877462" sldId="2230"/>
            <ac:spMk id="10" creationId="{1A97EDF5-85B0-89A8-E605-D246CC0A6D58}"/>
          </ac:spMkLst>
        </pc:spChg>
        <pc:spChg chg="mod">
          <ac:chgData name="Armaan Kumar" userId="S::akuma045@uottawa.ca::a351e95c-5450-4e5f-a2d5-0f74c8f92915" providerId="AD" clId="Web-{AA3A3E8E-B46F-6F8C-FF89-112C301FDF03}" dt="2025-04-02T17:47:26.383" v="36" actId="20577"/>
          <ac:spMkLst>
            <pc:docMk/>
            <pc:sldMk cId="3295877462" sldId="2230"/>
            <ac:spMk id="12" creationId="{0D8B1259-5266-022F-693A-42347BAFDAE7}"/>
          </ac:spMkLst>
        </pc:spChg>
        <pc:spChg chg="mod">
          <ac:chgData name="Armaan Kumar" userId="S::akuma045@uottawa.ca::a351e95c-5450-4e5f-a2d5-0f74c8f92915" providerId="AD" clId="Web-{AA3A3E8E-B46F-6F8C-FF89-112C301FDF03}" dt="2025-04-02T17:49:35.853" v="60" actId="20577"/>
          <ac:spMkLst>
            <pc:docMk/>
            <pc:sldMk cId="3295877462" sldId="2230"/>
            <ac:spMk id="25" creationId="{7BE2FE5A-CB39-307E-48B7-D8B76E5304AE}"/>
          </ac:spMkLst>
        </pc:spChg>
        <pc:graphicFrameChg chg="add del mod">
          <ac:chgData name="Armaan Kumar" userId="S::akuma045@uottawa.ca::a351e95c-5450-4e5f-a2d5-0f74c8f92915" providerId="AD" clId="Web-{AA3A3E8E-B46F-6F8C-FF89-112C301FDF03}" dt="2025-04-02T17:43:09.192" v="4"/>
          <ac:graphicFrameMkLst>
            <pc:docMk/>
            <pc:sldMk cId="3295877462" sldId="2230"/>
            <ac:graphicFrameMk id="41" creationId="{648E1D51-DE55-6007-6EAE-19C8F2E660DB}"/>
          </ac:graphicFrameMkLst>
        </pc:graphicFrameChg>
        <pc:graphicFrameChg chg="add del mod">
          <ac:chgData name="Armaan Kumar" userId="S::akuma045@uottawa.ca::a351e95c-5450-4e5f-a2d5-0f74c8f92915" providerId="AD" clId="Web-{AA3A3E8E-B46F-6F8C-FF89-112C301FDF03}" dt="2025-04-02T17:43:07.458" v="3"/>
          <ac:graphicFrameMkLst>
            <pc:docMk/>
            <pc:sldMk cId="3295877462" sldId="2230"/>
            <ac:graphicFrameMk id="43" creationId="{ACE19829-34BA-D690-5569-56455BCDA5ED}"/>
          </ac:graphicFrameMkLst>
        </pc:graphicFrameChg>
      </pc:sldChg>
      <pc:sldChg chg="addSp delSp modSp">
        <pc:chgData name="Armaan Kumar" userId="S::akuma045@uottawa.ca::a351e95c-5450-4e5f-a2d5-0f74c8f92915" providerId="AD" clId="Web-{AA3A3E8E-B46F-6F8C-FF89-112C301FDF03}" dt="2025-04-02T17:56:48.625" v="74"/>
        <pc:sldMkLst>
          <pc:docMk/>
          <pc:sldMk cId="1042857578" sldId="2263"/>
        </pc:sldMkLst>
        <pc:graphicFrameChg chg="add del mod">
          <ac:chgData name="Armaan Kumar" userId="S::akuma045@uottawa.ca::a351e95c-5450-4e5f-a2d5-0f74c8f92915" providerId="AD" clId="Web-{AA3A3E8E-B46F-6F8C-FF89-112C301FDF03}" dt="2025-04-02T17:56:25.046" v="70"/>
          <ac:graphicFrameMkLst>
            <pc:docMk/>
            <pc:sldMk cId="1042857578" sldId="2263"/>
            <ac:graphicFrameMk id="5" creationId="{1A5CB900-6F0C-835E-2916-744D9EDAFC70}"/>
          </ac:graphicFrameMkLst>
        </pc:graphicFrameChg>
        <pc:graphicFrameChg chg="del">
          <ac:chgData name="Armaan Kumar" userId="S::akuma045@uottawa.ca::a351e95c-5450-4e5f-a2d5-0f74c8f92915" providerId="AD" clId="Web-{AA3A3E8E-B46F-6F8C-FF89-112C301FDF03}" dt="2025-04-02T17:56:16.687" v="67"/>
          <ac:graphicFrameMkLst>
            <pc:docMk/>
            <pc:sldMk cId="1042857578" sldId="2263"/>
            <ac:graphicFrameMk id="8" creationId="{214A1249-A733-21B6-DAE9-9D36CEA889FB}"/>
          </ac:graphicFrameMkLst>
        </pc:graphicFrameChg>
        <pc:graphicFrameChg chg="add del mod modGraphic">
          <ac:chgData name="Armaan Kumar" userId="S::akuma045@uottawa.ca::a351e95c-5450-4e5f-a2d5-0f74c8f92915" providerId="AD" clId="Web-{AA3A3E8E-B46F-6F8C-FF89-112C301FDF03}" dt="2025-04-02T17:56:48.625" v="74"/>
          <ac:graphicFrameMkLst>
            <pc:docMk/>
            <pc:sldMk cId="1042857578" sldId="2263"/>
            <ac:graphicFrameMk id="13" creationId="{4EF66252-0399-569B-F341-B65E88E9C70C}"/>
          </ac:graphicFrameMkLst>
        </pc:graphicFrameChg>
      </pc:sldChg>
      <pc:sldChg chg="modSp">
        <pc:chgData name="Armaan Kumar" userId="S::akuma045@uottawa.ca::a351e95c-5450-4e5f-a2d5-0f74c8f92915" providerId="AD" clId="Web-{AA3A3E8E-B46F-6F8C-FF89-112C301FDF03}" dt="2025-04-02T17:57:23.391" v="79" actId="20577"/>
        <pc:sldMkLst>
          <pc:docMk/>
          <pc:sldMk cId="1608766413" sldId="2280"/>
        </pc:sldMkLst>
        <pc:spChg chg="mod">
          <ac:chgData name="Armaan Kumar" userId="S::akuma045@uottawa.ca::a351e95c-5450-4e5f-a2d5-0f74c8f92915" providerId="AD" clId="Web-{AA3A3E8E-B46F-6F8C-FF89-112C301FDF03}" dt="2025-04-02T17:57:21.906" v="78" actId="20577"/>
          <ac:spMkLst>
            <pc:docMk/>
            <pc:sldMk cId="1608766413" sldId="2280"/>
            <ac:spMk id="10" creationId="{F37AC5D5-32BF-C535-7AE2-52D94CB4F2AC}"/>
          </ac:spMkLst>
        </pc:spChg>
        <pc:spChg chg="mod">
          <ac:chgData name="Armaan Kumar" userId="S::akuma045@uottawa.ca::a351e95c-5450-4e5f-a2d5-0f74c8f92915" providerId="AD" clId="Web-{AA3A3E8E-B46F-6F8C-FF89-112C301FDF03}" dt="2025-04-02T17:57:13.781" v="75" actId="20577"/>
          <ac:spMkLst>
            <pc:docMk/>
            <pc:sldMk cId="1608766413" sldId="2280"/>
            <ac:spMk id="15" creationId="{642896CE-3588-1E33-3A44-86A1839A6F3D}"/>
          </ac:spMkLst>
        </pc:spChg>
        <pc:spChg chg="mod">
          <ac:chgData name="Armaan Kumar" userId="S::akuma045@uottawa.ca::a351e95c-5450-4e5f-a2d5-0f74c8f92915" providerId="AD" clId="Web-{AA3A3E8E-B46F-6F8C-FF89-112C301FDF03}" dt="2025-04-02T17:57:23.391" v="79" actId="20577"/>
          <ac:spMkLst>
            <pc:docMk/>
            <pc:sldMk cId="1608766413" sldId="2280"/>
            <ac:spMk id="16" creationId="{E5F95313-C29A-5E90-5853-71AB000C2400}"/>
          </ac:spMkLst>
        </pc:spChg>
      </pc:sldChg>
    </pc:docChg>
  </pc:docChgLst>
  <pc:docChgLst>
    <pc:chgData name="Corey Yuan-Zhen Cao" userId="S::ccao051@uottawa.ca::894c8f18-9551-4354-8c83-83a52876c78b" providerId="AD" clId="Web-{98991A60-AF08-4384-7855-C0B1EE3497C0}"/>
    <pc:docChg chg="modSld">
      <pc:chgData name="Corey Yuan-Zhen Cao" userId="S::ccao051@uottawa.ca::894c8f18-9551-4354-8c83-83a52876c78b" providerId="AD" clId="Web-{98991A60-AF08-4384-7855-C0B1EE3497C0}" dt="2025-03-31T23:20:07.905" v="0" actId="14100"/>
      <pc:docMkLst>
        <pc:docMk/>
      </pc:docMkLst>
      <pc:sldChg chg="modSp">
        <pc:chgData name="Corey Yuan-Zhen Cao" userId="S::ccao051@uottawa.ca::894c8f18-9551-4354-8c83-83a52876c78b" providerId="AD" clId="Web-{98991A60-AF08-4384-7855-C0B1EE3497C0}" dt="2025-03-31T23:20:07.905" v="0" actId="14100"/>
        <pc:sldMkLst>
          <pc:docMk/>
          <pc:sldMk cId="3658756422" sldId="271"/>
        </pc:sldMkLst>
        <pc:spChg chg="mod">
          <ac:chgData name="Corey Yuan-Zhen Cao" userId="S::ccao051@uottawa.ca::894c8f18-9551-4354-8c83-83a52876c78b" providerId="AD" clId="Web-{98991A60-AF08-4384-7855-C0B1EE3497C0}" dt="2025-03-31T23:20:07.905" v="0" actId="14100"/>
          <ac:spMkLst>
            <pc:docMk/>
            <pc:sldMk cId="3658756422" sldId="271"/>
            <ac:spMk id="12" creationId="{59DD8D95-ACAD-F457-8466-382006655F91}"/>
          </ac:spMkLst>
        </pc:spChg>
      </pc:sldChg>
    </pc:docChg>
  </pc:docChgLst>
  <pc:docChgLst>
    <pc:chgData name="Armaan Kumar" userId="S::akuma045@uottawa.ca::a351e95c-5450-4e5f-a2d5-0f74c8f92915" providerId="AD" clId="Web-{C9440694-1D16-10E3-48A3-7A13A40AB969}"/>
    <pc:docChg chg="modSld">
      <pc:chgData name="Armaan Kumar" userId="S::akuma045@uottawa.ca::a351e95c-5450-4e5f-a2d5-0f74c8f92915" providerId="AD" clId="Web-{C9440694-1D16-10E3-48A3-7A13A40AB969}" dt="2025-03-26T19:23:38.232" v="21" actId="14100"/>
      <pc:docMkLst>
        <pc:docMk/>
      </pc:docMkLst>
      <pc:sldChg chg="addSp delSp modSp">
        <pc:chgData name="Armaan Kumar" userId="S::akuma045@uottawa.ca::a351e95c-5450-4e5f-a2d5-0f74c8f92915" providerId="AD" clId="Web-{C9440694-1D16-10E3-48A3-7A13A40AB969}" dt="2025-03-26T19:23:38.232" v="21" actId="14100"/>
        <pc:sldMkLst>
          <pc:docMk/>
          <pc:sldMk cId="2009459704" sldId="309"/>
        </pc:sldMkLst>
        <pc:graphicFrameChg chg="mod">
          <ac:chgData name="Armaan Kumar" userId="S::akuma045@uottawa.ca::a351e95c-5450-4e5f-a2d5-0f74c8f92915" providerId="AD" clId="Web-{C9440694-1D16-10E3-48A3-7A13A40AB969}" dt="2025-03-26T18:56:22.703" v="6" actId="1076"/>
          <ac:graphicFrameMkLst>
            <pc:docMk/>
            <pc:sldMk cId="2009459704" sldId="309"/>
            <ac:graphicFrameMk id="6" creationId="{B74DE81B-7FC9-3325-3ECE-55B0A6BBB5E5}"/>
          </ac:graphicFrameMkLst>
        </pc:graphicFrameChg>
        <pc:graphicFrameChg chg="mod">
          <ac:chgData name="Armaan Kumar" userId="S::akuma045@uottawa.ca::a351e95c-5450-4e5f-a2d5-0f74c8f92915" providerId="AD" clId="Web-{C9440694-1D16-10E3-48A3-7A13A40AB969}" dt="2025-03-26T18:56:25.625" v="7" actId="1076"/>
          <ac:graphicFrameMkLst>
            <pc:docMk/>
            <pc:sldMk cId="2009459704" sldId="309"/>
            <ac:graphicFrameMk id="16" creationId="{C48665AE-930D-5C20-11F4-08E335F5F242}"/>
          </ac:graphicFrameMkLst>
        </pc:graphicFrameChg>
        <pc:graphicFrameChg chg="add mod topLvl modGraphic">
          <ac:chgData name="Armaan Kumar" userId="S::akuma045@uottawa.ca::a351e95c-5450-4e5f-a2d5-0f74c8f92915" providerId="AD" clId="Web-{C9440694-1D16-10E3-48A3-7A13A40AB969}" dt="2025-03-26T19:23:38.232" v="21" actId="14100"/>
          <ac:graphicFrameMkLst>
            <pc:docMk/>
            <pc:sldMk cId="2009459704" sldId="309"/>
            <ac:graphicFrameMk id="17" creationId="{F7AC9DED-2F24-CBFB-90ED-D007AB9CF246}"/>
          </ac:graphicFrameMkLst>
        </pc:graphicFrameChg>
      </pc:sldChg>
    </pc:docChg>
  </pc:docChgLst>
  <pc:docChgLst>
    <pc:chgData name="Christian Gillam" userId="S::cgill016@uottawa.ca::178737ef-0014-4dd8-b439-bc02dd9433a1" providerId="AD" clId="Web-{5218FCB5-E5FA-28B4-38A9-E581A52B5974}"/>
    <pc:docChg chg="delSld modSld">
      <pc:chgData name="Christian Gillam" userId="S::cgill016@uottawa.ca::178737ef-0014-4dd8-b439-bc02dd9433a1" providerId="AD" clId="Web-{5218FCB5-E5FA-28B4-38A9-E581A52B5974}" dt="2025-03-30T21:56:24.321" v="674" actId="20577"/>
      <pc:docMkLst>
        <pc:docMk/>
      </pc:docMkLst>
      <pc:sldChg chg="addSp delSp modSp">
        <pc:chgData name="Christian Gillam" userId="S::cgill016@uottawa.ca::178737ef-0014-4dd8-b439-bc02dd9433a1" providerId="AD" clId="Web-{5218FCB5-E5FA-28B4-38A9-E581A52B5974}" dt="2025-03-30T21:56:24.321" v="674" actId="20577"/>
        <pc:sldMkLst>
          <pc:docMk/>
          <pc:sldMk cId="229152731" sldId="315"/>
        </pc:sldMkLst>
        <pc:spChg chg="add mod ord">
          <ac:chgData name="Christian Gillam" userId="S::cgill016@uottawa.ca::178737ef-0014-4dd8-b439-bc02dd9433a1" providerId="AD" clId="Web-{5218FCB5-E5FA-28B4-38A9-E581A52B5974}" dt="2025-03-30T21:35:08.124" v="503" actId="1076"/>
          <ac:spMkLst>
            <pc:docMk/>
            <pc:sldMk cId="229152731" sldId="315"/>
            <ac:spMk id="3" creationId="{1FF0B9F9-0803-7615-F4C7-3BCEF5E203A5}"/>
          </ac:spMkLst>
        </pc:spChg>
        <pc:spChg chg="add mod ord">
          <ac:chgData name="Christian Gillam" userId="S::cgill016@uottawa.ca::178737ef-0014-4dd8-b439-bc02dd9433a1" providerId="AD" clId="Web-{5218FCB5-E5FA-28B4-38A9-E581A52B5974}" dt="2025-03-30T21:55:21.041" v="666" actId="1076"/>
          <ac:spMkLst>
            <pc:docMk/>
            <pc:sldMk cId="229152731" sldId="315"/>
            <ac:spMk id="4" creationId="{97806DB4-987A-AA82-DF98-57356410C9EB}"/>
          </ac:spMkLst>
        </pc:spChg>
        <pc:spChg chg="add del">
          <ac:chgData name="Christian Gillam" userId="S::cgill016@uottawa.ca::178737ef-0014-4dd8-b439-bc02dd9433a1" providerId="AD" clId="Web-{5218FCB5-E5FA-28B4-38A9-E581A52B5974}" dt="2025-03-30T21:38:13.402" v="507"/>
          <ac:spMkLst>
            <pc:docMk/>
            <pc:sldMk cId="229152731" sldId="315"/>
            <ac:spMk id="5" creationId="{108782DE-9C6F-E4AD-9852-EA9344168908}"/>
          </ac:spMkLst>
        </pc:spChg>
        <pc:spChg chg="add mod">
          <ac:chgData name="Christian Gillam" userId="S::cgill016@uottawa.ca::178737ef-0014-4dd8-b439-bc02dd9433a1" providerId="AD" clId="Web-{5218FCB5-E5FA-28B4-38A9-E581A52B5974}" dt="2025-03-30T21:39:02.151" v="519" actId="20577"/>
          <ac:spMkLst>
            <pc:docMk/>
            <pc:sldMk cId="229152731" sldId="315"/>
            <ac:spMk id="6" creationId="{D874203E-18FB-205B-12BF-AD5FF2BDA391}"/>
          </ac:spMkLst>
        </pc:spChg>
        <pc:spChg chg="mod ord">
          <ac:chgData name="Christian Gillam" userId="S::cgill016@uottawa.ca::178737ef-0014-4dd8-b439-bc02dd9433a1" providerId="AD" clId="Web-{5218FCB5-E5FA-28B4-38A9-E581A52B5974}" dt="2025-03-30T21:48:01.564" v="605" actId="1076"/>
          <ac:spMkLst>
            <pc:docMk/>
            <pc:sldMk cId="229152731" sldId="315"/>
            <ac:spMk id="9" creationId="{77C0178A-8729-83CD-CF6D-D6A9714B2B3E}"/>
          </ac:spMkLst>
        </pc:spChg>
        <pc:spChg chg="add del">
          <ac:chgData name="Christian Gillam" userId="S::cgill016@uottawa.ca::178737ef-0014-4dd8-b439-bc02dd9433a1" providerId="AD" clId="Web-{5218FCB5-E5FA-28B4-38A9-E581A52B5974}" dt="2025-03-30T21:39:08.339" v="521"/>
          <ac:spMkLst>
            <pc:docMk/>
            <pc:sldMk cId="229152731" sldId="315"/>
            <ac:spMk id="11" creationId="{DCD94EB6-147E-47E2-D621-95B7A12D05BB}"/>
          </ac:spMkLst>
        </pc:spChg>
        <pc:spChg chg="add del">
          <ac:chgData name="Christian Gillam" userId="S::cgill016@uottawa.ca::178737ef-0014-4dd8-b439-bc02dd9433a1" providerId="AD" clId="Web-{5218FCB5-E5FA-28B4-38A9-E581A52B5974}" dt="2025-03-30T21:39:14.214" v="523"/>
          <ac:spMkLst>
            <pc:docMk/>
            <pc:sldMk cId="229152731" sldId="315"/>
            <ac:spMk id="12" creationId="{75C5FFC5-369D-02E2-6877-24BF5A04EFE5}"/>
          </ac:spMkLst>
        </pc:spChg>
        <pc:spChg chg="add mod">
          <ac:chgData name="Christian Gillam" userId="S::cgill016@uottawa.ca::178737ef-0014-4dd8-b439-bc02dd9433a1" providerId="AD" clId="Web-{5218FCB5-E5FA-28B4-38A9-E581A52B5974}" dt="2025-03-30T21:39:29.917" v="533" actId="20577"/>
          <ac:spMkLst>
            <pc:docMk/>
            <pc:sldMk cId="229152731" sldId="315"/>
            <ac:spMk id="13" creationId="{B27A049D-9FB7-768E-43D2-B3A3DF712127}"/>
          </ac:spMkLst>
        </pc:spChg>
        <pc:spChg chg="add mod ord">
          <ac:chgData name="Christian Gillam" userId="S::cgill016@uottawa.ca::178737ef-0014-4dd8-b439-bc02dd9433a1" providerId="AD" clId="Web-{5218FCB5-E5FA-28B4-38A9-E581A52B5974}" dt="2025-03-30T21:44:49.302" v="544" actId="1076"/>
          <ac:spMkLst>
            <pc:docMk/>
            <pc:sldMk cId="229152731" sldId="315"/>
            <ac:spMk id="15" creationId="{5325B6D1-45D5-E9D2-64C2-C9B410FB2B99}"/>
          </ac:spMkLst>
        </pc:spChg>
        <pc:spChg chg="add mod">
          <ac:chgData name="Christian Gillam" userId="S::cgill016@uottawa.ca::178737ef-0014-4dd8-b439-bc02dd9433a1" providerId="AD" clId="Web-{5218FCB5-E5FA-28B4-38A9-E581A52B5974}" dt="2025-03-30T21:56:13.556" v="672" actId="20577"/>
          <ac:spMkLst>
            <pc:docMk/>
            <pc:sldMk cId="229152731" sldId="315"/>
            <ac:spMk id="16" creationId="{80720DA1-F568-D69C-6968-B107078A959D}"/>
          </ac:spMkLst>
        </pc:spChg>
        <pc:spChg chg="add mod">
          <ac:chgData name="Christian Gillam" userId="S::cgill016@uottawa.ca::178737ef-0014-4dd8-b439-bc02dd9433a1" providerId="AD" clId="Web-{5218FCB5-E5FA-28B4-38A9-E581A52B5974}" dt="2025-03-30T21:56:00.150" v="671" actId="1076"/>
          <ac:spMkLst>
            <pc:docMk/>
            <pc:sldMk cId="229152731" sldId="315"/>
            <ac:spMk id="17" creationId="{5F5DD303-B63B-D7FE-EE85-7954675ACD29}"/>
          </ac:spMkLst>
        </pc:spChg>
        <pc:spChg chg="add mod">
          <ac:chgData name="Christian Gillam" userId="S::cgill016@uottawa.ca::178737ef-0014-4dd8-b439-bc02dd9433a1" providerId="AD" clId="Web-{5218FCB5-E5FA-28B4-38A9-E581A52B5974}" dt="2025-03-30T21:56:24.321" v="674" actId="20577"/>
          <ac:spMkLst>
            <pc:docMk/>
            <pc:sldMk cId="229152731" sldId="315"/>
            <ac:spMk id="18" creationId="{472D1FD2-13F5-9A83-774D-0FA028DDA8B8}"/>
          </ac:spMkLst>
        </pc:spChg>
        <pc:spChg chg="add del mod">
          <ac:chgData name="Christian Gillam" userId="S::cgill016@uottawa.ca::178737ef-0014-4dd8-b439-bc02dd9433a1" providerId="AD" clId="Web-{5218FCB5-E5FA-28B4-38A9-E581A52B5974}" dt="2025-03-30T21:50:02.125" v="624"/>
          <ac:spMkLst>
            <pc:docMk/>
            <pc:sldMk cId="229152731" sldId="315"/>
            <ac:spMk id="19" creationId="{20AADB68-D8D2-E649-4105-29E9F9BDD806}"/>
          </ac:spMkLst>
        </pc:spChg>
        <pc:spChg chg="add mod">
          <ac:chgData name="Christian Gillam" userId="S::cgill016@uottawa.ca::178737ef-0014-4dd8-b439-bc02dd9433a1" providerId="AD" clId="Web-{5218FCB5-E5FA-28B4-38A9-E581A52B5974}" dt="2025-03-30T21:50:47.968" v="649" actId="20577"/>
          <ac:spMkLst>
            <pc:docMk/>
            <pc:sldMk cId="229152731" sldId="315"/>
            <ac:spMk id="20" creationId="{15BA42BB-0335-B18C-C60F-95E202AB26AB}"/>
          </ac:spMkLst>
        </pc:spChg>
      </pc:sldChg>
      <pc:sldChg chg="del">
        <pc:chgData name="Christian Gillam" userId="S::cgill016@uottawa.ca::178737ef-0014-4dd8-b439-bc02dd9433a1" providerId="AD" clId="Web-{5218FCB5-E5FA-28B4-38A9-E581A52B5974}" dt="2025-03-30T20:09:14.305" v="0"/>
        <pc:sldMkLst>
          <pc:docMk/>
          <pc:sldMk cId="3256984854" sldId="319"/>
        </pc:sldMkLst>
      </pc:sldChg>
      <pc:sldChg chg="del">
        <pc:chgData name="Christian Gillam" userId="S::cgill016@uottawa.ca::178737ef-0014-4dd8-b439-bc02dd9433a1" providerId="AD" clId="Web-{5218FCB5-E5FA-28B4-38A9-E581A52B5974}" dt="2025-03-30T20:09:33.399" v="9"/>
        <pc:sldMkLst>
          <pc:docMk/>
          <pc:sldMk cId="4180212105" sldId="2154"/>
        </pc:sldMkLst>
      </pc:sldChg>
      <pc:sldChg chg="del">
        <pc:chgData name="Christian Gillam" userId="S::cgill016@uottawa.ca::178737ef-0014-4dd8-b439-bc02dd9433a1" providerId="AD" clId="Web-{5218FCB5-E5FA-28B4-38A9-E581A52B5974}" dt="2025-03-30T20:09:34.602" v="10"/>
        <pc:sldMkLst>
          <pc:docMk/>
          <pc:sldMk cId="3988318343" sldId="2155"/>
        </pc:sldMkLst>
      </pc:sldChg>
      <pc:sldChg chg="del">
        <pc:chgData name="Christian Gillam" userId="S::cgill016@uottawa.ca::178737ef-0014-4dd8-b439-bc02dd9433a1" providerId="AD" clId="Web-{5218FCB5-E5FA-28B4-38A9-E581A52B5974}" dt="2025-03-30T20:09:30.931" v="7"/>
        <pc:sldMkLst>
          <pc:docMk/>
          <pc:sldMk cId="634326991" sldId="2158"/>
        </pc:sldMkLst>
      </pc:sldChg>
      <pc:sldChg chg="del">
        <pc:chgData name="Christian Gillam" userId="S::cgill016@uottawa.ca::178737ef-0014-4dd8-b439-bc02dd9433a1" providerId="AD" clId="Web-{5218FCB5-E5FA-28B4-38A9-E581A52B5974}" dt="2025-03-30T20:09:32.118" v="8"/>
        <pc:sldMkLst>
          <pc:docMk/>
          <pc:sldMk cId="735920404" sldId="2162"/>
        </pc:sldMkLst>
      </pc:sldChg>
      <pc:sldChg chg="del">
        <pc:chgData name="Christian Gillam" userId="S::cgill016@uottawa.ca::178737ef-0014-4dd8-b439-bc02dd9433a1" providerId="AD" clId="Web-{5218FCB5-E5FA-28B4-38A9-E581A52B5974}" dt="2025-03-30T20:09:28.587" v="5"/>
        <pc:sldMkLst>
          <pc:docMk/>
          <pc:sldMk cId="4269998793" sldId="2163"/>
        </pc:sldMkLst>
      </pc:sldChg>
      <pc:sldChg chg="del">
        <pc:chgData name="Christian Gillam" userId="S::cgill016@uottawa.ca::178737ef-0014-4dd8-b439-bc02dd9433a1" providerId="AD" clId="Web-{5218FCB5-E5FA-28B4-38A9-E581A52B5974}" dt="2025-03-30T20:09:29.618" v="6"/>
        <pc:sldMkLst>
          <pc:docMk/>
          <pc:sldMk cId="2198294914" sldId="2164"/>
        </pc:sldMkLst>
      </pc:sldChg>
      <pc:sldChg chg="del">
        <pc:chgData name="Christian Gillam" userId="S::cgill016@uottawa.ca::178737ef-0014-4dd8-b439-bc02dd9433a1" providerId="AD" clId="Web-{5218FCB5-E5FA-28B4-38A9-E581A52B5974}" dt="2025-03-30T20:09:27.368" v="4"/>
        <pc:sldMkLst>
          <pc:docMk/>
          <pc:sldMk cId="2902376991" sldId="2165"/>
        </pc:sldMkLst>
      </pc:sldChg>
      <pc:sldChg chg="del">
        <pc:chgData name="Christian Gillam" userId="S::cgill016@uottawa.ca::178737ef-0014-4dd8-b439-bc02dd9433a1" providerId="AD" clId="Web-{5218FCB5-E5FA-28B4-38A9-E581A52B5974}" dt="2025-03-30T20:09:26.415" v="3"/>
        <pc:sldMkLst>
          <pc:docMk/>
          <pc:sldMk cId="2401639459" sldId="2166"/>
        </pc:sldMkLst>
      </pc:sldChg>
      <pc:sldChg chg="del">
        <pc:chgData name="Christian Gillam" userId="S::cgill016@uottawa.ca::178737ef-0014-4dd8-b439-bc02dd9433a1" providerId="AD" clId="Web-{5218FCB5-E5FA-28B4-38A9-E581A52B5974}" dt="2025-03-30T20:09:24.618" v="2"/>
        <pc:sldMkLst>
          <pc:docMk/>
          <pc:sldMk cId="3634952081" sldId="2167"/>
        </pc:sldMkLst>
      </pc:sldChg>
      <pc:sldChg chg="del">
        <pc:chgData name="Christian Gillam" userId="S::cgill016@uottawa.ca::178737ef-0014-4dd8-b439-bc02dd9433a1" providerId="AD" clId="Web-{5218FCB5-E5FA-28B4-38A9-E581A52B5974}" dt="2025-03-30T20:09:38.259" v="11"/>
        <pc:sldMkLst>
          <pc:docMk/>
          <pc:sldMk cId="3761259953" sldId="2168"/>
        </pc:sldMkLst>
      </pc:sldChg>
      <pc:sldChg chg="del">
        <pc:chgData name="Christian Gillam" userId="S::cgill016@uottawa.ca::178737ef-0014-4dd8-b439-bc02dd9433a1" providerId="AD" clId="Web-{5218FCB5-E5FA-28B4-38A9-E581A52B5974}" dt="2025-03-30T20:09:18.055" v="1"/>
        <pc:sldMkLst>
          <pc:docMk/>
          <pc:sldMk cId="3718335028" sldId="2194"/>
        </pc:sldMkLst>
      </pc:sldChg>
    </pc:docChg>
  </pc:docChgLst>
  <pc:docChgLst>
    <pc:chgData name="Armaan Kumar" userId="S::akuma045@uottawa.ca::a351e95c-5450-4e5f-a2d5-0f74c8f92915" providerId="AD" clId="Web-{E75D5560-E5F3-F353-C359-AB2713633823}"/>
    <pc:docChg chg="modSld">
      <pc:chgData name="Armaan Kumar" userId="S::akuma045@uottawa.ca::a351e95c-5450-4e5f-a2d5-0f74c8f92915" providerId="AD" clId="Web-{E75D5560-E5F3-F353-C359-AB2713633823}" dt="2025-03-26T18:41:46.069" v="2" actId="14100"/>
      <pc:docMkLst>
        <pc:docMk/>
      </pc:docMkLst>
      <pc:sldChg chg="modSp">
        <pc:chgData name="Armaan Kumar" userId="S::akuma045@uottawa.ca::a351e95c-5450-4e5f-a2d5-0f74c8f92915" providerId="AD" clId="Web-{E75D5560-E5F3-F353-C359-AB2713633823}" dt="2025-03-26T18:41:46.069" v="2" actId="14100"/>
        <pc:sldMkLst>
          <pc:docMk/>
          <pc:sldMk cId="3256984854" sldId="319"/>
        </pc:sldMkLst>
        <pc:picChg chg="mod">
          <ac:chgData name="Armaan Kumar" userId="S::akuma045@uottawa.ca::a351e95c-5450-4e5f-a2d5-0f74c8f92915" providerId="AD" clId="Web-{E75D5560-E5F3-F353-C359-AB2713633823}" dt="2025-03-26T18:41:46.069" v="2" actId="14100"/>
          <ac:picMkLst>
            <pc:docMk/>
            <pc:sldMk cId="3256984854" sldId="319"/>
            <ac:picMk id="2050" creationId="{7BC10110-AA61-8C21-DED0-6BEE2C47EE32}"/>
          </ac:picMkLst>
        </pc:picChg>
      </pc:sldChg>
    </pc:docChg>
  </pc:docChgLst>
  <pc:docChgLst>
    <pc:chgData name="Armaan Kumar" userId="S::akuma045@uottawa.ca::a351e95c-5450-4e5f-a2d5-0f74c8f92915" providerId="AD" clId="Web-{5BA6D29B-6118-AC7B-E4D9-3B7C916C8634}"/>
    <pc:docChg chg="modSld">
      <pc:chgData name="Armaan Kumar" userId="S::akuma045@uottawa.ca::a351e95c-5450-4e5f-a2d5-0f74c8f92915" providerId="AD" clId="Web-{5BA6D29B-6118-AC7B-E4D9-3B7C916C8634}" dt="2025-03-31T17:39:48.123" v="8"/>
      <pc:docMkLst>
        <pc:docMk/>
      </pc:docMkLst>
      <pc:sldChg chg="addSp modSp">
        <pc:chgData name="Armaan Kumar" userId="S::akuma045@uottawa.ca::a351e95c-5450-4e5f-a2d5-0f74c8f92915" providerId="AD" clId="Web-{5BA6D29B-6118-AC7B-E4D9-3B7C916C8634}" dt="2025-03-31T17:39:48.123" v="8"/>
        <pc:sldMkLst>
          <pc:docMk/>
          <pc:sldMk cId="1631883058" sldId="280"/>
        </pc:sldMkLst>
        <pc:graphicFrameChg chg="mod topLvl modGraphic">
          <ac:chgData name="Armaan Kumar" userId="S::akuma045@uottawa.ca::a351e95c-5450-4e5f-a2d5-0f74c8f92915" providerId="AD" clId="Web-{5BA6D29B-6118-AC7B-E4D9-3B7C916C8634}" dt="2025-03-31T17:39:48.123" v="8"/>
          <ac:graphicFrameMkLst>
            <pc:docMk/>
            <pc:sldMk cId="1631883058" sldId="280"/>
            <ac:graphicFrameMk id="106" creationId="{DA895DAE-65BB-43D8-8A59-2DB92BD48D5C}"/>
          </ac:graphicFrameMkLst>
        </pc:graphicFrameChg>
      </pc:sldChg>
      <pc:sldChg chg="modSp">
        <pc:chgData name="Armaan Kumar" userId="S::akuma045@uottawa.ca::a351e95c-5450-4e5f-a2d5-0f74c8f92915" providerId="AD" clId="Web-{5BA6D29B-6118-AC7B-E4D9-3B7C916C8634}" dt="2025-03-31T17:37:43.856" v="7" actId="1076"/>
        <pc:sldMkLst>
          <pc:docMk/>
          <pc:sldMk cId="2231801104" sldId="287"/>
        </pc:sldMkLst>
        <pc:spChg chg="mod">
          <ac:chgData name="Armaan Kumar" userId="S::akuma045@uottawa.ca::a351e95c-5450-4e5f-a2d5-0f74c8f92915" providerId="AD" clId="Web-{5BA6D29B-6118-AC7B-E4D9-3B7C916C8634}" dt="2025-03-31T17:37:09.949" v="1" actId="14100"/>
          <ac:spMkLst>
            <pc:docMk/>
            <pc:sldMk cId="2231801104" sldId="287"/>
            <ac:spMk id="9" creationId="{11EF9617-19EE-89BD-8A50-D5EA7FDFB4A2}"/>
          </ac:spMkLst>
        </pc:spChg>
        <pc:spChg chg="mod">
          <ac:chgData name="Armaan Kumar" userId="S::akuma045@uottawa.ca::a351e95c-5450-4e5f-a2d5-0f74c8f92915" providerId="AD" clId="Web-{5BA6D29B-6118-AC7B-E4D9-3B7C916C8634}" dt="2025-03-31T17:37:43.856" v="7" actId="1076"/>
          <ac:spMkLst>
            <pc:docMk/>
            <pc:sldMk cId="2231801104" sldId="287"/>
            <ac:spMk id="22" creationId="{DE4EBD26-88C6-EB65-D6DA-E28DBE36E00B}"/>
          </ac:spMkLst>
        </pc:spChg>
        <pc:spChg chg="mod">
          <ac:chgData name="Armaan Kumar" userId="S::akuma045@uottawa.ca::a351e95c-5450-4e5f-a2d5-0f74c8f92915" providerId="AD" clId="Web-{5BA6D29B-6118-AC7B-E4D9-3B7C916C8634}" dt="2025-03-31T17:37:27.700" v="4" actId="1076"/>
          <ac:spMkLst>
            <pc:docMk/>
            <pc:sldMk cId="2231801104" sldId="287"/>
            <ac:spMk id="26" creationId="{004BB359-B5E2-75E2-3241-BE15053902FE}"/>
          </ac:spMkLst>
        </pc:spChg>
      </pc:sldChg>
    </pc:docChg>
  </pc:docChgLst>
  <pc:docChgLst>
    <pc:chgData name="Joey Ray Zahr" userId="S::jzahr092@uottawa.ca::9150008f-b0d5-4c48-a0fe-8b032f63645f" providerId="AD" clId="Web-{257C1DED-4D28-9FF8-19B8-1F18BF170F92}"/>
    <pc:docChg chg="modSld">
      <pc:chgData name="Joey Ray Zahr" userId="S::jzahr092@uottawa.ca::9150008f-b0d5-4c48-a0fe-8b032f63645f" providerId="AD" clId="Web-{257C1DED-4D28-9FF8-19B8-1F18BF170F92}" dt="2025-03-31T21:54:21.325" v="4"/>
      <pc:docMkLst>
        <pc:docMk/>
      </pc:docMkLst>
      <pc:sldChg chg="delSp">
        <pc:chgData name="Joey Ray Zahr" userId="S::jzahr092@uottawa.ca::9150008f-b0d5-4c48-a0fe-8b032f63645f" providerId="AD" clId="Web-{257C1DED-4D28-9FF8-19B8-1F18BF170F92}" dt="2025-03-31T21:54:21.325" v="4"/>
        <pc:sldMkLst>
          <pc:docMk/>
          <pc:sldMk cId="3341212199" sldId="2206"/>
        </pc:sldMkLst>
        <pc:cxnChg chg="del">
          <ac:chgData name="Joey Ray Zahr" userId="S::jzahr092@uottawa.ca::9150008f-b0d5-4c48-a0fe-8b032f63645f" providerId="AD" clId="Web-{257C1DED-4D28-9FF8-19B8-1F18BF170F92}" dt="2025-03-31T21:54:21.325" v="4"/>
          <ac:cxnSpMkLst>
            <pc:docMk/>
            <pc:sldMk cId="3341212199" sldId="2206"/>
            <ac:cxnSpMk id="47" creationId="{203447FF-C84A-6CE4-0188-F0197D7B4FAF}"/>
          </ac:cxnSpMkLst>
        </pc:cxnChg>
      </pc:sldChg>
      <pc:sldChg chg="modSp">
        <pc:chgData name="Joey Ray Zahr" userId="S::jzahr092@uottawa.ca::9150008f-b0d5-4c48-a0fe-8b032f63645f" providerId="AD" clId="Web-{257C1DED-4D28-9FF8-19B8-1F18BF170F92}" dt="2025-03-31T21:50:42.179" v="3" actId="14100"/>
        <pc:sldMkLst>
          <pc:docMk/>
          <pc:sldMk cId="1820830921" sldId="2213"/>
        </pc:sldMkLst>
        <pc:spChg chg="mod">
          <ac:chgData name="Joey Ray Zahr" userId="S::jzahr092@uottawa.ca::9150008f-b0d5-4c48-a0fe-8b032f63645f" providerId="AD" clId="Web-{257C1DED-4D28-9FF8-19B8-1F18BF170F92}" dt="2025-03-31T21:50:42.179" v="3" actId="14100"/>
          <ac:spMkLst>
            <pc:docMk/>
            <pc:sldMk cId="1820830921" sldId="2213"/>
            <ac:spMk id="14" creationId="{E1A140DF-9E9E-40CE-B33A-828F954627B5}"/>
          </ac:spMkLst>
        </pc:spChg>
      </pc:sldChg>
    </pc:docChg>
  </pc:docChgLst>
  <pc:docChgLst>
    <pc:chgData name="Christian Gillam" userId="S::cgill016@uottawa.ca::178737ef-0014-4dd8-b439-bc02dd9433a1" providerId="AD" clId="Web-{24B91A36-9EEC-40D9-2E9C-7FA7BACB41F2}"/>
    <pc:docChg chg="addSld delSld modSld sldOrd">
      <pc:chgData name="Christian Gillam" userId="S::cgill016@uottawa.ca::178737ef-0014-4dd8-b439-bc02dd9433a1" providerId="AD" clId="Web-{24B91A36-9EEC-40D9-2E9C-7FA7BACB41F2}" dt="2025-04-02T17:14:31.323" v="1861"/>
      <pc:docMkLst>
        <pc:docMk/>
      </pc:docMkLst>
      <pc:sldChg chg="del">
        <pc:chgData name="Christian Gillam" userId="S::cgill016@uottawa.ca::178737ef-0014-4dd8-b439-bc02dd9433a1" providerId="AD" clId="Web-{24B91A36-9EEC-40D9-2E9C-7FA7BACB41F2}" dt="2025-04-01T17:58:30.445" v="888"/>
        <pc:sldMkLst>
          <pc:docMk/>
          <pc:sldMk cId="229152731" sldId="315"/>
        </pc:sldMkLst>
      </pc:sldChg>
      <pc:sldChg chg="modSp del">
        <pc:chgData name="Christian Gillam" userId="S::cgill016@uottawa.ca::178737ef-0014-4dd8-b439-bc02dd9433a1" providerId="AD" clId="Web-{24B91A36-9EEC-40D9-2E9C-7FA7BACB41F2}" dt="2025-04-01T17:25:42.758" v="861"/>
        <pc:sldMkLst>
          <pc:docMk/>
          <pc:sldMk cId="4273748011" sldId="2231"/>
        </pc:sldMkLst>
        <pc:spChg chg="mod">
          <ac:chgData name="Christian Gillam" userId="S::cgill016@uottawa.ca::178737ef-0014-4dd8-b439-bc02dd9433a1" providerId="AD" clId="Web-{24B91A36-9EEC-40D9-2E9C-7FA7BACB41F2}" dt="2025-04-01T17:02:37.992" v="629" actId="1076"/>
          <ac:spMkLst>
            <pc:docMk/>
            <pc:sldMk cId="4273748011" sldId="2231"/>
            <ac:spMk id="3" creationId="{E46B271B-A9F9-E269-B710-8D343E686637}"/>
          </ac:spMkLst>
        </pc:spChg>
        <pc:spChg chg="mod">
          <ac:chgData name="Christian Gillam" userId="S::cgill016@uottawa.ca::178737ef-0014-4dd8-b439-bc02dd9433a1" providerId="AD" clId="Web-{24B91A36-9EEC-40D9-2E9C-7FA7BACB41F2}" dt="2025-04-01T17:01:33.740" v="591"/>
          <ac:spMkLst>
            <pc:docMk/>
            <pc:sldMk cId="4273748011" sldId="2231"/>
            <ac:spMk id="14" creationId="{B7CC9C70-B56E-5F4F-B28C-77FEF96085D7}"/>
          </ac:spMkLst>
        </pc:spChg>
        <pc:spChg chg="mod">
          <ac:chgData name="Christian Gillam" userId="S::cgill016@uottawa.ca::178737ef-0014-4dd8-b439-bc02dd9433a1" providerId="AD" clId="Web-{24B91A36-9EEC-40D9-2E9C-7FA7BACB41F2}" dt="2025-04-01T17:02:08.741" v="597" actId="20577"/>
          <ac:spMkLst>
            <pc:docMk/>
            <pc:sldMk cId="4273748011" sldId="2231"/>
            <ac:spMk id="15" creationId="{1746EBB1-A0A2-31BF-D5EA-CA9852F13A54}"/>
          </ac:spMkLst>
        </pc:spChg>
        <pc:spChg chg="mod">
          <ac:chgData name="Christian Gillam" userId="S::cgill016@uottawa.ca::178737ef-0014-4dd8-b439-bc02dd9433a1" providerId="AD" clId="Web-{24B91A36-9EEC-40D9-2E9C-7FA7BACB41F2}" dt="2025-04-01T17:01:59.538" v="595" actId="20577"/>
          <ac:spMkLst>
            <pc:docMk/>
            <pc:sldMk cId="4273748011" sldId="2231"/>
            <ac:spMk id="16" creationId="{4E9A29A4-133D-6F58-7923-67A933E278CF}"/>
          </ac:spMkLst>
        </pc:spChg>
        <pc:spChg chg="mod">
          <ac:chgData name="Christian Gillam" userId="S::cgill016@uottawa.ca::178737ef-0014-4dd8-b439-bc02dd9433a1" providerId="AD" clId="Web-{24B91A36-9EEC-40D9-2E9C-7FA7BACB41F2}" dt="2025-04-01T17:01:49.959" v="593" actId="20577"/>
          <ac:spMkLst>
            <pc:docMk/>
            <pc:sldMk cId="4273748011" sldId="2231"/>
            <ac:spMk id="17" creationId="{7C808A9A-6172-373D-8EA2-1495DC6ACB14}"/>
          </ac:spMkLst>
        </pc:spChg>
      </pc:sldChg>
      <pc:sldChg chg="addSp modSp">
        <pc:chgData name="Christian Gillam" userId="S::cgill016@uottawa.ca::178737ef-0014-4dd8-b439-bc02dd9433a1" providerId="AD" clId="Web-{24B91A36-9EEC-40D9-2E9C-7FA7BACB41F2}" dt="2025-04-01T20:39:23.559" v="1087" actId="1076"/>
        <pc:sldMkLst>
          <pc:docMk/>
          <pc:sldMk cId="126571796" sldId="2237"/>
        </pc:sldMkLst>
        <pc:spChg chg="mod">
          <ac:chgData name="Christian Gillam" userId="S::cgill016@uottawa.ca::178737ef-0014-4dd8-b439-bc02dd9433a1" providerId="AD" clId="Web-{24B91A36-9EEC-40D9-2E9C-7FA7BACB41F2}" dt="2025-04-01T20:39:23.559" v="1087" actId="1076"/>
          <ac:spMkLst>
            <pc:docMk/>
            <pc:sldMk cId="126571796" sldId="2237"/>
            <ac:spMk id="3" creationId="{5536904E-0ECD-BA0F-6BEE-F8F57D65F076}"/>
          </ac:spMkLst>
        </pc:spChg>
        <pc:spChg chg="add mod">
          <ac:chgData name="Christian Gillam" userId="S::cgill016@uottawa.ca::178737ef-0014-4dd8-b439-bc02dd9433a1" providerId="AD" clId="Web-{24B91A36-9EEC-40D9-2E9C-7FA7BACB41F2}" dt="2025-04-01T19:45:23.121" v="1019" actId="1076"/>
          <ac:spMkLst>
            <pc:docMk/>
            <pc:sldMk cId="126571796" sldId="2237"/>
            <ac:spMk id="8" creationId="{1C460FA3-F58E-2002-F544-EA7D762CAD6C}"/>
          </ac:spMkLst>
        </pc:spChg>
        <pc:spChg chg="add mod">
          <ac:chgData name="Christian Gillam" userId="S::cgill016@uottawa.ca::178737ef-0014-4dd8-b439-bc02dd9433a1" providerId="AD" clId="Web-{24B91A36-9EEC-40D9-2E9C-7FA7BACB41F2}" dt="2025-04-01T19:46:33.746" v="1032" actId="1076"/>
          <ac:spMkLst>
            <pc:docMk/>
            <pc:sldMk cId="126571796" sldId="2237"/>
            <ac:spMk id="10" creationId="{C37B7FB0-AAFD-0A94-6DB3-2F212B1C61B0}"/>
          </ac:spMkLst>
        </pc:spChg>
        <pc:spChg chg="add mod">
          <ac:chgData name="Christian Gillam" userId="S::cgill016@uottawa.ca::178737ef-0014-4dd8-b439-bc02dd9433a1" providerId="AD" clId="Web-{24B91A36-9EEC-40D9-2E9C-7FA7BACB41F2}" dt="2025-04-01T19:47:47.263" v="1072" actId="1076"/>
          <ac:spMkLst>
            <pc:docMk/>
            <pc:sldMk cId="126571796" sldId="2237"/>
            <ac:spMk id="11" creationId="{E8B7F9E4-8FD0-BEE7-3A05-668E07B5EDA3}"/>
          </ac:spMkLst>
        </pc:spChg>
        <pc:spChg chg="add mod">
          <ac:chgData name="Christian Gillam" userId="S::cgill016@uottawa.ca::178737ef-0014-4dd8-b439-bc02dd9433a1" providerId="AD" clId="Web-{24B91A36-9EEC-40D9-2E9C-7FA7BACB41F2}" dt="2025-04-01T19:48:10.857" v="1076" actId="1076"/>
          <ac:spMkLst>
            <pc:docMk/>
            <pc:sldMk cId="126571796" sldId="2237"/>
            <ac:spMk id="12" creationId="{31917B07-2594-BC96-5663-C64137363FB0}"/>
          </ac:spMkLst>
        </pc:spChg>
        <pc:graphicFrameChg chg="mod modGraphic">
          <ac:chgData name="Christian Gillam" userId="S::cgill016@uottawa.ca::178737ef-0014-4dd8-b439-bc02dd9433a1" providerId="AD" clId="Web-{24B91A36-9EEC-40D9-2E9C-7FA7BACB41F2}" dt="2025-04-01T19:44:40.995" v="1011" actId="1076"/>
          <ac:graphicFrameMkLst>
            <pc:docMk/>
            <pc:sldMk cId="126571796" sldId="2237"/>
            <ac:graphicFrameMk id="2" creationId="{7C62835C-1156-4618-B89A-1C555DCB6340}"/>
          </ac:graphicFrameMkLst>
        </pc:graphicFrameChg>
        <pc:graphicFrameChg chg="mod modGraphic">
          <ac:chgData name="Christian Gillam" userId="S::cgill016@uottawa.ca::178737ef-0014-4dd8-b439-bc02dd9433a1" providerId="AD" clId="Web-{24B91A36-9EEC-40D9-2E9C-7FA7BACB41F2}" dt="2025-04-01T19:47:14.700" v="1037"/>
          <ac:graphicFrameMkLst>
            <pc:docMk/>
            <pc:sldMk cId="126571796" sldId="2237"/>
            <ac:graphicFrameMk id="4" creationId="{7061D29F-7D63-52C4-8617-6CBB8DDC7C0F}"/>
          </ac:graphicFrameMkLst>
        </pc:graphicFrameChg>
        <pc:graphicFrameChg chg="mod modGraphic">
          <ac:chgData name="Christian Gillam" userId="S::cgill016@uottawa.ca::178737ef-0014-4dd8-b439-bc02dd9433a1" providerId="AD" clId="Web-{24B91A36-9EEC-40D9-2E9C-7FA7BACB41F2}" dt="2025-04-01T19:47:40.841" v="1071"/>
          <ac:graphicFrameMkLst>
            <pc:docMk/>
            <pc:sldMk cId="126571796" sldId="2237"/>
            <ac:graphicFrameMk id="7" creationId="{922A4CD0-CBF3-B4BC-3AC0-D65C5936DF5B}"/>
          </ac:graphicFrameMkLst>
        </pc:graphicFrameChg>
        <pc:graphicFrameChg chg="mod modGraphic">
          <ac:chgData name="Christian Gillam" userId="S::cgill016@uottawa.ca::178737ef-0014-4dd8-b439-bc02dd9433a1" providerId="AD" clId="Web-{24B91A36-9EEC-40D9-2E9C-7FA7BACB41F2}" dt="2025-04-01T19:47:58.591" v="1074" actId="1076"/>
          <ac:graphicFrameMkLst>
            <pc:docMk/>
            <pc:sldMk cId="126571796" sldId="2237"/>
            <ac:graphicFrameMk id="9" creationId="{F4569315-059B-41F8-8F00-60280CD2D7BB}"/>
          </ac:graphicFrameMkLst>
        </pc:graphicFrameChg>
      </pc:sldChg>
      <pc:sldChg chg="addSp delSp modSp">
        <pc:chgData name="Christian Gillam" userId="S::cgill016@uottawa.ca::178737ef-0014-4dd8-b439-bc02dd9433a1" providerId="AD" clId="Web-{24B91A36-9EEC-40D9-2E9C-7FA7BACB41F2}" dt="2025-04-01T19:52:17.454" v="1085"/>
        <pc:sldMkLst>
          <pc:docMk/>
          <pc:sldMk cId="2391271550" sldId="2238"/>
        </pc:sldMkLst>
        <pc:spChg chg="add mod">
          <ac:chgData name="Christian Gillam" userId="S::cgill016@uottawa.ca::178737ef-0014-4dd8-b439-bc02dd9433a1" providerId="AD" clId="Web-{24B91A36-9EEC-40D9-2E9C-7FA7BACB41F2}" dt="2025-04-01T19:35:09.347" v="928" actId="1076"/>
          <ac:spMkLst>
            <pc:docMk/>
            <pc:sldMk cId="2391271550" sldId="2238"/>
            <ac:spMk id="8" creationId="{D4F84DE7-6D46-60D3-6634-22C22F351230}"/>
          </ac:spMkLst>
        </pc:spChg>
        <pc:spChg chg="add del mod">
          <ac:chgData name="Christian Gillam" userId="S::cgill016@uottawa.ca::178737ef-0014-4dd8-b439-bc02dd9433a1" providerId="AD" clId="Web-{24B91A36-9EEC-40D9-2E9C-7FA7BACB41F2}" dt="2025-04-01T19:40:37.867" v="977"/>
          <ac:spMkLst>
            <pc:docMk/>
            <pc:sldMk cId="2391271550" sldId="2238"/>
            <ac:spMk id="10" creationId="{B6AAC565-2A41-7199-30C5-D0DA537A3242}"/>
          </ac:spMkLst>
        </pc:spChg>
        <pc:spChg chg="add del">
          <ac:chgData name="Christian Gillam" userId="S::cgill016@uottawa.ca::178737ef-0014-4dd8-b439-bc02dd9433a1" providerId="AD" clId="Web-{24B91A36-9EEC-40D9-2E9C-7FA7BACB41F2}" dt="2025-04-01T19:40:31.101" v="976"/>
          <ac:spMkLst>
            <pc:docMk/>
            <pc:sldMk cId="2391271550" sldId="2238"/>
            <ac:spMk id="11" creationId="{267A305E-6A0D-A75F-7281-9D27D646041B}"/>
          </ac:spMkLst>
        </pc:spChg>
        <pc:spChg chg="add mod">
          <ac:chgData name="Christian Gillam" userId="S::cgill016@uottawa.ca::178737ef-0014-4dd8-b439-bc02dd9433a1" providerId="AD" clId="Web-{24B91A36-9EEC-40D9-2E9C-7FA7BACB41F2}" dt="2025-04-01T19:51:05.797" v="1077"/>
          <ac:spMkLst>
            <pc:docMk/>
            <pc:sldMk cId="2391271550" sldId="2238"/>
            <ac:spMk id="12" creationId="{2E6E81AC-7C7F-D080-0FB8-6FB16ACC95AF}"/>
          </ac:spMkLst>
        </pc:spChg>
        <pc:spChg chg="add mod">
          <ac:chgData name="Christian Gillam" userId="S::cgill016@uottawa.ca::178737ef-0014-4dd8-b439-bc02dd9433a1" providerId="AD" clId="Web-{24B91A36-9EEC-40D9-2E9C-7FA7BACB41F2}" dt="2025-04-01T19:41:57.587" v="1004" actId="1076"/>
          <ac:spMkLst>
            <pc:docMk/>
            <pc:sldMk cId="2391271550" sldId="2238"/>
            <ac:spMk id="13" creationId="{919ECC86-548B-712F-916D-29510081D79C}"/>
          </ac:spMkLst>
        </pc:spChg>
        <pc:spChg chg="add mod">
          <ac:chgData name="Christian Gillam" userId="S::cgill016@uottawa.ca::178737ef-0014-4dd8-b439-bc02dd9433a1" providerId="AD" clId="Web-{24B91A36-9EEC-40D9-2E9C-7FA7BACB41F2}" dt="2025-04-01T19:42:27.071" v="1009" actId="1076"/>
          <ac:spMkLst>
            <pc:docMk/>
            <pc:sldMk cId="2391271550" sldId="2238"/>
            <ac:spMk id="14" creationId="{91510DF1-63BD-EF5E-3511-F251D9ECA6F8}"/>
          </ac:spMkLst>
        </pc:spChg>
        <pc:graphicFrameChg chg="mod modGraphic">
          <ac:chgData name="Christian Gillam" userId="S::cgill016@uottawa.ca::178737ef-0014-4dd8-b439-bc02dd9433a1" providerId="AD" clId="Web-{24B91A36-9EEC-40D9-2E9C-7FA7BACB41F2}" dt="2025-04-01T19:40:06.491" v="971"/>
          <ac:graphicFrameMkLst>
            <pc:docMk/>
            <pc:sldMk cId="2391271550" sldId="2238"/>
            <ac:graphicFrameMk id="2" creationId="{7C62835C-1156-4618-B89A-1C555DCB6340}"/>
          </ac:graphicFrameMkLst>
        </pc:graphicFrameChg>
        <pc:graphicFrameChg chg="mod modGraphic">
          <ac:chgData name="Christian Gillam" userId="S::cgill016@uottawa.ca::178737ef-0014-4dd8-b439-bc02dd9433a1" providerId="AD" clId="Web-{24B91A36-9EEC-40D9-2E9C-7FA7BACB41F2}" dt="2025-04-01T19:52:17.454" v="1085"/>
          <ac:graphicFrameMkLst>
            <pc:docMk/>
            <pc:sldMk cId="2391271550" sldId="2238"/>
            <ac:graphicFrameMk id="4" creationId="{7061D29F-7D63-52C4-8617-6CBB8DDC7C0F}"/>
          </ac:graphicFrameMkLst>
        </pc:graphicFrameChg>
        <pc:graphicFrameChg chg="mod modGraphic">
          <ac:chgData name="Christian Gillam" userId="S::cgill016@uottawa.ca::178737ef-0014-4dd8-b439-bc02dd9433a1" providerId="AD" clId="Web-{24B91A36-9EEC-40D9-2E9C-7FA7BACB41F2}" dt="2025-04-01T19:41:49.336" v="1003" actId="1076"/>
          <ac:graphicFrameMkLst>
            <pc:docMk/>
            <pc:sldMk cId="2391271550" sldId="2238"/>
            <ac:graphicFrameMk id="7" creationId="{922A4CD0-CBF3-B4BC-3AC0-D65C5936DF5B}"/>
          </ac:graphicFrameMkLst>
        </pc:graphicFrameChg>
        <pc:graphicFrameChg chg="mod modGraphic">
          <ac:chgData name="Christian Gillam" userId="S::cgill016@uottawa.ca::178737ef-0014-4dd8-b439-bc02dd9433a1" providerId="AD" clId="Web-{24B91A36-9EEC-40D9-2E9C-7FA7BACB41F2}" dt="2025-04-01T19:42:21.165" v="1008" actId="1076"/>
          <ac:graphicFrameMkLst>
            <pc:docMk/>
            <pc:sldMk cId="2391271550" sldId="2238"/>
            <ac:graphicFrameMk id="9" creationId="{F4569315-059B-41F8-8F00-60280CD2D7BB}"/>
          </ac:graphicFrameMkLst>
        </pc:graphicFrameChg>
      </pc:sldChg>
      <pc:sldChg chg="addSp delSp modSp">
        <pc:chgData name="Christian Gillam" userId="S::cgill016@uottawa.ca::178737ef-0014-4dd8-b439-bc02dd9433a1" providerId="AD" clId="Web-{24B91A36-9EEC-40D9-2E9C-7FA7BACB41F2}" dt="2025-04-01T14:52:13.313" v="587" actId="20577"/>
        <pc:sldMkLst>
          <pc:docMk/>
          <pc:sldMk cId="3465619800" sldId="2240"/>
        </pc:sldMkLst>
        <pc:spChg chg="add del mod">
          <ac:chgData name="Christian Gillam" userId="S::cgill016@uottawa.ca::178737ef-0014-4dd8-b439-bc02dd9433a1" providerId="AD" clId="Web-{24B91A36-9EEC-40D9-2E9C-7FA7BACB41F2}" dt="2025-04-01T14:51:18.859" v="576"/>
          <ac:spMkLst>
            <pc:docMk/>
            <pc:sldMk cId="3465619800" sldId="2240"/>
            <ac:spMk id="2" creationId="{14A8089F-AE49-4496-9730-2C60884240DD}"/>
          </ac:spMkLst>
        </pc:spChg>
        <pc:spChg chg="del">
          <ac:chgData name="Christian Gillam" userId="S::cgill016@uottawa.ca::178737ef-0014-4dd8-b439-bc02dd9433a1" providerId="AD" clId="Web-{24B91A36-9EEC-40D9-2E9C-7FA7BACB41F2}" dt="2025-04-01T14:07:02.122" v="478"/>
          <ac:spMkLst>
            <pc:docMk/>
            <pc:sldMk cId="3465619800" sldId="2240"/>
            <ac:spMk id="2" creationId="{8C43E5FE-11A0-D636-7CDA-CCBC4C98EB74}"/>
          </ac:spMkLst>
        </pc:spChg>
        <pc:spChg chg="mod">
          <ac:chgData name="Christian Gillam" userId="S::cgill016@uottawa.ca::178737ef-0014-4dd8-b439-bc02dd9433a1" providerId="AD" clId="Web-{24B91A36-9EEC-40D9-2E9C-7FA7BACB41F2}" dt="2025-04-01T13:34:03.104" v="74" actId="20577"/>
          <ac:spMkLst>
            <pc:docMk/>
            <pc:sldMk cId="3465619800" sldId="2240"/>
            <ac:spMk id="3" creationId="{72D6CE62-FD32-CEE1-D137-FF8103C9A9FB}"/>
          </ac:spMkLst>
        </pc:spChg>
        <pc:spChg chg="add mod">
          <ac:chgData name="Christian Gillam" userId="S::cgill016@uottawa.ca::178737ef-0014-4dd8-b439-bc02dd9433a1" providerId="AD" clId="Web-{24B91A36-9EEC-40D9-2E9C-7FA7BACB41F2}" dt="2025-04-01T14:52:13.313" v="587" actId="20577"/>
          <ac:spMkLst>
            <pc:docMk/>
            <pc:sldMk cId="3465619800" sldId="2240"/>
            <ac:spMk id="5" creationId="{B63024AE-0E0D-0C5A-2C5A-C58B025D832C}"/>
          </ac:spMkLst>
        </pc:spChg>
        <pc:spChg chg="del">
          <ac:chgData name="Christian Gillam" userId="S::cgill016@uottawa.ca::178737ef-0014-4dd8-b439-bc02dd9433a1" providerId="AD" clId="Web-{24B91A36-9EEC-40D9-2E9C-7FA7BACB41F2}" dt="2025-04-01T13:35:35.634" v="84"/>
          <ac:spMkLst>
            <pc:docMk/>
            <pc:sldMk cId="3465619800" sldId="2240"/>
            <ac:spMk id="5" creationId="{C3C8D75F-48BD-9756-AC1E-15CEBBD48811}"/>
          </ac:spMkLst>
        </pc:spChg>
        <pc:spChg chg="del">
          <ac:chgData name="Christian Gillam" userId="S::cgill016@uottawa.ca::178737ef-0014-4dd8-b439-bc02dd9433a1" providerId="AD" clId="Web-{24B91A36-9EEC-40D9-2E9C-7FA7BACB41F2}" dt="2025-04-01T13:28:52.012" v="10"/>
          <ac:spMkLst>
            <pc:docMk/>
            <pc:sldMk cId="3465619800" sldId="2240"/>
            <ac:spMk id="6" creationId="{E828347B-80FD-E580-FC49-A9F409615B35}"/>
          </ac:spMkLst>
        </pc:spChg>
        <pc:spChg chg="del">
          <ac:chgData name="Christian Gillam" userId="S::cgill016@uottawa.ca::178737ef-0014-4dd8-b439-bc02dd9433a1" providerId="AD" clId="Web-{24B91A36-9EEC-40D9-2E9C-7FA7BACB41F2}" dt="2025-04-01T13:35:32.447" v="83"/>
          <ac:spMkLst>
            <pc:docMk/>
            <pc:sldMk cId="3465619800" sldId="2240"/>
            <ac:spMk id="7" creationId="{B8FDE4A2-C592-4C94-9A48-D5459B8B2B2C}"/>
          </ac:spMkLst>
        </pc:spChg>
        <pc:spChg chg="del">
          <ac:chgData name="Christian Gillam" userId="S::cgill016@uottawa.ca::178737ef-0014-4dd8-b439-bc02dd9433a1" providerId="AD" clId="Web-{24B91A36-9EEC-40D9-2E9C-7FA7BACB41F2}" dt="2025-04-01T13:35:21.181" v="82"/>
          <ac:spMkLst>
            <pc:docMk/>
            <pc:sldMk cId="3465619800" sldId="2240"/>
            <ac:spMk id="8" creationId="{02E24207-AB14-F1BF-D4DE-5916B08F74CA}"/>
          </ac:spMkLst>
        </pc:spChg>
        <pc:spChg chg="del">
          <ac:chgData name="Christian Gillam" userId="S::cgill016@uottawa.ca::178737ef-0014-4dd8-b439-bc02dd9433a1" providerId="AD" clId="Web-{24B91A36-9EEC-40D9-2E9C-7FA7BACB41F2}" dt="2025-04-01T13:29:39.965" v="13"/>
          <ac:spMkLst>
            <pc:docMk/>
            <pc:sldMk cId="3465619800" sldId="2240"/>
            <ac:spMk id="9" creationId="{248ABD88-5EE8-1BAD-E177-D0E216EB50C4}"/>
          </ac:spMkLst>
        </pc:spChg>
        <pc:spChg chg="del">
          <ac:chgData name="Christian Gillam" userId="S::cgill016@uottawa.ca::178737ef-0014-4dd8-b439-bc02dd9433a1" providerId="AD" clId="Web-{24B91A36-9EEC-40D9-2E9C-7FA7BACB41F2}" dt="2025-04-01T13:31:41.745" v="19"/>
          <ac:spMkLst>
            <pc:docMk/>
            <pc:sldMk cId="3465619800" sldId="2240"/>
            <ac:spMk id="10" creationId="{94DF6AFE-0DDA-D6AC-A7C7-60116268A47B}"/>
          </ac:spMkLst>
        </pc:spChg>
        <pc:spChg chg="add del mod">
          <ac:chgData name="Christian Gillam" userId="S::cgill016@uottawa.ca::178737ef-0014-4dd8-b439-bc02dd9433a1" providerId="AD" clId="Web-{24B91A36-9EEC-40D9-2E9C-7FA7BACB41F2}" dt="2025-04-01T13:31:06.120" v="17"/>
          <ac:spMkLst>
            <pc:docMk/>
            <pc:sldMk cId="3465619800" sldId="2240"/>
            <ac:spMk id="14" creationId="{F6400E26-5BF3-C2FF-C204-12A5C6C7CB0A}"/>
          </ac:spMkLst>
        </pc:spChg>
        <pc:spChg chg="add del">
          <ac:chgData name="Christian Gillam" userId="S::cgill016@uottawa.ca::178737ef-0014-4dd8-b439-bc02dd9433a1" providerId="AD" clId="Web-{24B91A36-9EEC-40D9-2E9C-7FA7BACB41F2}" dt="2025-04-01T13:39:27.851" v="105"/>
          <ac:spMkLst>
            <pc:docMk/>
            <pc:sldMk cId="3465619800" sldId="2240"/>
            <ac:spMk id="19" creationId="{42DB6F01-3F3C-98AD-D5C2-F77CC7EFE0C1}"/>
          </ac:spMkLst>
        </pc:spChg>
        <pc:spChg chg="add del mod">
          <ac:chgData name="Christian Gillam" userId="S::cgill016@uottawa.ca::178737ef-0014-4dd8-b439-bc02dd9433a1" providerId="AD" clId="Web-{24B91A36-9EEC-40D9-2E9C-7FA7BACB41F2}" dt="2025-04-01T13:39:39.101" v="109"/>
          <ac:spMkLst>
            <pc:docMk/>
            <pc:sldMk cId="3465619800" sldId="2240"/>
            <ac:spMk id="20" creationId="{0FB6914D-AFE8-D7A9-1F71-AC3254C18A70}"/>
          </ac:spMkLst>
        </pc:spChg>
        <pc:spChg chg="add mod">
          <ac:chgData name="Christian Gillam" userId="S::cgill016@uottawa.ca::178737ef-0014-4dd8-b439-bc02dd9433a1" providerId="AD" clId="Web-{24B91A36-9EEC-40D9-2E9C-7FA7BACB41F2}" dt="2025-04-01T13:41:26.601" v="141" actId="1076"/>
          <ac:spMkLst>
            <pc:docMk/>
            <pc:sldMk cId="3465619800" sldId="2240"/>
            <ac:spMk id="21" creationId="{7B58AB7F-6CB3-2EB4-4DC5-F0F345933B57}"/>
          </ac:spMkLst>
        </pc:spChg>
        <pc:spChg chg="add mod">
          <ac:chgData name="Christian Gillam" userId="S::cgill016@uottawa.ca::178737ef-0014-4dd8-b439-bc02dd9433a1" providerId="AD" clId="Web-{24B91A36-9EEC-40D9-2E9C-7FA7BACB41F2}" dt="2025-04-01T13:43:04.116" v="192" actId="20577"/>
          <ac:spMkLst>
            <pc:docMk/>
            <pc:sldMk cId="3465619800" sldId="2240"/>
            <ac:spMk id="22" creationId="{AC1BF5C1-716A-D2FA-810C-4B765C3C47BC}"/>
          </ac:spMkLst>
        </pc:spChg>
        <pc:spChg chg="add mod">
          <ac:chgData name="Christian Gillam" userId="S::cgill016@uottawa.ca::178737ef-0014-4dd8-b439-bc02dd9433a1" providerId="AD" clId="Web-{24B91A36-9EEC-40D9-2E9C-7FA7BACB41F2}" dt="2025-04-01T13:42:48.647" v="174" actId="14100"/>
          <ac:spMkLst>
            <pc:docMk/>
            <pc:sldMk cId="3465619800" sldId="2240"/>
            <ac:spMk id="23" creationId="{F8F8C40A-FBF7-4384-0817-9187964039F0}"/>
          </ac:spMkLst>
        </pc:spChg>
        <pc:spChg chg="add mod">
          <ac:chgData name="Christian Gillam" userId="S::cgill016@uottawa.ca::178737ef-0014-4dd8-b439-bc02dd9433a1" providerId="AD" clId="Web-{24B91A36-9EEC-40D9-2E9C-7FA7BACB41F2}" dt="2025-04-01T13:43:30.834" v="229" actId="20577"/>
          <ac:spMkLst>
            <pc:docMk/>
            <pc:sldMk cId="3465619800" sldId="2240"/>
            <ac:spMk id="24" creationId="{0384C0E6-A330-415E-EF8B-7E29561B6268}"/>
          </ac:spMkLst>
        </pc:spChg>
        <pc:spChg chg="add mod">
          <ac:chgData name="Christian Gillam" userId="S::cgill016@uottawa.ca::178737ef-0014-4dd8-b439-bc02dd9433a1" providerId="AD" clId="Web-{24B91A36-9EEC-40D9-2E9C-7FA7BACB41F2}" dt="2025-04-01T13:43:12.756" v="209" actId="20577"/>
          <ac:spMkLst>
            <pc:docMk/>
            <pc:sldMk cId="3465619800" sldId="2240"/>
            <ac:spMk id="25" creationId="{F74AB14C-5D64-1B77-5C0A-3D10BD0B8554}"/>
          </ac:spMkLst>
        </pc:spChg>
        <pc:spChg chg="add del mod">
          <ac:chgData name="Christian Gillam" userId="S::cgill016@uottawa.ca::178737ef-0014-4dd8-b439-bc02dd9433a1" providerId="AD" clId="Web-{24B91A36-9EEC-40D9-2E9C-7FA7BACB41F2}" dt="2025-04-01T13:45:49.224" v="233"/>
          <ac:spMkLst>
            <pc:docMk/>
            <pc:sldMk cId="3465619800" sldId="2240"/>
            <ac:spMk id="26" creationId="{76E08502-002A-92AF-16E2-CFF6DA182E54}"/>
          </ac:spMkLst>
        </pc:spChg>
        <pc:spChg chg="add mod">
          <ac:chgData name="Christian Gillam" userId="S::cgill016@uottawa.ca::178737ef-0014-4dd8-b439-bc02dd9433a1" providerId="AD" clId="Web-{24B91A36-9EEC-40D9-2E9C-7FA7BACB41F2}" dt="2025-04-01T13:47:21.379" v="268" actId="20577"/>
          <ac:spMkLst>
            <pc:docMk/>
            <pc:sldMk cId="3465619800" sldId="2240"/>
            <ac:spMk id="27" creationId="{1E159925-0D20-908A-AD2E-341FA6BA7091}"/>
          </ac:spMkLst>
        </pc:spChg>
        <pc:spChg chg="add mod">
          <ac:chgData name="Christian Gillam" userId="S::cgill016@uottawa.ca::178737ef-0014-4dd8-b439-bc02dd9433a1" providerId="AD" clId="Web-{24B91A36-9EEC-40D9-2E9C-7FA7BACB41F2}" dt="2025-04-01T13:55:01.017" v="397" actId="1076"/>
          <ac:spMkLst>
            <pc:docMk/>
            <pc:sldMk cId="3465619800" sldId="2240"/>
            <ac:spMk id="28" creationId="{6EDD8041-B0C3-0508-6490-9399EBE1D56E}"/>
          </ac:spMkLst>
        </pc:spChg>
        <pc:spChg chg="add mod">
          <ac:chgData name="Christian Gillam" userId="S::cgill016@uottawa.ca::178737ef-0014-4dd8-b439-bc02dd9433a1" providerId="AD" clId="Web-{24B91A36-9EEC-40D9-2E9C-7FA7BACB41F2}" dt="2025-04-01T13:53:45.799" v="361" actId="20577"/>
          <ac:spMkLst>
            <pc:docMk/>
            <pc:sldMk cId="3465619800" sldId="2240"/>
            <ac:spMk id="29" creationId="{2C2246DD-1BAC-7F14-65A4-A36A1AF2E38C}"/>
          </ac:spMkLst>
        </pc:spChg>
        <pc:spChg chg="add mod">
          <ac:chgData name="Christian Gillam" userId="S::cgill016@uottawa.ca::178737ef-0014-4dd8-b439-bc02dd9433a1" providerId="AD" clId="Web-{24B91A36-9EEC-40D9-2E9C-7FA7BACB41F2}" dt="2025-04-01T13:55:07.533" v="398" actId="1076"/>
          <ac:spMkLst>
            <pc:docMk/>
            <pc:sldMk cId="3465619800" sldId="2240"/>
            <ac:spMk id="30" creationId="{703E5582-A971-1FBA-4D29-484737216CB7}"/>
          </ac:spMkLst>
        </pc:spChg>
        <pc:spChg chg="add mod">
          <ac:chgData name="Christian Gillam" userId="S::cgill016@uottawa.ca::178737ef-0014-4dd8-b439-bc02dd9433a1" providerId="AD" clId="Web-{24B91A36-9EEC-40D9-2E9C-7FA7BACB41F2}" dt="2025-04-01T13:48:03.379" v="299" actId="1076"/>
          <ac:spMkLst>
            <pc:docMk/>
            <pc:sldMk cId="3465619800" sldId="2240"/>
            <ac:spMk id="31" creationId="{7AEBB98F-2C9F-1992-399F-AE8E48B15B9F}"/>
          </ac:spMkLst>
        </pc:spChg>
        <pc:spChg chg="add mod">
          <ac:chgData name="Christian Gillam" userId="S::cgill016@uottawa.ca::178737ef-0014-4dd8-b439-bc02dd9433a1" providerId="AD" clId="Web-{24B91A36-9EEC-40D9-2E9C-7FA7BACB41F2}" dt="2025-04-01T14:20:33.038" v="538" actId="1076"/>
          <ac:spMkLst>
            <pc:docMk/>
            <pc:sldMk cId="3465619800" sldId="2240"/>
            <ac:spMk id="32" creationId="{7CC530D1-430F-B6E2-3E78-19E9A17311A2}"/>
          </ac:spMkLst>
        </pc:spChg>
        <pc:spChg chg="add mod">
          <ac:chgData name="Christian Gillam" userId="S::cgill016@uottawa.ca::178737ef-0014-4dd8-b439-bc02dd9433a1" providerId="AD" clId="Web-{24B91A36-9EEC-40D9-2E9C-7FA7BACB41F2}" dt="2025-04-01T14:20:24.147" v="537" actId="1076"/>
          <ac:spMkLst>
            <pc:docMk/>
            <pc:sldMk cId="3465619800" sldId="2240"/>
            <ac:spMk id="33" creationId="{EAC0BCD2-19A0-B5A1-DF06-3CBFE615C32F}"/>
          </ac:spMkLst>
        </pc:spChg>
        <pc:spChg chg="add mod">
          <ac:chgData name="Christian Gillam" userId="S::cgill016@uottawa.ca::178737ef-0014-4dd8-b439-bc02dd9433a1" providerId="AD" clId="Web-{24B91A36-9EEC-40D9-2E9C-7FA7BACB41F2}" dt="2025-04-01T14:20:15.116" v="536" actId="20577"/>
          <ac:spMkLst>
            <pc:docMk/>
            <pc:sldMk cId="3465619800" sldId="2240"/>
            <ac:spMk id="34" creationId="{60EFC85E-6413-9627-EF1F-62A8FA653522}"/>
          </ac:spMkLst>
        </pc:spChg>
        <pc:spChg chg="add mod">
          <ac:chgData name="Christian Gillam" userId="S::cgill016@uottawa.ca::178737ef-0014-4dd8-b439-bc02dd9433a1" providerId="AD" clId="Web-{24B91A36-9EEC-40D9-2E9C-7FA7BACB41F2}" dt="2025-04-01T14:23:42.490" v="565" actId="20577"/>
          <ac:spMkLst>
            <pc:docMk/>
            <pc:sldMk cId="3465619800" sldId="2240"/>
            <ac:spMk id="35" creationId="{B05BA212-B4B9-EBE8-9E7F-3DC673E6561C}"/>
          </ac:spMkLst>
        </pc:spChg>
        <pc:picChg chg="add del mod ord">
          <ac:chgData name="Christian Gillam" userId="S::cgill016@uottawa.ca::178737ef-0014-4dd8-b439-bc02dd9433a1" providerId="AD" clId="Web-{24B91A36-9EEC-40D9-2E9C-7FA7BACB41F2}" dt="2025-04-01T13:31:04.433" v="16"/>
          <ac:picMkLst>
            <pc:docMk/>
            <pc:sldMk cId="3465619800" sldId="2240"/>
            <ac:picMk id="11" creationId="{E3627DBB-658D-BB03-814C-6BDDDB9233F7}"/>
          </ac:picMkLst>
        </pc:picChg>
        <pc:picChg chg="add mod ord">
          <ac:chgData name="Christian Gillam" userId="S::cgill016@uottawa.ca::178737ef-0014-4dd8-b439-bc02dd9433a1" providerId="AD" clId="Web-{24B91A36-9EEC-40D9-2E9C-7FA7BACB41F2}" dt="2025-04-01T13:38:32.805" v="101" actId="14100"/>
          <ac:picMkLst>
            <pc:docMk/>
            <pc:sldMk cId="3465619800" sldId="2240"/>
            <ac:picMk id="12" creationId="{DF9C1980-1951-09FF-BC06-CDB1E91DAC0D}"/>
          </ac:picMkLst>
        </pc:picChg>
        <pc:picChg chg="add mod ord">
          <ac:chgData name="Christian Gillam" userId="S::cgill016@uottawa.ca::178737ef-0014-4dd8-b439-bc02dd9433a1" providerId="AD" clId="Web-{24B91A36-9EEC-40D9-2E9C-7FA7BACB41F2}" dt="2025-04-01T13:38:13.711" v="99" actId="14100"/>
          <ac:picMkLst>
            <pc:docMk/>
            <pc:sldMk cId="3465619800" sldId="2240"/>
            <ac:picMk id="15" creationId="{34DB8AE4-AE38-0C1A-595A-1C17CD9A73F0}"/>
          </ac:picMkLst>
        </pc:picChg>
        <pc:picChg chg="add mod ord">
          <ac:chgData name="Christian Gillam" userId="S::cgill016@uottawa.ca::178737ef-0014-4dd8-b439-bc02dd9433a1" providerId="AD" clId="Web-{24B91A36-9EEC-40D9-2E9C-7FA7BACB41F2}" dt="2025-04-01T13:38:45.367" v="103" actId="14100"/>
          <ac:picMkLst>
            <pc:docMk/>
            <pc:sldMk cId="3465619800" sldId="2240"/>
            <ac:picMk id="16" creationId="{54F6AC19-A3DF-482A-D7B4-AB48B3A2F5B1}"/>
          </ac:picMkLst>
        </pc:picChg>
        <pc:picChg chg="add mod">
          <ac:chgData name="Christian Gillam" userId="S::cgill016@uottawa.ca::178737ef-0014-4dd8-b439-bc02dd9433a1" providerId="AD" clId="Web-{24B91A36-9EEC-40D9-2E9C-7FA7BACB41F2}" dt="2025-04-01T13:40:44.679" v="128" actId="1076"/>
          <ac:picMkLst>
            <pc:docMk/>
            <pc:sldMk cId="3465619800" sldId="2240"/>
            <ac:picMk id="17" creationId="{B2C2B2D5-8821-CFB6-17E7-FFAB37056DCD}"/>
          </ac:picMkLst>
        </pc:picChg>
        <pc:picChg chg="add mod">
          <ac:chgData name="Christian Gillam" userId="S::cgill016@uottawa.ca::178737ef-0014-4dd8-b439-bc02dd9433a1" providerId="AD" clId="Web-{24B91A36-9EEC-40D9-2E9C-7FA7BACB41F2}" dt="2025-04-01T13:36:59.821" v="93" actId="14100"/>
          <ac:picMkLst>
            <pc:docMk/>
            <pc:sldMk cId="3465619800" sldId="2240"/>
            <ac:picMk id="18" creationId="{988E179A-7392-1ACC-63D9-7868CD9D15CC}"/>
          </ac:picMkLst>
        </pc:picChg>
      </pc:sldChg>
      <pc:sldChg chg="addSp delSp modSp add replId">
        <pc:chgData name="Christian Gillam" userId="S::cgill016@uottawa.ca::178737ef-0014-4dd8-b439-bc02dd9433a1" providerId="AD" clId="Web-{24B91A36-9EEC-40D9-2E9C-7FA7BACB41F2}" dt="2025-04-01T17:30:47.921" v="887" actId="14100"/>
        <pc:sldMkLst>
          <pc:docMk/>
          <pc:sldMk cId="540644153" sldId="2252"/>
        </pc:sldMkLst>
        <pc:spChg chg="mod">
          <ac:chgData name="Christian Gillam" userId="S::cgill016@uottawa.ca::178737ef-0014-4dd8-b439-bc02dd9433a1" providerId="AD" clId="Web-{24B91A36-9EEC-40D9-2E9C-7FA7BACB41F2}" dt="2025-04-01T17:12:42.943" v="702" actId="20577"/>
          <ac:spMkLst>
            <pc:docMk/>
            <pc:sldMk cId="540644153" sldId="2252"/>
            <ac:spMk id="2" creationId="{6D187A21-1729-BA4B-92B0-86A8141733EA}"/>
          </ac:spMkLst>
        </pc:spChg>
        <pc:spChg chg="add mod">
          <ac:chgData name="Christian Gillam" userId="S::cgill016@uottawa.ca::178737ef-0014-4dd8-b439-bc02dd9433a1" providerId="AD" clId="Web-{24B91A36-9EEC-40D9-2E9C-7FA7BACB41F2}" dt="2025-04-01T17:20:14.329" v="818" actId="14100"/>
          <ac:spMkLst>
            <pc:docMk/>
            <pc:sldMk cId="540644153" sldId="2252"/>
            <ac:spMk id="3" creationId="{EABC8708-8BDB-8EF9-D502-CAAC1D556D7F}"/>
          </ac:spMkLst>
        </pc:spChg>
        <pc:spChg chg="mod">
          <ac:chgData name="Christian Gillam" userId="S::cgill016@uottawa.ca::178737ef-0014-4dd8-b439-bc02dd9433a1" providerId="AD" clId="Web-{24B91A36-9EEC-40D9-2E9C-7FA7BACB41F2}" dt="2025-04-01T17:12:23.365" v="661" actId="20577"/>
          <ac:spMkLst>
            <pc:docMk/>
            <pc:sldMk cId="540644153" sldId="2252"/>
            <ac:spMk id="4" creationId="{3CE8B7BE-EB4D-C195-8714-77343E850288}"/>
          </ac:spMkLst>
        </pc:spChg>
        <pc:spChg chg="del">
          <ac:chgData name="Christian Gillam" userId="S::cgill016@uottawa.ca::178737ef-0014-4dd8-b439-bc02dd9433a1" providerId="AD" clId="Web-{24B91A36-9EEC-40D9-2E9C-7FA7BACB41F2}" dt="2025-04-01T17:16:27.355" v="742"/>
          <ac:spMkLst>
            <pc:docMk/>
            <pc:sldMk cId="540644153" sldId="2252"/>
            <ac:spMk id="5" creationId="{7ECC692D-E9AC-4DCE-8E9D-AD3B31E926B7}"/>
          </ac:spMkLst>
        </pc:spChg>
        <pc:spChg chg="del mod">
          <ac:chgData name="Christian Gillam" userId="S::cgill016@uottawa.ca::178737ef-0014-4dd8-b439-bc02dd9433a1" providerId="AD" clId="Web-{24B91A36-9EEC-40D9-2E9C-7FA7BACB41F2}" dt="2025-04-01T17:18:13.935" v="795"/>
          <ac:spMkLst>
            <pc:docMk/>
            <pc:sldMk cId="540644153" sldId="2252"/>
            <ac:spMk id="6" creationId="{83BEEFB5-4329-2A60-7B30-5FD16024531D}"/>
          </ac:spMkLst>
        </pc:spChg>
        <pc:spChg chg="mod">
          <ac:chgData name="Christian Gillam" userId="S::cgill016@uottawa.ca::178737ef-0014-4dd8-b439-bc02dd9433a1" providerId="AD" clId="Web-{24B91A36-9EEC-40D9-2E9C-7FA7BACB41F2}" dt="2025-04-01T17:21:36.143" v="831" actId="14100"/>
          <ac:spMkLst>
            <pc:docMk/>
            <pc:sldMk cId="540644153" sldId="2252"/>
            <ac:spMk id="7" creationId="{C492F847-A6CB-561D-CBD2-C3B663268F38}"/>
          </ac:spMkLst>
        </pc:spChg>
        <pc:spChg chg="mod">
          <ac:chgData name="Christian Gillam" userId="S::cgill016@uottawa.ca::178737ef-0014-4dd8-b439-bc02dd9433a1" providerId="AD" clId="Web-{24B91A36-9EEC-40D9-2E9C-7FA7BACB41F2}" dt="2025-04-01T17:30:19.296" v="880" actId="14100"/>
          <ac:spMkLst>
            <pc:docMk/>
            <pc:sldMk cId="540644153" sldId="2252"/>
            <ac:spMk id="8" creationId="{B368191C-3008-23D2-34A5-7666D33A0127}"/>
          </ac:spMkLst>
        </pc:spChg>
        <pc:spChg chg="add mod">
          <ac:chgData name="Christian Gillam" userId="S::cgill016@uottawa.ca::178737ef-0014-4dd8-b439-bc02dd9433a1" providerId="AD" clId="Web-{24B91A36-9EEC-40D9-2E9C-7FA7BACB41F2}" dt="2025-04-01T17:17:25.559" v="762" actId="1076"/>
          <ac:spMkLst>
            <pc:docMk/>
            <pc:sldMk cId="540644153" sldId="2252"/>
            <ac:spMk id="9" creationId="{592459DF-9AA0-E2BC-CC9D-8817C6C701EB}"/>
          </ac:spMkLst>
        </pc:spChg>
        <pc:spChg chg="mod">
          <ac:chgData name="Christian Gillam" userId="S::cgill016@uottawa.ca::178737ef-0014-4dd8-b439-bc02dd9433a1" providerId="AD" clId="Web-{24B91A36-9EEC-40D9-2E9C-7FA7BACB41F2}" dt="2025-04-01T17:28:56.731" v="865" actId="20577"/>
          <ac:spMkLst>
            <pc:docMk/>
            <pc:sldMk cId="540644153" sldId="2252"/>
            <ac:spMk id="11" creationId="{834B3429-3C2F-C93F-C2C4-AFE4C7EBFE00}"/>
          </ac:spMkLst>
        </pc:spChg>
        <pc:spChg chg="add del mod">
          <ac:chgData name="Christian Gillam" userId="S::cgill016@uottawa.ca::178737ef-0014-4dd8-b439-bc02dd9433a1" providerId="AD" clId="Web-{24B91A36-9EEC-40D9-2E9C-7FA7BACB41F2}" dt="2025-04-01T17:16:34.995" v="743"/>
          <ac:spMkLst>
            <pc:docMk/>
            <pc:sldMk cId="540644153" sldId="2252"/>
            <ac:spMk id="12" creationId="{ADD3F204-D71C-B03C-E742-E3183A450973}"/>
          </ac:spMkLst>
        </pc:spChg>
        <pc:spChg chg="add mod">
          <ac:chgData name="Christian Gillam" userId="S::cgill016@uottawa.ca::178737ef-0014-4dd8-b439-bc02dd9433a1" providerId="AD" clId="Web-{24B91A36-9EEC-40D9-2E9C-7FA7BACB41F2}" dt="2025-04-01T17:18:52.264" v="805" actId="1076"/>
          <ac:spMkLst>
            <pc:docMk/>
            <pc:sldMk cId="540644153" sldId="2252"/>
            <ac:spMk id="13" creationId="{8882EFDF-6EBF-E2BF-280B-39F442F43602}"/>
          </ac:spMkLst>
        </pc:spChg>
        <pc:spChg chg="mod">
          <ac:chgData name="Christian Gillam" userId="S::cgill016@uottawa.ca::178737ef-0014-4dd8-b439-bc02dd9433a1" providerId="AD" clId="Web-{24B91A36-9EEC-40D9-2E9C-7FA7BACB41F2}" dt="2025-04-01T17:30:28.015" v="882" actId="14100"/>
          <ac:spMkLst>
            <pc:docMk/>
            <pc:sldMk cId="540644153" sldId="2252"/>
            <ac:spMk id="15" creationId="{DA2B43AF-EBF2-99EB-82A9-82218507B286}"/>
          </ac:spMkLst>
        </pc:spChg>
        <pc:spChg chg="add mod">
          <ac:chgData name="Christian Gillam" userId="S::cgill016@uottawa.ca::178737ef-0014-4dd8-b439-bc02dd9433a1" providerId="AD" clId="Web-{24B91A36-9EEC-40D9-2E9C-7FA7BACB41F2}" dt="2025-04-01T17:22:30.207" v="841" actId="1076"/>
          <ac:spMkLst>
            <pc:docMk/>
            <pc:sldMk cId="540644153" sldId="2252"/>
            <ac:spMk id="16" creationId="{FB4D1111-AFEB-921F-D4A9-E0618B56C733}"/>
          </ac:spMkLst>
        </pc:spChg>
        <pc:spChg chg="add mod">
          <ac:chgData name="Christian Gillam" userId="S::cgill016@uottawa.ca::178737ef-0014-4dd8-b439-bc02dd9433a1" providerId="AD" clId="Web-{24B91A36-9EEC-40D9-2E9C-7FA7BACB41F2}" dt="2025-04-01T17:22:42.582" v="843" actId="1076"/>
          <ac:spMkLst>
            <pc:docMk/>
            <pc:sldMk cId="540644153" sldId="2252"/>
            <ac:spMk id="18" creationId="{FD94EF92-3EBD-F899-C1B3-79B2E8C7156F}"/>
          </ac:spMkLst>
        </pc:spChg>
        <pc:spChg chg="mod">
          <ac:chgData name="Christian Gillam" userId="S::cgill016@uottawa.ca::178737ef-0014-4dd8-b439-bc02dd9433a1" providerId="AD" clId="Web-{24B91A36-9EEC-40D9-2E9C-7FA7BACB41F2}" dt="2025-04-01T17:17:25.309" v="758" actId="1076"/>
          <ac:spMkLst>
            <pc:docMk/>
            <pc:sldMk cId="540644153" sldId="2252"/>
            <ac:spMk id="19" creationId="{69CBF0B8-97FA-8449-2981-FE5F761B77BE}"/>
          </ac:spMkLst>
        </pc:spChg>
        <pc:spChg chg="mod">
          <ac:chgData name="Christian Gillam" userId="S::cgill016@uottawa.ca::178737ef-0014-4dd8-b439-bc02dd9433a1" providerId="AD" clId="Web-{24B91A36-9EEC-40D9-2E9C-7FA7BACB41F2}" dt="2025-04-01T17:29:47.717" v="874" actId="14100"/>
          <ac:spMkLst>
            <pc:docMk/>
            <pc:sldMk cId="540644153" sldId="2252"/>
            <ac:spMk id="20" creationId="{6B7627B8-B5DE-95CB-0648-0A783FD10056}"/>
          </ac:spMkLst>
        </pc:spChg>
        <pc:spChg chg="mod">
          <ac:chgData name="Christian Gillam" userId="S::cgill016@uottawa.ca::178737ef-0014-4dd8-b439-bc02dd9433a1" providerId="AD" clId="Web-{24B91A36-9EEC-40D9-2E9C-7FA7BACB41F2}" dt="2025-04-01T17:19:36.218" v="812" actId="14100"/>
          <ac:spMkLst>
            <pc:docMk/>
            <pc:sldMk cId="540644153" sldId="2252"/>
            <ac:spMk id="21" creationId="{9A9801CE-BE2C-B376-BFED-8D559049AE7C}"/>
          </ac:spMkLst>
        </pc:spChg>
        <pc:spChg chg="del">
          <ac:chgData name="Christian Gillam" userId="S::cgill016@uottawa.ca::178737ef-0014-4dd8-b439-bc02dd9433a1" providerId="AD" clId="Web-{24B91A36-9EEC-40D9-2E9C-7FA7BACB41F2}" dt="2025-04-01T17:15:30.635" v="720"/>
          <ac:spMkLst>
            <pc:docMk/>
            <pc:sldMk cId="540644153" sldId="2252"/>
            <ac:spMk id="22" creationId="{4BA01801-A2C6-0F40-7841-4800A0C99373}"/>
          </ac:spMkLst>
        </pc:spChg>
        <pc:spChg chg="del">
          <ac:chgData name="Christian Gillam" userId="S::cgill016@uottawa.ca::178737ef-0014-4dd8-b439-bc02dd9433a1" providerId="AD" clId="Web-{24B91A36-9EEC-40D9-2E9C-7FA7BACB41F2}" dt="2025-04-01T17:15:32.947" v="721"/>
          <ac:spMkLst>
            <pc:docMk/>
            <pc:sldMk cId="540644153" sldId="2252"/>
            <ac:spMk id="23" creationId="{45FD5B4D-B361-65E7-C204-9B8E56796EE8}"/>
          </ac:spMkLst>
        </pc:spChg>
        <pc:spChg chg="del">
          <ac:chgData name="Christian Gillam" userId="S::cgill016@uottawa.ca::178737ef-0014-4dd8-b439-bc02dd9433a1" providerId="AD" clId="Web-{24B91A36-9EEC-40D9-2E9C-7FA7BACB41F2}" dt="2025-04-01T17:15:26.822" v="719"/>
          <ac:spMkLst>
            <pc:docMk/>
            <pc:sldMk cId="540644153" sldId="2252"/>
            <ac:spMk id="24" creationId="{2444736F-DB5C-37CD-D185-C3476D557A2A}"/>
          </ac:spMkLst>
        </pc:spChg>
        <pc:spChg chg="mod">
          <ac:chgData name="Christian Gillam" userId="S::cgill016@uottawa.ca::178737ef-0014-4dd8-b439-bc02dd9433a1" providerId="AD" clId="Web-{24B91A36-9EEC-40D9-2E9C-7FA7BACB41F2}" dt="2025-04-01T17:30:22.952" v="881" actId="14100"/>
          <ac:spMkLst>
            <pc:docMk/>
            <pc:sldMk cId="540644153" sldId="2252"/>
            <ac:spMk id="26" creationId="{56C4E51B-7355-CEB9-EA45-73102FCBB5A9}"/>
          </ac:spMkLst>
        </pc:spChg>
        <pc:spChg chg="del">
          <ac:chgData name="Christian Gillam" userId="S::cgill016@uottawa.ca::178737ef-0014-4dd8-b439-bc02dd9433a1" providerId="AD" clId="Web-{24B91A36-9EEC-40D9-2E9C-7FA7BACB41F2}" dt="2025-04-01T17:15:37.885" v="722"/>
          <ac:spMkLst>
            <pc:docMk/>
            <pc:sldMk cId="540644153" sldId="2252"/>
            <ac:spMk id="27" creationId="{CBAECB60-575E-DF4A-8682-4F2D89C99C1C}"/>
          </ac:spMkLst>
        </pc:spChg>
        <pc:spChg chg="del">
          <ac:chgData name="Christian Gillam" userId="S::cgill016@uottawa.ca::178737ef-0014-4dd8-b439-bc02dd9433a1" providerId="AD" clId="Web-{24B91A36-9EEC-40D9-2E9C-7FA7BACB41F2}" dt="2025-04-01T17:15:41.885" v="723"/>
          <ac:spMkLst>
            <pc:docMk/>
            <pc:sldMk cId="540644153" sldId="2252"/>
            <ac:spMk id="28" creationId="{CA6C308D-E35E-E94D-128E-DDFC3FBF81F1}"/>
          </ac:spMkLst>
        </pc:spChg>
        <pc:spChg chg="mod">
          <ac:chgData name="Christian Gillam" userId="S::cgill016@uottawa.ca::178737ef-0014-4dd8-b439-bc02dd9433a1" providerId="AD" clId="Web-{24B91A36-9EEC-40D9-2E9C-7FA7BACB41F2}" dt="2025-04-01T17:30:47.921" v="887" actId="14100"/>
          <ac:spMkLst>
            <pc:docMk/>
            <pc:sldMk cId="540644153" sldId="2252"/>
            <ac:spMk id="29" creationId="{964B5D03-7E36-7200-19CA-E3702BE66D48}"/>
          </ac:spMkLst>
        </pc:spChg>
        <pc:cxnChg chg="add del mod">
          <ac:chgData name="Christian Gillam" userId="S::cgill016@uottawa.ca::178737ef-0014-4dd8-b439-bc02dd9433a1" providerId="AD" clId="Web-{24B91A36-9EEC-40D9-2E9C-7FA7BACB41F2}" dt="2025-04-01T17:21:15.299" v="828"/>
          <ac:cxnSpMkLst>
            <pc:docMk/>
            <pc:sldMk cId="540644153" sldId="2252"/>
            <ac:cxnSpMk id="14" creationId="{E9F9633A-8ADA-A98F-5128-5043C31E86C7}"/>
          </ac:cxnSpMkLst>
        </pc:cxnChg>
        <pc:cxnChg chg="del mod">
          <ac:chgData name="Christian Gillam" userId="S::cgill016@uottawa.ca::178737ef-0014-4dd8-b439-bc02dd9433a1" providerId="AD" clId="Web-{24B91A36-9EEC-40D9-2E9C-7FA7BACB41F2}" dt="2025-04-01T17:21:17.705" v="829"/>
          <ac:cxnSpMkLst>
            <pc:docMk/>
            <pc:sldMk cId="540644153" sldId="2252"/>
            <ac:cxnSpMk id="17" creationId="{E01A77E3-2658-A5BB-DF13-DE0D67D59C44}"/>
          </ac:cxnSpMkLst>
        </pc:cxnChg>
        <pc:cxnChg chg="mod">
          <ac:chgData name="Christian Gillam" userId="S::cgill016@uottawa.ca::178737ef-0014-4dd8-b439-bc02dd9433a1" providerId="AD" clId="Web-{24B91A36-9EEC-40D9-2E9C-7FA7BACB41F2}" dt="2025-04-01T17:18:43.311" v="804" actId="1076"/>
          <ac:cxnSpMkLst>
            <pc:docMk/>
            <pc:sldMk cId="540644153" sldId="2252"/>
            <ac:cxnSpMk id="32" creationId="{77960530-2529-CCC7-7025-33431E44AA18}"/>
          </ac:cxnSpMkLst>
        </pc:cxnChg>
      </pc:sldChg>
      <pc:sldChg chg="add del replId">
        <pc:chgData name="Christian Gillam" userId="S::cgill016@uottawa.ca::178737ef-0014-4dd8-b439-bc02dd9433a1" providerId="AD" clId="Web-{24B91A36-9EEC-40D9-2E9C-7FA7BACB41F2}" dt="2025-04-01T17:11:38.504" v="631"/>
        <pc:sldMkLst>
          <pc:docMk/>
          <pc:sldMk cId="2479674179" sldId="2252"/>
        </pc:sldMkLst>
      </pc:sldChg>
      <pc:sldChg chg="addSp modSp">
        <pc:chgData name="Christian Gillam" userId="S::cgill016@uottawa.ca::178737ef-0014-4dd8-b439-bc02dd9433a1" providerId="AD" clId="Web-{24B91A36-9EEC-40D9-2E9C-7FA7BACB41F2}" dt="2025-04-02T04:26:40.098" v="1833" actId="1076"/>
        <pc:sldMkLst>
          <pc:docMk/>
          <pc:sldMk cId="1585911357" sldId="2254"/>
        </pc:sldMkLst>
        <pc:spChg chg="add mod">
          <ac:chgData name="Christian Gillam" userId="S::cgill016@uottawa.ca::178737ef-0014-4dd8-b439-bc02dd9433a1" providerId="AD" clId="Web-{24B91A36-9EEC-40D9-2E9C-7FA7BACB41F2}" dt="2025-04-02T04:26:40.098" v="1833" actId="1076"/>
          <ac:spMkLst>
            <pc:docMk/>
            <pc:sldMk cId="1585911357" sldId="2254"/>
            <ac:spMk id="6" creationId="{2FD6FFC1-C657-014C-65E1-ECB017111DAA}"/>
          </ac:spMkLst>
        </pc:spChg>
        <pc:spChg chg="mod">
          <ac:chgData name="Christian Gillam" userId="S::cgill016@uottawa.ca::178737ef-0014-4dd8-b439-bc02dd9433a1" providerId="AD" clId="Web-{24B91A36-9EEC-40D9-2E9C-7FA7BACB41F2}" dt="2025-04-02T03:21:57.998" v="1503" actId="1076"/>
          <ac:spMkLst>
            <pc:docMk/>
            <pc:sldMk cId="1585911357" sldId="2254"/>
            <ac:spMk id="33" creationId="{BA0DB8EF-E41F-FD7B-11C6-9D31DADC435D}"/>
          </ac:spMkLst>
        </pc:spChg>
        <pc:spChg chg="mod">
          <ac:chgData name="Christian Gillam" userId="S::cgill016@uottawa.ca::178737ef-0014-4dd8-b439-bc02dd9433a1" providerId="AD" clId="Web-{24B91A36-9EEC-40D9-2E9C-7FA7BACB41F2}" dt="2025-04-02T03:28:53.037" v="1584" actId="20577"/>
          <ac:spMkLst>
            <pc:docMk/>
            <pc:sldMk cId="1585911357" sldId="2254"/>
            <ac:spMk id="40" creationId="{764D28BE-16D7-451B-7CC4-43C607CC56FB}"/>
          </ac:spMkLst>
        </pc:spChg>
        <pc:spChg chg="mod">
          <ac:chgData name="Christian Gillam" userId="S::cgill016@uottawa.ca::178737ef-0014-4dd8-b439-bc02dd9433a1" providerId="AD" clId="Web-{24B91A36-9EEC-40D9-2E9C-7FA7BACB41F2}" dt="2025-04-02T03:33:05.197" v="1646" actId="20577"/>
          <ac:spMkLst>
            <pc:docMk/>
            <pc:sldMk cId="1585911357" sldId="2254"/>
            <ac:spMk id="41" creationId="{7A9E78D3-0D09-BCA2-296E-7E36A961BBE2}"/>
          </ac:spMkLst>
        </pc:spChg>
        <pc:spChg chg="mod">
          <ac:chgData name="Christian Gillam" userId="S::cgill016@uottawa.ca::178737ef-0014-4dd8-b439-bc02dd9433a1" providerId="AD" clId="Web-{24B91A36-9EEC-40D9-2E9C-7FA7BACB41F2}" dt="2025-04-02T03:38:11.234" v="1731" actId="20577"/>
          <ac:spMkLst>
            <pc:docMk/>
            <pc:sldMk cId="1585911357" sldId="2254"/>
            <ac:spMk id="42" creationId="{77729942-AC03-4B4A-8CE3-99AA35B7B0D6}"/>
          </ac:spMkLst>
        </pc:spChg>
        <pc:spChg chg="mod">
          <ac:chgData name="Christian Gillam" userId="S::cgill016@uottawa.ca::178737ef-0014-4dd8-b439-bc02dd9433a1" providerId="AD" clId="Web-{24B91A36-9EEC-40D9-2E9C-7FA7BACB41F2}" dt="2025-04-02T03:46:51.462" v="1774" actId="20577"/>
          <ac:spMkLst>
            <pc:docMk/>
            <pc:sldMk cId="1585911357" sldId="2254"/>
            <ac:spMk id="43" creationId="{FBD29C39-4D59-ADC0-BFE8-9E222157D9CF}"/>
          </ac:spMkLst>
        </pc:spChg>
        <pc:spChg chg="mod">
          <ac:chgData name="Christian Gillam" userId="S::cgill016@uottawa.ca::178737ef-0014-4dd8-b439-bc02dd9433a1" providerId="AD" clId="Web-{24B91A36-9EEC-40D9-2E9C-7FA7BACB41F2}" dt="2025-04-02T04:25:16.409" v="1823" actId="20577"/>
          <ac:spMkLst>
            <pc:docMk/>
            <pc:sldMk cId="1585911357" sldId="2254"/>
            <ac:spMk id="44" creationId="{84C39ABE-0D25-B601-B0C1-C49C93355F8F}"/>
          </ac:spMkLst>
        </pc:spChg>
        <pc:spChg chg="mod">
          <ac:chgData name="Christian Gillam" userId="S::cgill016@uottawa.ca::178737ef-0014-4dd8-b439-bc02dd9433a1" providerId="AD" clId="Web-{24B91A36-9EEC-40D9-2E9C-7FA7BACB41F2}" dt="2025-04-02T04:03:27.792" v="1791" actId="20577"/>
          <ac:spMkLst>
            <pc:docMk/>
            <pc:sldMk cId="1585911357" sldId="2254"/>
            <ac:spMk id="45" creationId="{CB98956D-1EDE-B20A-84DC-85C343222BEE}"/>
          </ac:spMkLst>
        </pc:spChg>
        <pc:spChg chg="mod">
          <ac:chgData name="Christian Gillam" userId="S::cgill016@uottawa.ca::178737ef-0014-4dd8-b439-bc02dd9433a1" providerId="AD" clId="Web-{24B91A36-9EEC-40D9-2E9C-7FA7BACB41F2}" dt="2025-04-02T04:09:37.611" v="1797" actId="20577"/>
          <ac:spMkLst>
            <pc:docMk/>
            <pc:sldMk cId="1585911357" sldId="2254"/>
            <ac:spMk id="46" creationId="{7429B4C3-5D3C-E41E-6BF4-4BA32DE7B67D}"/>
          </ac:spMkLst>
        </pc:spChg>
        <pc:spChg chg="mod">
          <ac:chgData name="Christian Gillam" userId="S::cgill016@uottawa.ca::178737ef-0014-4dd8-b439-bc02dd9433a1" providerId="AD" clId="Web-{24B91A36-9EEC-40D9-2E9C-7FA7BACB41F2}" dt="2025-04-02T04:17:59.604" v="1813" actId="20577"/>
          <ac:spMkLst>
            <pc:docMk/>
            <pc:sldMk cId="1585911357" sldId="2254"/>
            <ac:spMk id="48" creationId="{71761BA1-02E3-D581-5EF9-60E8ED29D5C2}"/>
          </ac:spMkLst>
        </pc:spChg>
      </pc:sldChg>
      <pc:sldChg chg="modSp add ord replId">
        <pc:chgData name="Christian Gillam" userId="S::cgill016@uottawa.ca::178737ef-0014-4dd8-b439-bc02dd9433a1" providerId="AD" clId="Web-{24B91A36-9EEC-40D9-2E9C-7FA7BACB41F2}" dt="2025-04-01T21:07:11.482" v="1358"/>
        <pc:sldMkLst>
          <pc:docMk/>
          <pc:sldMk cId="3132333589" sldId="2256"/>
        </pc:sldMkLst>
        <pc:spChg chg="mod">
          <ac:chgData name="Christian Gillam" userId="S::cgill016@uottawa.ca::178737ef-0014-4dd8-b439-bc02dd9433a1" providerId="AD" clId="Web-{24B91A36-9EEC-40D9-2E9C-7FA7BACB41F2}" dt="2025-04-01T20:53:43.935" v="1094" actId="20577"/>
          <ac:spMkLst>
            <pc:docMk/>
            <pc:sldMk cId="3132333589" sldId="2256"/>
            <ac:spMk id="4" creationId="{BD5E90A3-5A8E-7080-643F-238B8F11FC63}"/>
          </ac:spMkLst>
        </pc:spChg>
        <pc:spChg chg="mod">
          <ac:chgData name="Christian Gillam" userId="S::cgill016@uottawa.ca::178737ef-0014-4dd8-b439-bc02dd9433a1" providerId="AD" clId="Web-{24B91A36-9EEC-40D9-2E9C-7FA7BACB41F2}" dt="2025-04-01T21:00:34.568" v="1233" actId="20577"/>
          <ac:spMkLst>
            <pc:docMk/>
            <pc:sldMk cId="3132333589" sldId="2256"/>
            <ac:spMk id="11" creationId="{8D5ADE56-C73D-2A1A-5B7F-069598811F86}"/>
          </ac:spMkLst>
        </pc:spChg>
        <pc:spChg chg="mod">
          <ac:chgData name="Christian Gillam" userId="S::cgill016@uottawa.ca::178737ef-0014-4dd8-b439-bc02dd9433a1" providerId="AD" clId="Web-{24B91A36-9EEC-40D9-2E9C-7FA7BACB41F2}" dt="2025-04-01T21:05:19.651" v="1289" actId="20577"/>
          <ac:spMkLst>
            <pc:docMk/>
            <pc:sldMk cId="3132333589" sldId="2256"/>
            <ac:spMk id="15" creationId="{A2F1B899-F800-7C26-127B-2736B51D1EF1}"/>
          </ac:spMkLst>
        </pc:spChg>
        <pc:spChg chg="mod">
          <ac:chgData name="Christian Gillam" userId="S::cgill016@uottawa.ca::178737ef-0014-4dd8-b439-bc02dd9433a1" providerId="AD" clId="Web-{24B91A36-9EEC-40D9-2E9C-7FA7BACB41F2}" dt="2025-04-01T20:57:39.346" v="1208" actId="20577"/>
          <ac:spMkLst>
            <pc:docMk/>
            <pc:sldMk cId="3132333589" sldId="2256"/>
            <ac:spMk id="20" creationId="{EB02BFD6-B9B5-6C1C-D490-D25C141CA064}"/>
          </ac:spMkLst>
        </pc:spChg>
        <pc:spChg chg="mod">
          <ac:chgData name="Christian Gillam" userId="S::cgill016@uottawa.ca::178737ef-0014-4dd8-b439-bc02dd9433a1" providerId="AD" clId="Web-{24B91A36-9EEC-40D9-2E9C-7FA7BACB41F2}" dt="2025-04-01T21:06:55.450" v="1357" actId="20577"/>
          <ac:spMkLst>
            <pc:docMk/>
            <pc:sldMk cId="3132333589" sldId="2256"/>
            <ac:spMk id="29" creationId="{F165EBFB-4F6E-9A71-26DE-12986A87C0C7}"/>
          </ac:spMkLst>
        </pc:spChg>
      </pc:sldChg>
      <pc:sldChg chg="addSp delSp modSp new">
        <pc:chgData name="Christian Gillam" userId="S::cgill016@uottawa.ca::178737ef-0014-4dd8-b439-bc02dd9433a1" providerId="AD" clId="Web-{24B91A36-9EEC-40D9-2E9C-7FA7BACB41F2}" dt="2025-04-02T17:14:31.323" v="1861"/>
        <pc:sldMkLst>
          <pc:docMk/>
          <pc:sldMk cId="1608766413" sldId="2280"/>
        </pc:sldMkLst>
        <pc:spChg chg="del">
          <ac:chgData name="Christian Gillam" userId="S::cgill016@uottawa.ca::178737ef-0014-4dd8-b439-bc02dd9433a1" providerId="AD" clId="Web-{24B91A36-9EEC-40D9-2E9C-7FA7BACB41F2}" dt="2025-04-02T17:10:26.444" v="1844"/>
          <ac:spMkLst>
            <pc:docMk/>
            <pc:sldMk cId="1608766413" sldId="2280"/>
            <ac:spMk id="2" creationId="{6431F714-D2E1-F3C7-1AA0-BC5047002FA0}"/>
          </ac:spMkLst>
        </pc:spChg>
        <pc:spChg chg="mod">
          <ac:chgData name="Christian Gillam" userId="S::cgill016@uottawa.ca::178737ef-0014-4dd8-b439-bc02dd9433a1" providerId="AD" clId="Web-{24B91A36-9EEC-40D9-2E9C-7FA7BACB41F2}" dt="2025-04-02T17:09:56.537" v="1838" actId="20577"/>
          <ac:spMkLst>
            <pc:docMk/>
            <pc:sldMk cId="1608766413" sldId="2280"/>
            <ac:spMk id="3" creationId="{8AA87043-C128-4DDD-AC73-EA5547C0D1BD}"/>
          </ac:spMkLst>
        </pc:spChg>
        <pc:spChg chg="mod">
          <ac:chgData name="Christian Gillam" userId="S::cgill016@uottawa.ca::178737ef-0014-4dd8-b439-bc02dd9433a1" providerId="AD" clId="Web-{24B91A36-9EEC-40D9-2E9C-7FA7BACB41F2}" dt="2025-04-02T17:10:02.381" v="1840" actId="20577"/>
          <ac:spMkLst>
            <pc:docMk/>
            <pc:sldMk cId="1608766413" sldId="2280"/>
            <ac:spMk id="4" creationId="{1F1E3147-30CD-6E4C-1854-DFA79E6B0B86}"/>
          </ac:spMkLst>
        </pc:spChg>
        <pc:spChg chg="mod">
          <ac:chgData name="Christian Gillam" userId="S::cgill016@uottawa.ca::178737ef-0014-4dd8-b439-bc02dd9433a1" providerId="AD" clId="Web-{24B91A36-9EEC-40D9-2E9C-7FA7BACB41F2}" dt="2025-04-02T17:10:25.959" v="1843" actId="20577"/>
          <ac:spMkLst>
            <pc:docMk/>
            <pc:sldMk cId="1608766413" sldId="2280"/>
            <ac:spMk id="5" creationId="{64F9989D-75FB-53F6-3C27-1661082AD556}"/>
          </ac:spMkLst>
        </pc:spChg>
        <pc:spChg chg="mod">
          <ac:chgData name="Christian Gillam" userId="S::cgill016@uottawa.ca::178737ef-0014-4dd8-b439-bc02dd9433a1" providerId="AD" clId="Web-{24B91A36-9EEC-40D9-2E9C-7FA7BACB41F2}" dt="2025-04-02T17:13:48.353" v="1859" actId="20577"/>
          <ac:spMkLst>
            <pc:docMk/>
            <pc:sldMk cId="1608766413" sldId="2280"/>
            <ac:spMk id="6" creationId="{9D20AC6B-80E1-75CC-AC0F-00867A6F2323}"/>
          </ac:spMkLst>
        </pc:spChg>
        <pc:spChg chg="add">
          <ac:chgData name="Christian Gillam" userId="S::cgill016@uottawa.ca::178737ef-0014-4dd8-b439-bc02dd9433a1" providerId="AD" clId="Web-{24B91A36-9EEC-40D9-2E9C-7FA7BACB41F2}" dt="2025-04-02T17:12:24.524" v="1845"/>
          <ac:spMkLst>
            <pc:docMk/>
            <pc:sldMk cId="1608766413" sldId="2280"/>
            <ac:spMk id="7" creationId="{373772BC-0488-6408-C6DC-5E2D9C5FD536}"/>
          </ac:spMkLst>
        </pc:spChg>
        <pc:spChg chg="add">
          <ac:chgData name="Christian Gillam" userId="S::cgill016@uottawa.ca::178737ef-0014-4dd8-b439-bc02dd9433a1" providerId="AD" clId="Web-{24B91A36-9EEC-40D9-2E9C-7FA7BACB41F2}" dt="2025-04-02T17:12:24.914" v="1846"/>
          <ac:spMkLst>
            <pc:docMk/>
            <pc:sldMk cId="1608766413" sldId="2280"/>
            <ac:spMk id="8" creationId="{B1F1BB57-F56A-CA64-3708-0DD527157C6D}"/>
          </ac:spMkLst>
        </pc:spChg>
        <pc:spChg chg="add del">
          <ac:chgData name="Christian Gillam" userId="S::cgill016@uottawa.ca::178737ef-0014-4dd8-b439-bc02dd9433a1" providerId="AD" clId="Web-{24B91A36-9EEC-40D9-2E9C-7FA7BACB41F2}" dt="2025-04-02T17:12:25.524" v="1848"/>
          <ac:spMkLst>
            <pc:docMk/>
            <pc:sldMk cId="1608766413" sldId="2280"/>
            <ac:spMk id="9" creationId="{2520E921-BCA9-729A-8474-F6ED6EF0B857}"/>
          </ac:spMkLst>
        </pc:spChg>
        <pc:spChg chg="add">
          <ac:chgData name="Christian Gillam" userId="S::cgill016@uottawa.ca::178737ef-0014-4dd8-b439-bc02dd9433a1" providerId="AD" clId="Web-{24B91A36-9EEC-40D9-2E9C-7FA7BACB41F2}" dt="2025-04-02T17:13:06.524" v="1851"/>
          <ac:spMkLst>
            <pc:docMk/>
            <pc:sldMk cId="1608766413" sldId="2280"/>
            <ac:spMk id="11" creationId="{D8362C29-C9A3-7FDE-8295-02097B45E364}"/>
          </ac:spMkLst>
        </pc:spChg>
        <pc:spChg chg="add">
          <ac:chgData name="Christian Gillam" userId="S::cgill016@uottawa.ca::178737ef-0014-4dd8-b439-bc02dd9433a1" providerId="AD" clId="Web-{24B91A36-9EEC-40D9-2E9C-7FA7BACB41F2}" dt="2025-04-02T17:13:06.977" v="1852"/>
          <ac:spMkLst>
            <pc:docMk/>
            <pc:sldMk cId="1608766413" sldId="2280"/>
            <ac:spMk id="13" creationId="{356A9B6D-C340-BE96-A017-CDFF11E8ADFD}"/>
          </ac:spMkLst>
        </pc:spChg>
        <pc:spChg chg="add">
          <ac:chgData name="Christian Gillam" userId="S::cgill016@uottawa.ca::178737ef-0014-4dd8-b439-bc02dd9433a1" providerId="AD" clId="Web-{24B91A36-9EEC-40D9-2E9C-7FA7BACB41F2}" dt="2025-04-02T17:14:31.151" v="1860"/>
          <ac:spMkLst>
            <pc:docMk/>
            <pc:sldMk cId="1608766413" sldId="2280"/>
            <ac:spMk id="15" creationId="{642896CE-3588-1E33-3A44-86A1839A6F3D}"/>
          </ac:spMkLst>
        </pc:spChg>
        <pc:spChg chg="add">
          <ac:chgData name="Christian Gillam" userId="S::cgill016@uottawa.ca::178737ef-0014-4dd8-b439-bc02dd9433a1" providerId="AD" clId="Web-{24B91A36-9EEC-40D9-2E9C-7FA7BACB41F2}" dt="2025-04-02T17:14:31.323" v="1861"/>
          <ac:spMkLst>
            <pc:docMk/>
            <pc:sldMk cId="1608766413" sldId="2280"/>
            <ac:spMk id="17" creationId="{28E74C0A-6F9D-7431-8406-5F616391E063}"/>
          </ac:spMkLst>
        </pc:spChg>
      </pc:sldChg>
    </pc:docChg>
  </pc:docChgLst>
  <pc:docChgLst>
    <pc:chgData name="Armaan Kumar" userId="S::akuma045@uottawa.ca::a351e95c-5450-4e5f-a2d5-0f74c8f92915" providerId="AD" clId="Web-{B0329184-FF8C-DAEF-0154-A90C50EC32BC}"/>
    <pc:docChg chg="modSld">
      <pc:chgData name="Armaan Kumar" userId="S::akuma045@uottawa.ca::a351e95c-5450-4e5f-a2d5-0f74c8f92915" providerId="AD" clId="Web-{B0329184-FF8C-DAEF-0154-A90C50EC32BC}" dt="2025-03-23T23:10:13.505" v="16" actId="20577"/>
      <pc:docMkLst>
        <pc:docMk/>
      </pc:docMkLst>
      <pc:sldChg chg="modSp">
        <pc:chgData name="Armaan Kumar" userId="S::akuma045@uottawa.ca::a351e95c-5450-4e5f-a2d5-0f74c8f92915" providerId="AD" clId="Web-{B0329184-FF8C-DAEF-0154-A90C50EC32BC}" dt="2025-03-23T23:10:13.505" v="16" actId="20577"/>
        <pc:sldMkLst>
          <pc:docMk/>
          <pc:sldMk cId="3482756237" sldId="304"/>
        </pc:sldMkLst>
        <pc:spChg chg="mod">
          <ac:chgData name="Armaan Kumar" userId="S::akuma045@uottawa.ca::a351e95c-5450-4e5f-a2d5-0f74c8f92915" providerId="AD" clId="Web-{B0329184-FF8C-DAEF-0154-A90C50EC32BC}" dt="2025-03-23T23:10:13.505" v="16" actId="20577"/>
          <ac:spMkLst>
            <pc:docMk/>
            <pc:sldMk cId="3482756237" sldId="304"/>
            <ac:spMk id="6" creationId="{A451378A-BFDD-FEC4-B474-F858D7BEF1E3}"/>
          </ac:spMkLst>
        </pc:spChg>
      </pc:sldChg>
    </pc:docChg>
  </pc:docChgLst>
  <pc:docChgLst>
    <pc:chgData name="Marcel Adam Wogrodny" userId="48c7ee4d-c320-493d-9915-6a4c375b996d" providerId="ADAL" clId="{3EDFC968-EB45-4009-920D-CB326AE411EC}"/>
    <pc:docChg chg="custSel modSld">
      <pc:chgData name="Marcel Adam Wogrodny" userId="48c7ee4d-c320-493d-9915-6a4c375b996d" providerId="ADAL" clId="{3EDFC968-EB45-4009-920D-CB326AE411EC}" dt="2025-03-24T01:11:23.006" v="0" actId="478"/>
      <pc:docMkLst>
        <pc:docMk/>
      </pc:docMkLst>
      <pc:sldChg chg="delSp mod">
        <pc:chgData name="Marcel Adam Wogrodny" userId="48c7ee4d-c320-493d-9915-6a4c375b996d" providerId="ADAL" clId="{3EDFC968-EB45-4009-920D-CB326AE411EC}" dt="2025-03-24T01:11:23.006" v="0" actId="478"/>
        <pc:sldMkLst>
          <pc:docMk/>
          <pc:sldMk cId="4024668292" sldId="298"/>
        </pc:sldMkLst>
      </pc:sldChg>
    </pc:docChg>
  </pc:docChgLst>
  <pc:docChgLst>
    <pc:chgData name="Michael Penney" userId="4f9b80c6-1a49-4d2e-92c5-79759f092c89" providerId="ADAL" clId="{FF1E03BA-828D-744E-BD88-2072860D0321}"/>
    <pc:docChg chg="undo redo custSel addSld delSld modSld">
      <pc:chgData name="Michael Penney" userId="4f9b80c6-1a49-4d2e-92c5-79759f092c89" providerId="ADAL" clId="{FF1E03BA-828D-744E-BD88-2072860D0321}" dt="2025-04-02T17:22:24.598" v="1673" actId="1076"/>
      <pc:docMkLst>
        <pc:docMk/>
      </pc:docMkLst>
      <pc:sldChg chg="addSp delSp modSp mod">
        <pc:chgData name="Michael Penney" userId="4f9b80c6-1a49-4d2e-92c5-79759f092c89" providerId="ADAL" clId="{FF1E03BA-828D-744E-BD88-2072860D0321}" dt="2025-04-01T19:53:11.006" v="1555"/>
        <pc:sldMkLst>
          <pc:docMk/>
          <pc:sldMk cId="2614155028" sldId="257"/>
        </pc:sldMkLst>
        <pc:spChg chg="del mod">
          <ac:chgData name="Michael Penney" userId="4f9b80c6-1a49-4d2e-92c5-79759f092c89" providerId="ADAL" clId="{FF1E03BA-828D-744E-BD88-2072860D0321}" dt="2025-04-01T00:46:20.875" v="515" actId="478"/>
          <ac:spMkLst>
            <pc:docMk/>
            <pc:sldMk cId="2614155028" sldId="257"/>
            <ac:spMk id="5" creationId="{C3F41A0C-102A-7682-0427-B7B7ECFF45B7}"/>
          </ac:spMkLst>
        </pc:spChg>
        <pc:spChg chg="add mod">
          <ac:chgData name="Michael Penney" userId="4f9b80c6-1a49-4d2e-92c5-79759f092c89" providerId="ADAL" clId="{FF1E03BA-828D-744E-BD88-2072860D0321}" dt="2025-04-01T00:58:32.520" v="840" actId="692"/>
          <ac:spMkLst>
            <pc:docMk/>
            <pc:sldMk cId="2614155028" sldId="257"/>
            <ac:spMk id="7" creationId="{6C4FD2C7-0AD3-F4D8-F8D8-8B1CB909A3A5}"/>
          </ac:spMkLst>
        </pc:spChg>
        <pc:spChg chg="add del mod">
          <ac:chgData name="Michael Penney" userId="4f9b80c6-1a49-4d2e-92c5-79759f092c89" providerId="ADAL" clId="{FF1E03BA-828D-744E-BD88-2072860D0321}" dt="2025-04-01T00:45:57.839" v="509" actId="478"/>
          <ac:spMkLst>
            <pc:docMk/>
            <pc:sldMk cId="2614155028" sldId="257"/>
            <ac:spMk id="8" creationId="{D495BE82-75DA-F8CF-0807-6423AFBED735}"/>
          </ac:spMkLst>
        </pc:spChg>
        <pc:spChg chg="add mod">
          <ac:chgData name="Michael Penney" userId="4f9b80c6-1a49-4d2e-92c5-79759f092c89" providerId="ADAL" clId="{FF1E03BA-828D-744E-BD88-2072860D0321}" dt="2025-04-01T00:58:32.520" v="840" actId="692"/>
          <ac:spMkLst>
            <pc:docMk/>
            <pc:sldMk cId="2614155028" sldId="257"/>
            <ac:spMk id="9" creationId="{5A13C9E0-6EEE-CD74-4E7D-B1E19BFC890E}"/>
          </ac:spMkLst>
        </pc:spChg>
        <pc:spChg chg="del mod">
          <ac:chgData name="Michael Penney" userId="4f9b80c6-1a49-4d2e-92c5-79759f092c89" providerId="ADAL" clId="{FF1E03BA-828D-744E-BD88-2072860D0321}" dt="2025-04-01T00:46:02.627" v="511" actId="478"/>
          <ac:spMkLst>
            <pc:docMk/>
            <pc:sldMk cId="2614155028" sldId="257"/>
            <ac:spMk id="10" creationId="{DDE4AB3E-A90C-BFF8-11D7-37B240102C32}"/>
          </ac:spMkLst>
        </pc:spChg>
        <pc:spChg chg="del">
          <ac:chgData name="Michael Penney" userId="4f9b80c6-1a49-4d2e-92c5-79759f092c89" providerId="ADAL" clId="{FF1E03BA-828D-744E-BD88-2072860D0321}" dt="2025-04-01T00:46:22.178" v="516" actId="478"/>
          <ac:spMkLst>
            <pc:docMk/>
            <pc:sldMk cId="2614155028" sldId="257"/>
            <ac:spMk id="11" creationId="{8429902E-B6CE-0D63-9051-87DED422F3F0}"/>
          </ac:spMkLst>
        </pc:spChg>
        <pc:spChg chg="del">
          <ac:chgData name="Michael Penney" userId="4f9b80c6-1a49-4d2e-92c5-79759f092c89" providerId="ADAL" clId="{FF1E03BA-828D-744E-BD88-2072860D0321}" dt="2025-04-01T00:46:23.312" v="517" actId="478"/>
          <ac:spMkLst>
            <pc:docMk/>
            <pc:sldMk cId="2614155028" sldId="257"/>
            <ac:spMk id="12" creationId="{5A10E537-03B2-8D88-316A-6F29440DE4D4}"/>
          </ac:spMkLst>
        </pc:spChg>
        <pc:spChg chg="del">
          <ac:chgData name="Michael Penney" userId="4f9b80c6-1a49-4d2e-92c5-79759f092c89" providerId="ADAL" clId="{FF1E03BA-828D-744E-BD88-2072860D0321}" dt="2025-04-01T00:42:39.339" v="463" actId="478"/>
          <ac:spMkLst>
            <pc:docMk/>
            <pc:sldMk cId="2614155028" sldId="257"/>
            <ac:spMk id="14" creationId="{7F9DAA14-1F4A-60DE-BBBB-92FF0A6C65A6}"/>
          </ac:spMkLst>
        </pc:spChg>
        <pc:spChg chg="del">
          <ac:chgData name="Michael Penney" userId="4f9b80c6-1a49-4d2e-92c5-79759f092c89" providerId="ADAL" clId="{FF1E03BA-828D-744E-BD88-2072860D0321}" dt="2025-04-01T00:42:40.857" v="464" actId="478"/>
          <ac:spMkLst>
            <pc:docMk/>
            <pc:sldMk cId="2614155028" sldId="257"/>
            <ac:spMk id="15" creationId="{F365C415-0520-2DAB-47B4-0460BAAC964E}"/>
          </ac:spMkLst>
        </pc:spChg>
        <pc:spChg chg="add mod">
          <ac:chgData name="Michael Penney" userId="4f9b80c6-1a49-4d2e-92c5-79759f092c89" providerId="ADAL" clId="{FF1E03BA-828D-744E-BD88-2072860D0321}" dt="2025-04-01T00:58:32.520" v="840" actId="692"/>
          <ac:spMkLst>
            <pc:docMk/>
            <pc:sldMk cId="2614155028" sldId="257"/>
            <ac:spMk id="16" creationId="{C4769080-72FA-F115-933A-9EBF721935A2}"/>
          </ac:spMkLst>
        </pc:spChg>
        <pc:spChg chg="add mod">
          <ac:chgData name="Michael Penney" userId="4f9b80c6-1a49-4d2e-92c5-79759f092c89" providerId="ADAL" clId="{FF1E03BA-828D-744E-BD88-2072860D0321}" dt="2025-04-01T00:58:32.520" v="840" actId="692"/>
          <ac:spMkLst>
            <pc:docMk/>
            <pc:sldMk cId="2614155028" sldId="257"/>
            <ac:spMk id="17" creationId="{58CDE8E1-92EF-FB6A-1ECD-F22BDD53FB06}"/>
          </ac:spMkLst>
        </pc:spChg>
        <pc:spChg chg="add mod">
          <ac:chgData name="Michael Penney" userId="4f9b80c6-1a49-4d2e-92c5-79759f092c89" providerId="ADAL" clId="{FF1E03BA-828D-744E-BD88-2072860D0321}" dt="2025-04-01T00:58:32.520" v="840" actId="692"/>
          <ac:spMkLst>
            <pc:docMk/>
            <pc:sldMk cId="2614155028" sldId="257"/>
            <ac:spMk id="18" creationId="{057258E6-55EE-6D63-DC4C-00361B06D861}"/>
          </ac:spMkLst>
        </pc:spChg>
        <pc:spChg chg="add mod">
          <ac:chgData name="Michael Penney" userId="4f9b80c6-1a49-4d2e-92c5-79759f092c89" providerId="ADAL" clId="{FF1E03BA-828D-744E-BD88-2072860D0321}" dt="2025-04-01T00:58:32.520" v="840" actId="692"/>
          <ac:spMkLst>
            <pc:docMk/>
            <pc:sldMk cId="2614155028" sldId="257"/>
            <ac:spMk id="19" creationId="{B0CCA013-DDA9-9C18-394D-2F7833748787}"/>
          </ac:spMkLst>
        </pc:spChg>
        <pc:graphicFrameChg chg="mod modGraphic">
          <ac:chgData name="Michael Penney" userId="4f9b80c6-1a49-4d2e-92c5-79759f092c89" providerId="ADAL" clId="{FF1E03BA-828D-744E-BD88-2072860D0321}" dt="2025-04-01T19:53:11.006" v="1555"/>
          <ac:graphicFrameMkLst>
            <pc:docMk/>
            <pc:sldMk cId="2614155028" sldId="257"/>
            <ac:graphicFrameMk id="13" creationId="{3AE01B04-D30D-0543-8971-49EB375687B8}"/>
          </ac:graphicFrameMkLst>
        </pc:graphicFrameChg>
        <pc:picChg chg="mod">
          <ac:chgData name="Michael Penney" userId="4f9b80c6-1a49-4d2e-92c5-79759f092c89" providerId="ADAL" clId="{FF1E03BA-828D-744E-BD88-2072860D0321}" dt="2025-04-01T00:52:03.712" v="583" actId="1076"/>
          <ac:picMkLst>
            <pc:docMk/>
            <pc:sldMk cId="2614155028" sldId="257"/>
            <ac:picMk id="3" creationId="{AC05695F-D28D-ADFF-1EDF-D35FEB3A5DB8}"/>
          </ac:picMkLst>
        </pc:picChg>
        <pc:picChg chg="mod">
          <ac:chgData name="Michael Penney" userId="4f9b80c6-1a49-4d2e-92c5-79759f092c89" providerId="ADAL" clId="{FF1E03BA-828D-744E-BD88-2072860D0321}" dt="2025-04-01T00:51:54.479" v="581" actId="1076"/>
          <ac:picMkLst>
            <pc:docMk/>
            <pc:sldMk cId="2614155028" sldId="257"/>
            <ac:picMk id="6" creationId="{38C5E7ED-5C04-CEA4-3F50-45B15D28197D}"/>
          </ac:picMkLst>
        </pc:picChg>
        <pc:cxnChg chg="add mod">
          <ac:chgData name="Michael Penney" userId="4f9b80c6-1a49-4d2e-92c5-79759f092c89" providerId="ADAL" clId="{FF1E03BA-828D-744E-BD88-2072860D0321}" dt="2025-04-01T00:53:53.109" v="745" actId="14100"/>
          <ac:cxnSpMkLst>
            <pc:docMk/>
            <pc:sldMk cId="2614155028" sldId="257"/>
            <ac:cxnSpMk id="21" creationId="{B46D79C4-DCA1-86F8-15E8-B1B966285BC1}"/>
          </ac:cxnSpMkLst>
        </pc:cxnChg>
        <pc:cxnChg chg="add mod">
          <ac:chgData name="Michael Penney" userId="4f9b80c6-1a49-4d2e-92c5-79759f092c89" providerId="ADAL" clId="{FF1E03BA-828D-744E-BD88-2072860D0321}" dt="2025-04-01T00:52:43.911" v="590" actId="1076"/>
          <ac:cxnSpMkLst>
            <pc:docMk/>
            <pc:sldMk cId="2614155028" sldId="257"/>
            <ac:cxnSpMk id="22" creationId="{3367D57B-E4FA-71E0-A29D-92537F2689AE}"/>
          </ac:cxnSpMkLst>
        </pc:cxnChg>
      </pc:sldChg>
      <pc:sldChg chg="delSp modSp mod">
        <pc:chgData name="Michael Penney" userId="4f9b80c6-1a49-4d2e-92c5-79759f092c89" providerId="ADAL" clId="{FF1E03BA-828D-744E-BD88-2072860D0321}" dt="2025-04-01T15:36:00.005" v="1531" actId="478"/>
        <pc:sldMkLst>
          <pc:docMk/>
          <pc:sldMk cId="3214686972" sldId="266"/>
        </pc:sldMkLst>
        <pc:spChg chg="del mod">
          <ac:chgData name="Michael Penney" userId="4f9b80c6-1a49-4d2e-92c5-79759f092c89" providerId="ADAL" clId="{FF1E03BA-828D-744E-BD88-2072860D0321}" dt="2025-04-01T15:36:00.005" v="1531" actId="478"/>
          <ac:spMkLst>
            <pc:docMk/>
            <pc:sldMk cId="3214686972" sldId="266"/>
            <ac:spMk id="5" creationId="{D470C094-372E-7F91-46F8-3FBFA7A387FB}"/>
          </ac:spMkLst>
        </pc:spChg>
        <pc:graphicFrameChg chg="mod">
          <ac:chgData name="Michael Penney" userId="4f9b80c6-1a49-4d2e-92c5-79759f092c89" providerId="ADAL" clId="{FF1E03BA-828D-744E-BD88-2072860D0321}" dt="2025-04-01T04:52:24.786" v="1504"/>
          <ac:graphicFrameMkLst>
            <pc:docMk/>
            <pc:sldMk cId="3214686972" sldId="266"/>
            <ac:graphicFrameMk id="16" creationId="{EEA5DA10-21F4-CD7C-D81B-0F651397744A}"/>
          </ac:graphicFrameMkLst>
        </pc:graphicFrameChg>
      </pc:sldChg>
      <pc:sldChg chg="delSp mod">
        <pc:chgData name="Michael Penney" userId="4f9b80c6-1a49-4d2e-92c5-79759f092c89" providerId="ADAL" clId="{FF1E03BA-828D-744E-BD88-2072860D0321}" dt="2025-04-01T15:33:54.453" v="1521" actId="478"/>
        <pc:sldMkLst>
          <pc:docMk/>
          <pc:sldMk cId="3431454537" sldId="268"/>
        </pc:sldMkLst>
        <pc:spChg chg="del">
          <ac:chgData name="Michael Penney" userId="4f9b80c6-1a49-4d2e-92c5-79759f092c89" providerId="ADAL" clId="{FF1E03BA-828D-744E-BD88-2072860D0321}" dt="2025-04-01T15:33:54.453" v="1521" actId="478"/>
          <ac:spMkLst>
            <pc:docMk/>
            <pc:sldMk cId="3431454537" sldId="268"/>
            <ac:spMk id="2" creationId="{9177506A-69EE-0C6A-E25F-8F4B137376EC}"/>
          </ac:spMkLst>
        </pc:spChg>
      </pc:sldChg>
      <pc:sldChg chg="delSp mod">
        <pc:chgData name="Michael Penney" userId="4f9b80c6-1a49-4d2e-92c5-79759f092c89" providerId="ADAL" clId="{FF1E03BA-828D-744E-BD88-2072860D0321}" dt="2025-04-01T15:35:38.043" v="1529" actId="478"/>
        <pc:sldMkLst>
          <pc:docMk/>
          <pc:sldMk cId="2231801104" sldId="287"/>
        </pc:sldMkLst>
        <pc:spChg chg="del">
          <ac:chgData name="Michael Penney" userId="4f9b80c6-1a49-4d2e-92c5-79759f092c89" providerId="ADAL" clId="{FF1E03BA-828D-744E-BD88-2072860D0321}" dt="2025-04-01T15:35:38.043" v="1529" actId="478"/>
          <ac:spMkLst>
            <pc:docMk/>
            <pc:sldMk cId="2231801104" sldId="287"/>
            <ac:spMk id="3" creationId="{DD397E35-286B-4776-F25D-B63340F7F6A8}"/>
          </ac:spMkLst>
        </pc:spChg>
      </pc:sldChg>
      <pc:sldChg chg="addSp delSp modSp mod">
        <pc:chgData name="Michael Penney" userId="4f9b80c6-1a49-4d2e-92c5-79759f092c89" providerId="ADAL" clId="{FF1E03BA-828D-744E-BD88-2072860D0321}" dt="2025-03-31T23:27:14.072" v="443" actId="962"/>
        <pc:sldMkLst>
          <pc:docMk/>
          <pc:sldMk cId="3164321657" sldId="291"/>
        </pc:sldMkLst>
      </pc:sldChg>
      <pc:sldChg chg="delSp mod">
        <pc:chgData name="Michael Penney" userId="4f9b80c6-1a49-4d2e-92c5-79759f092c89" providerId="ADAL" clId="{FF1E03BA-828D-744E-BD88-2072860D0321}" dt="2025-04-01T15:34:38.294" v="1528" actId="478"/>
        <pc:sldMkLst>
          <pc:docMk/>
          <pc:sldMk cId="1532318573" sldId="297"/>
        </pc:sldMkLst>
        <pc:spChg chg="del">
          <ac:chgData name="Michael Penney" userId="4f9b80c6-1a49-4d2e-92c5-79759f092c89" providerId="ADAL" clId="{FF1E03BA-828D-744E-BD88-2072860D0321}" dt="2025-04-01T15:34:38.294" v="1528" actId="478"/>
          <ac:spMkLst>
            <pc:docMk/>
            <pc:sldMk cId="1532318573" sldId="297"/>
            <ac:spMk id="2" creationId="{C33C0A65-8A79-3178-33CC-A2EAF9136BBE}"/>
          </ac:spMkLst>
        </pc:spChg>
      </pc:sldChg>
      <pc:sldChg chg="addSp delSp modSp del mod modClrScheme chgLayout">
        <pc:chgData name="Michael Penney" userId="4f9b80c6-1a49-4d2e-92c5-79759f092c89" providerId="ADAL" clId="{FF1E03BA-828D-744E-BD88-2072860D0321}" dt="2025-04-01T22:33:32.890" v="1579" actId="2696"/>
        <pc:sldMkLst>
          <pc:docMk/>
          <pc:sldMk cId="4024668292" sldId="298"/>
        </pc:sldMkLst>
        <pc:spChg chg="add del mod ord">
          <ac:chgData name="Michael Penney" userId="4f9b80c6-1a49-4d2e-92c5-79759f092c89" providerId="ADAL" clId="{FF1E03BA-828D-744E-BD88-2072860D0321}" dt="2025-04-01T22:28:51.396" v="1575" actId="700"/>
          <ac:spMkLst>
            <pc:docMk/>
            <pc:sldMk cId="4024668292" sldId="298"/>
            <ac:spMk id="2" creationId="{35C6684F-695F-0854-82F8-CE4B199DFE89}"/>
          </ac:spMkLst>
        </pc:spChg>
        <pc:spChg chg="mod ord">
          <ac:chgData name="Michael Penney" userId="4f9b80c6-1a49-4d2e-92c5-79759f092c89" providerId="ADAL" clId="{FF1E03BA-828D-744E-BD88-2072860D0321}" dt="2025-04-01T22:28:51.396" v="1575" actId="700"/>
          <ac:spMkLst>
            <pc:docMk/>
            <pc:sldMk cId="4024668292" sldId="298"/>
            <ac:spMk id="3" creationId="{E8EFD91F-04E7-EE3E-C9E8-A81CC7F87952}"/>
          </ac:spMkLst>
        </pc:spChg>
        <pc:spChg chg="mod ord">
          <ac:chgData name="Michael Penney" userId="4f9b80c6-1a49-4d2e-92c5-79759f092c89" providerId="ADAL" clId="{FF1E03BA-828D-744E-BD88-2072860D0321}" dt="2025-04-01T22:28:51.396" v="1575" actId="700"/>
          <ac:spMkLst>
            <pc:docMk/>
            <pc:sldMk cId="4024668292" sldId="298"/>
            <ac:spMk id="4" creationId="{A9B17A7D-6CDB-4865-973A-C6729205C047}"/>
          </ac:spMkLst>
        </pc:spChg>
        <pc:spChg chg="mod ord">
          <ac:chgData name="Michael Penney" userId="4f9b80c6-1a49-4d2e-92c5-79759f092c89" providerId="ADAL" clId="{FF1E03BA-828D-744E-BD88-2072860D0321}" dt="2025-04-01T22:28:51.396" v="1575" actId="700"/>
          <ac:spMkLst>
            <pc:docMk/>
            <pc:sldMk cId="4024668292" sldId="298"/>
            <ac:spMk id="5" creationId="{2666208A-E724-CF11-A935-10F02DD1B2E2}"/>
          </ac:spMkLst>
        </pc:spChg>
        <pc:spChg chg="mod ord">
          <ac:chgData name="Michael Penney" userId="4f9b80c6-1a49-4d2e-92c5-79759f092c89" providerId="ADAL" clId="{FF1E03BA-828D-744E-BD88-2072860D0321}" dt="2025-04-01T22:28:51.396" v="1575" actId="700"/>
          <ac:spMkLst>
            <pc:docMk/>
            <pc:sldMk cId="4024668292" sldId="298"/>
            <ac:spMk id="6" creationId="{1F5A4483-C65A-4BA3-2240-48C155700A6A}"/>
          </ac:spMkLst>
        </pc:spChg>
        <pc:spChg chg="mod ord">
          <ac:chgData name="Michael Penney" userId="4f9b80c6-1a49-4d2e-92c5-79759f092c89" providerId="ADAL" clId="{FF1E03BA-828D-744E-BD88-2072860D0321}" dt="2025-04-01T22:28:51.396" v="1575" actId="700"/>
          <ac:spMkLst>
            <pc:docMk/>
            <pc:sldMk cId="4024668292" sldId="298"/>
            <ac:spMk id="7" creationId="{EAFE44E2-5158-B5FB-B1F4-191350A8E2BF}"/>
          </ac:spMkLst>
        </pc:spChg>
        <pc:spChg chg="mod ord">
          <ac:chgData name="Michael Penney" userId="4f9b80c6-1a49-4d2e-92c5-79759f092c89" providerId="ADAL" clId="{FF1E03BA-828D-744E-BD88-2072860D0321}" dt="2025-04-01T22:28:51.396" v="1575" actId="700"/>
          <ac:spMkLst>
            <pc:docMk/>
            <pc:sldMk cId="4024668292" sldId="298"/>
            <ac:spMk id="8" creationId="{BED0275D-06DD-02A1-4D1E-82D720633BAE}"/>
          </ac:spMkLst>
        </pc:spChg>
        <pc:spChg chg="add del mod ord">
          <ac:chgData name="Michael Penney" userId="4f9b80c6-1a49-4d2e-92c5-79759f092c89" providerId="ADAL" clId="{FF1E03BA-828D-744E-BD88-2072860D0321}" dt="2025-04-01T22:28:51.396" v="1575" actId="700"/>
          <ac:spMkLst>
            <pc:docMk/>
            <pc:sldMk cId="4024668292" sldId="298"/>
            <ac:spMk id="9" creationId="{333DF362-ABA9-3C50-12AE-6ACF386D1387}"/>
          </ac:spMkLst>
        </pc:spChg>
        <pc:spChg chg="mod ord">
          <ac:chgData name="Michael Penney" userId="4f9b80c6-1a49-4d2e-92c5-79759f092c89" providerId="ADAL" clId="{FF1E03BA-828D-744E-BD88-2072860D0321}" dt="2025-04-01T22:28:51.396" v="1575" actId="700"/>
          <ac:spMkLst>
            <pc:docMk/>
            <pc:sldMk cId="4024668292" sldId="298"/>
            <ac:spMk id="12" creationId="{FAC6377F-6FE3-5A88-537B-2D8C562B4C63}"/>
          </ac:spMkLst>
        </pc:spChg>
        <pc:graphicFrameChg chg="mod ord">
          <ac:chgData name="Michael Penney" userId="4f9b80c6-1a49-4d2e-92c5-79759f092c89" providerId="ADAL" clId="{FF1E03BA-828D-744E-BD88-2072860D0321}" dt="2025-04-01T22:28:47.427" v="1574" actId="700"/>
          <ac:graphicFrameMkLst>
            <pc:docMk/>
            <pc:sldMk cId="4024668292" sldId="298"/>
            <ac:graphicFrameMk id="15" creationId="{58AA032D-3CB0-BD2B-D2FC-4509E63BB569}"/>
          </ac:graphicFrameMkLst>
        </pc:graphicFrameChg>
        <pc:graphicFrameChg chg="mod ord">
          <ac:chgData name="Michael Penney" userId="4f9b80c6-1a49-4d2e-92c5-79759f092c89" providerId="ADAL" clId="{FF1E03BA-828D-744E-BD88-2072860D0321}" dt="2025-04-01T22:28:51.396" v="1575" actId="700"/>
          <ac:graphicFrameMkLst>
            <pc:docMk/>
            <pc:sldMk cId="4024668292" sldId="298"/>
            <ac:graphicFrameMk id="18" creationId="{272D2836-BE51-54C2-071E-93BFB234B62F}"/>
          </ac:graphicFrameMkLst>
        </pc:graphicFrameChg>
      </pc:sldChg>
      <pc:sldChg chg="delSp mod">
        <pc:chgData name="Michael Penney" userId="4f9b80c6-1a49-4d2e-92c5-79759f092c89" providerId="ADAL" clId="{FF1E03BA-828D-744E-BD88-2072860D0321}" dt="2025-04-01T15:34:28.545" v="1527" actId="478"/>
        <pc:sldMkLst>
          <pc:docMk/>
          <pc:sldMk cId="118660533" sldId="299"/>
        </pc:sldMkLst>
        <pc:spChg chg="del">
          <ac:chgData name="Michael Penney" userId="4f9b80c6-1a49-4d2e-92c5-79759f092c89" providerId="ADAL" clId="{FF1E03BA-828D-744E-BD88-2072860D0321}" dt="2025-04-01T15:34:28.545" v="1527" actId="478"/>
          <ac:spMkLst>
            <pc:docMk/>
            <pc:sldMk cId="118660533" sldId="299"/>
            <ac:spMk id="2" creationId="{741682D5-80D2-9169-0BA2-09141D5BA6FB}"/>
          </ac:spMkLst>
        </pc:spChg>
      </pc:sldChg>
      <pc:sldChg chg="addSp delSp modSp mod">
        <pc:chgData name="Michael Penney" userId="4f9b80c6-1a49-4d2e-92c5-79759f092c89" providerId="ADAL" clId="{FF1E03BA-828D-744E-BD88-2072860D0321}" dt="2025-04-01T20:45:27.006" v="1558"/>
        <pc:sldMkLst>
          <pc:docMk/>
          <pc:sldMk cId="951529637" sldId="300"/>
        </pc:sldMkLst>
        <pc:spChg chg="del">
          <ac:chgData name="Michael Penney" userId="4f9b80c6-1a49-4d2e-92c5-79759f092c89" providerId="ADAL" clId="{FF1E03BA-828D-744E-BD88-2072860D0321}" dt="2025-04-01T15:36:13.425" v="1532" actId="478"/>
          <ac:spMkLst>
            <pc:docMk/>
            <pc:sldMk cId="951529637" sldId="300"/>
            <ac:spMk id="5" creationId="{CB9CFAB9-A01F-CC6F-2169-7E961B809815}"/>
          </ac:spMkLst>
        </pc:spChg>
        <pc:spChg chg="add del mod">
          <ac:chgData name="Michael Penney" userId="4f9b80c6-1a49-4d2e-92c5-79759f092c89" providerId="ADAL" clId="{FF1E03BA-828D-744E-BD88-2072860D0321}" dt="2025-04-01T04:11:08.198" v="1399" actId="478"/>
          <ac:spMkLst>
            <pc:docMk/>
            <pc:sldMk cId="951529637" sldId="300"/>
            <ac:spMk id="5" creationId="{EE952740-98DD-78C4-1379-AF46815F35B5}"/>
          </ac:spMkLst>
        </pc:spChg>
        <pc:graphicFrameChg chg="mod">
          <ac:chgData name="Michael Penney" userId="4f9b80c6-1a49-4d2e-92c5-79759f092c89" providerId="ADAL" clId="{FF1E03BA-828D-744E-BD88-2072860D0321}" dt="2025-04-01T20:45:27.006" v="1558"/>
          <ac:graphicFrameMkLst>
            <pc:docMk/>
            <pc:sldMk cId="951529637" sldId="300"/>
            <ac:graphicFrameMk id="9" creationId="{3F1250A4-A9CF-4B94-762F-8DA34893A2CF}"/>
          </ac:graphicFrameMkLst>
        </pc:graphicFrameChg>
      </pc:sldChg>
      <pc:sldChg chg="delSp modSp add del mod">
        <pc:chgData name="Michael Penney" userId="4f9b80c6-1a49-4d2e-92c5-79759f092c89" providerId="ADAL" clId="{FF1E03BA-828D-744E-BD88-2072860D0321}" dt="2025-04-02T04:21:58.007" v="1588" actId="2696"/>
        <pc:sldMkLst>
          <pc:docMk/>
          <pc:sldMk cId="1580044436" sldId="306"/>
        </pc:sldMkLst>
        <pc:spChg chg="del">
          <ac:chgData name="Michael Penney" userId="4f9b80c6-1a49-4d2e-92c5-79759f092c89" providerId="ADAL" clId="{FF1E03BA-828D-744E-BD88-2072860D0321}" dt="2025-04-01T15:37:11.580" v="1542" actId="478"/>
          <ac:spMkLst>
            <pc:docMk/>
            <pc:sldMk cId="1580044436" sldId="306"/>
            <ac:spMk id="5" creationId="{13C1E87D-BA54-EF60-01F1-636B1482ED7F}"/>
          </ac:spMkLst>
        </pc:spChg>
        <pc:spChg chg="del">
          <ac:chgData name="Michael Penney" userId="4f9b80c6-1a49-4d2e-92c5-79759f092c89" providerId="ADAL" clId="{FF1E03BA-828D-744E-BD88-2072860D0321}" dt="2025-04-01T15:37:03.493" v="1541" actId="478"/>
          <ac:spMkLst>
            <pc:docMk/>
            <pc:sldMk cId="1580044436" sldId="306"/>
            <ac:spMk id="8" creationId="{42B96933-CF55-3BD5-DB58-9410A011E41C}"/>
          </ac:spMkLst>
        </pc:spChg>
        <pc:spChg chg="del">
          <ac:chgData name="Michael Penney" userId="4f9b80c6-1a49-4d2e-92c5-79759f092c89" providerId="ADAL" clId="{FF1E03BA-828D-744E-BD88-2072860D0321}" dt="2025-04-01T15:37:13.337" v="1543" actId="478"/>
          <ac:spMkLst>
            <pc:docMk/>
            <pc:sldMk cId="1580044436" sldId="306"/>
            <ac:spMk id="9" creationId="{3FCCD330-9022-8054-0EEA-F54570314250}"/>
          </ac:spMkLst>
        </pc:spChg>
        <pc:graphicFrameChg chg="mod">
          <ac:chgData name="Michael Penney" userId="4f9b80c6-1a49-4d2e-92c5-79759f092c89" providerId="ADAL" clId="{FF1E03BA-828D-744E-BD88-2072860D0321}" dt="2025-04-01T15:37:37.400" v="1551"/>
          <ac:graphicFrameMkLst>
            <pc:docMk/>
            <pc:sldMk cId="1580044436" sldId="306"/>
            <ac:graphicFrameMk id="12" creationId="{4643EF8F-277F-3ACE-087A-242F66565044}"/>
          </ac:graphicFrameMkLst>
        </pc:graphicFrameChg>
        <pc:graphicFrameChg chg="mod">
          <ac:chgData name="Michael Penney" userId="4f9b80c6-1a49-4d2e-92c5-79759f092c89" providerId="ADAL" clId="{FF1E03BA-828D-744E-BD88-2072860D0321}" dt="2025-04-01T15:36:57.697" v="1540" actId="403"/>
          <ac:graphicFrameMkLst>
            <pc:docMk/>
            <pc:sldMk cId="1580044436" sldId="306"/>
            <ac:graphicFrameMk id="13" creationId="{DAB367B8-FB8B-C971-CECB-F846B50F0A74}"/>
          </ac:graphicFrameMkLst>
        </pc:graphicFrameChg>
      </pc:sldChg>
      <pc:sldChg chg="delSp mod">
        <pc:chgData name="Michael Penney" userId="4f9b80c6-1a49-4d2e-92c5-79759f092c89" providerId="ADAL" clId="{FF1E03BA-828D-744E-BD88-2072860D0321}" dt="2025-04-01T15:32:59.317" v="1520" actId="478"/>
        <pc:sldMkLst>
          <pc:docMk/>
          <pc:sldMk cId="2009459704" sldId="309"/>
        </pc:sldMkLst>
        <pc:spChg chg="del">
          <ac:chgData name="Michael Penney" userId="4f9b80c6-1a49-4d2e-92c5-79759f092c89" providerId="ADAL" clId="{FF1E03BA-828D-744E-BD88-2072860D0321}" dt="2025-04-01T15:32:59.317" v="1520" actId="478"/>
          <ac:spMkLst>
            <pc:docMk/>
            <pc:sldMk cId="2009459704" sldId="309"/>
            <ac:spMk id="3" creationId="{9A30545A-5631-BEF8-FD33-6C25A82A2D32}"/>
          </ac:spMkLst>
        </pc:spChg>
        <pc:spChg chg="del">
          <ac:chgData name="Michael Penney" userId="4f9b80c6-1a49-4d2e-92c5-79759f092c89" providerId="ADAL" clId="{FF1E03BA-828D-744E-BD88-2072860D0321}" dt="2025-04-01T15:32:50.764" v="1519" actId="478"/>
          <ac:spMkLst>
            <pc:docMk/>
            <pc:sldMk cId="2009459704" sldId="309"/>
            <ac:spMk id="8" creationId="{F9CA6416-90DD-960A-A96D-66DCDFD19B71}"/>
          </ac:spMkLst>
        </pc:spChg>
        <pc:spChg chg="del">
          <ac:chgData name="Michael Penney" userId="4f9b80c6-1a49-4d2e-92c5-79759f092c89" providerId="ADAL" clId="{FF1E03BA-828D-744E-BD88-2072860D0321}" dt="2025-04-01T15:32:49.103" v="1518" actId="478"/>
          <ac:spMkLst>
            <pc:docMk/>
            <pc:sldMk cId="2009459704" sldId="309"/>
            <ac:spMk id="18" creationId="{290F3F50-34B8-1B59-A0AE-520AF7E6A381}"/>
          </ac:spMkLst>
        </pc:spChg>
        <pc:spChg chg="del">
          <ac:chgData name="Michael Penney" userId="4f9b80c6-1a49-4d2e-92c5-79759f092c89" providerId="ADAL" clId="{FF1E03BA-828D-744E-BD88-2072860D0321}" dt="2025-04-01T15:32:47.024" v="1517" actId="478"/>
          <ac:spMkLst>
            <pc:docMk/>
            <pc:sldMk cId="2009459704" sldId="309"/>
            <ac:spMk id="19" creationId="{4E497ED9-02B8-8DF6-B40C-489923EFF49C}"/>
          </ac:spMkLst>
        </pc:spChg>
      </pc:sldChg>
      <pc:sldChg chg="modSp mod">
        <pc:chgData name="Michael Penney" userId="4f9b80c6-1a49-4d2e-92c5-79759f092c89" providerId="ADAL" clId="{FF1E03BA-828D-744E-BD88-2072860D0321}" dt="2025-03-31T23:23:57.135" v="427" actId="20577"/>
        <pc:sldMkLst>
          <pc:docMk/>
          <pc:sldMk cId="229152731" sldId="315"/>
        </pc:sldMkLst>
      </pc:sldChg>
      <pc:sldChg chg="delSp mod">
        <pc:chgData name="Michael Penney" userId="4f9b80c6-1a49-4d2e-92c5-79759f092c89" providerId="ADAL" clId="{FF1E03BA-828D-744E-BD88-2072860D0321}" dt="2025-04-01T15:34:26.059" v="1526" actId="478"/>
        <pc:sldMkLst>
          <pc:docMk/>
          <pc:sldMk cId="1597446827" sldId="2169"/>
        </pc:sldMkLst>
        <pc:spChg chg="del">
          <ac:chgData name="Michael Penney" userId="4f9b80c6-1a49-4d2e-92c5-79759f092c89" providerId="ADAL" clId="{FF1E03BA-828D-744E-BD88-2072860D0321}" dt="2025-04-01T15:34:26.059" v="1526" actId="478"/>
          <ac:spMkLst>
            <pc:docMk/>
            <pc:sldMk cId="1597446827" sldId="2169"/>
            <ac:spMk id="3" creationId="{271D4C9E-29FA-4C67-62ED-F26BC6F365C9}"/>
          </ac:spMkLst>
        </pc:spChg>
      </pc:sldChg>
      <pc:sldChg chg="modSp mod">
        <pc:chgData name="Michael Penney" userId="4f9b80c6-1a49-4d2e-92c5-79759f092c89" providerId="ADAL" clId="{FF1E03BA-828D-744E-BD88-2072860D0321}" dt="2025-04-01T20:08:48.229" v="1557"/>
        <pc:sldMkLst>
          <pc:docMk/>
          <pc:sldMk cId="711477750" sldId="2171"/>
        </pc:sldMkLst>
        <pc:spChg chg="mod">
          <ac:chgData name="Michael Penney" userId="4f9b80c6-1a49-4d2e-92c5-79759f092c89" providerId="ADAL" clId="{FF1E03BA-828D-744E-BD88-2072860D0321}" dt="2025-04-01T15:38:51.004" v="1552" actId="1076"/>
          <ac:spMkLst>
            <pc:docMk/>
            <pc:sldMk cId="711477750" sldId="2171"/>
            <ac:spMk id="2" creationId="{83FF17AA-CEBE-563E-1E40-AC09036B81ED}"/>
          </ac:spMkLst>
        </pc:spChg>
        <pc:graphicFrameChg chg="mod">
          <ac:chgData name="Michael Penney" userId="4f9b80c6-1a49-4d2e-92c5-79759f092c89" providerId="ADAL" clId="{FF1E03BA-828D-744E-BD88-2072860D0321}" dt="2025-04-01T20:08:48.229" v="1557"/>
          <ac:graphicFrameMkLst>
            <pc:docMk/>
            <pc:sldMk cId="711477750" sldId="2171"/>
            <ac:graphicFrameMk id="24" creationId="{D7F9D7AB-2F2D-543A-C370-04DABB7E841F}"/>
          </ac:graphicFrameMkLst>
        </pc:graphicFrameChg>
      </pc:sldChg>
      <pc:sldChg chg="delSp modSp mod">
        <pc:chgData name="Michael Penney" userId="4f9b80c6-1a49-4d2e-92c5-79759f092c89" providerId="ADAL" clId="{FF1E03BA-828D-744E-BD88-2072860D0321}" dt="2025-04-01T22:23:07.745" v="1562" actId="478"/>
        <pc:sldMkLst>
          <pc:docMk/>
          <pc:sldMk cId="99878240" sldId="2174"/>
        </pc:sldMkLst>
        <pc:spChg chg="del">
          <ac:chgData name="Michael Penney" userId="4f9b80c6-1a49-4d2e-92c5-79759f092c89" providerId="ADAL" clId="{FF1E03BA-828D-744E-BD88-2072860D0321}" dt="2025-04-01T22:23:07.745" v="1562" actId="478"/>
          <ac:spMkLst>
            <pc:docMk/>
            <pc:sldMk cId="99878240" sldId="2174"/>
            <ac:spMk id="4" creationId="{DD2D97B0-1A3F-9E4A-8241-B88761663ACA}"/>
          </ac:spMkLst>
        </pc:spChg>
        <pc:spChg chg="del">
          <ac:chgData name="Michael Penney" userId="4f9b80c6-1a49-4d2e-92c5-79759f092c89" providerId="ADAL" clId="{FF1E03BA-828D-744E-BD88-2072860D0321}" dt="2025-04-01T22:23:06.415" v="1561" actId="478"/>
          <ac:spMkLst>
            <pc:docMk/>
            <pc:sldMk cId="99878240" sldId="2174"/>
            <ac:spMk id="5" creationId="{0FF2D5DE-20EA-DB93-6869-218BCF459B60}"/>
          </ac:spMkLst>
        </pc:spChg>
        <pc:graphicFrameChg chg="modGraphic">
          <ac:chgData name="Michael Penney" userId="4f9b80c6-1a49-4d2e-92c5-79759f092c89" providerId="ADAL" clId="{FF1E03BA-828D-744E-BD88-2072860D0321}" dt="2025-04-01T22:23:03.175" v="1560" actId="2062"/>
          <ac:graphicFrameMkLst>
            <pc:docMk/>
            <pc:sldMk cId="99878240" sldId="2174"/>
            <ac:graphicFrameMk id="18" creationId="{B1D6163C-40B9-34AA-ED02-A4A696BE6F13}"/>
          </ac:graphicFrameMkLst>
        </pc:graphicFrameChg>
        <pc:graphicFrameChg chg="modGraphic">
          <ac:chgData name="Michael Penney" userId="4f9b80c6-1a49-4d2e-92c5-79759f092c89" providerId="ADAL" clId="{FF1E03BA-828D-744E-BD88-2072860D0321}" dt="2025-04-01T22:22:59.997" v="1559" actId="2062"/>
          <ac:graphicFrameMkLst>
            <pc:docMk/>
            <pc:sldMk cId="99878240" sldId="2174"/>
            <ac:graphicFrameMk id="24" creationId="{7C59455E-FF07-C056-6D59-43FE5AF8512D}"/>
          </ac:graphicFrameMkLst>
        </pc:graphicFrameChg>
      </pc:sldChg>
      <pc:sldChg chg="modSp mod">
        <pc:chgData name="Michael Penney" userId="4f9b80c6-1a49-4d2e-92c5-79759f092c89" providerId="ADAL" clId="{FF1E03BA-828D-744E-BD88-2072860D0321}" dt="2025-03-31T21:01:10.514" v="61" actId="20577"/>
        <pc:sldMkLst>
          <pc:docMk/>
          <pc:sldMk cId="2803849648" sldId="2202"/>
        </pc:sldMkLst>
        <pc:spChg chg="mod">
          <ac:chgData name="Michael Penney" userId="4f9b80c6-1a49-4d2e-92c5-79759f092c89" providerId="ADAL" clId="{FF1E03BA-828D-744E-BD88-2072860D0321}" dt="2025-03-31T21:01:10.514" v="61" actId="20577"/>
          <ac:spMkLst>
            <pc:docMk/>
            <pc:sldMk cId="2803849648" sldId="2202"/>
            <ac:spMk id="17" creationId="{FAA12DDD-6273-3CD9-98DB-78F9950DE3D6}"/>
          </ac:spMkLst>
        </pc:spChg>
      </pc:sldChg>
      <pc:sldChg chg="modSp mod">
        <pc:chgData name="Michael Penney" userId="4f9b80c6-1a49-4d2e-92c5-79759f092c89" providerId="ADAL" clId="{FF1E03BA-828D-744E-BD88-2072860D0321}" dt="2025-04-01T04:54:07.856" v="1516"/>
        <pc:sldMkLst>
          <pc:docMk/>
          <pc:sldMk cId="807869692" sldId="2203"/>
        </pc:sldMkLst>
        <pc:picChg chg="mod modCrop">
          <ac:chgData name="Michael Penney" userId="4f9b80c6-1a49-4d2e-92c5-79759f092c89" providerId="ADAL" clId="{FF1E03BA-828D-744E-BD88-2072860D0321}" dt="2025-04-01T04:54:07.856" v="1516"/>
          <ac:picMkLst>
            <pc:docMk/>
            <pc:sldMk cId="807869692" sldId="2203"/>
            <ac:picMk id="3" creationId="{8A2497F6-054F-DDF1-669B-85D48342C8CD}"/>
          </ac:picMkLst>
        </pc:picChg>
      </pc:sldChg>
      <pc:sldChg chg="delSp modSp mod">
        <pc:chgData name="Michael Penney" userId="4f9b80c6-1a49-4d2e-92c5-79759f092c89" providerId="ADAL" clId="{FF1E03BA-828D-744E-BD88-2072860D0321}" dt="2025-04-01T15:33:59.777" v="1525" actId="478"/>
        <pc:sldMkLst>
          <pc:docMk/>
          <pc:sldMk cId="3858565632" sldId="2222"/>
        </pc:sldMkLst>
        <pc:spChg chg="del mod">
          <ac:chgData name="Michael Penney" userId="4f9b80c6-1a49-4d2e-92c5-79759f092c89" providerId="ADAL" clId="{FF1E03BA-828D-744E-BD88-2072860D0321}" dt="2025-04-01T15:33:59.777" v="1525" actId="478"/>
          <ac:spMkLst>
            <pc:docMk/>
            <pc:sldMk cId="3858565632" sldId="2222"/>
            <ac:spMk id="2" creationId="{DFC238B4-3189-61B2-25B1-5333B53710D4}"/>
          </ac:spMkLst>
        </pc:spChg>
      </pc:sldChg>
      <pc:sldChg chg="addSp delSp modSp new mod">
        <pc:chgData name="Michael Penney" userId="4f9b80c6-1a49-4d2e-92c5-79759f092c89" providerId="ADAL" clId="{FF1E03BA-828D-744E-BD88-2072860D0321}" dt="2025-04-01T04:22:32.939" v="1418" actId="20577"/>
        <pc:sldMkLst>
          <pc:docMk/>
          <pc:sldMk cId="1295462071" sldId="2229"/>
        </pc:sldMkLst>
        <pc:spChg chg="mod">
          <ac:chgData name="Michael Penney" userId="4f9b80c6-1a49-4d2e-92c5-79759f092c89" providerId="ADAL" clId="{FF1E03BA-828D-744E-BD88-2072860D0321}" dt="2025-04-01T04:00:49.194" v="1377" actId="108"/>
          <ac:spMkLst>
            <pc:docMk/>
            <pc:sldMk cId="1295462071" sldId="2229"/>
            <ac:spMk id="2" creationId="{CACEC39F-E50A-F9E1-1976-E5CF9A2D460D}"/>
          </ac:spMkLst>
        </pc:spChg>
        <pc:spChg chg="mod">
          <ac:chgData name="Michael Penney" userId="4f9b80c6-1a49-4d2e-92c5-79759f092c89" providerId="ADAL" clId="{FF1E03BA-828D-744E-BD88-2072860D0321}" dt="2025-03-31T21:47:34.449" v="124" actId="108"/>
          <ac:spMkLst>
            <pc:docMk/>
            <pc:sldMk cId="1295462071" sldId="2229"/>
            <ac:spMk id="4" creationId="{CEB2421B-4193-05F8-D3EF-ABA35A9F11A2}"/>
          </ac:spMkLst>
        </pc:spChg>
        <pc:spChg chg="add mod">
          <ac:chgData name="Michael Penney" userId="4f9b80c6-1a49-4d2e-92c5-79759f092c89" providerId="ADAL" clId="{FF1E03BA-828D-744E-BD88-2072860D0321}" dt="2025-04-01T04:22:32.939" v="1418" actId="20577"/>
          <ac:spMkLst>
            <pc:docMk/>
            <pc:sldMk cId="1295462071" sldId="2229"/>
            <ac:spMk id="7" creationId="{B4529011-0E42-02D4-E3F9-0B066AB40722}"/>
          </ac:spMkLst>
        </pc:spChg>
        <pc:spChg chg="add mod">
          <ac:chgData name="Michael Penney" userId="4f9b80c6-1a49-4d2e-92c5-79759f092c89" providerId="ADAL" clId="{FF1E03BA-828D-744E-BD88-2072860D0321}" dt="2025-04-01T04:22:19.191" v="1415" actId="20577"/>
          <ac:spMkLst>
            <pc:docMk/>
            <pc:sldMk cId="1295462071" sldId="2229"/>
            <ac:spMk id="8" creationId="{52733E81-2DFB-59EF-603B-122C0658301F}"/>
          </ac:spMkLst>
        </pc:spChg>
        <pc:graphicFrameChg chg="add mod ord modGraphic">
          <ac:chgData name="Michael Penney" userId="4f9b80c6-1a49-4d2e-92c5-79759f092c89" providerId="ADAL" clId="{FF1E03BA-828D-744E-BD88-2072860D0321}" dt="2025-04-01T04:17:25.539" v="1403" actId="207"/>
          <ac:graphicFrameMkLst>
            <pc:docMk/>
            <pc:sldMk cId="1295462071" sldId="2229"/>
            <ac:graphicFrameMk id="6" creationId="{90D84662-5365-3BF3-0454-4B139F8F04A8}"/>
          </ac:graphicFrameMkLst>
        </pc:graphicFrameChg>
      </pc:sldChg>
      <pc:sldChg chg="modSp new mod">
        <pc:chgData name="Michael Penney" userId="4f9b80c6-1a49-4d2e-92c5-79759f092c89" providerId="ADAL" clId="{FF1E03BA-828D-744E-BD88-2072860D0321}" dt="2025-04-01T04:07:52.597" v="1397" actId="20577"/>
        <pc:sldMkLst>
          <pc:docMk/>
          <pc:sldMk cId="3465619800" sldId="2240"/>
        </pc:sldMkLst>
        <pc:spChg chg="mod">
          <ac:chgData name="Michael Penney" userId="4f9b80c6-1a49-4d2e-92c5-79759f092c89" providerId="ADAL" clId="{FF1E03BA-828D-744E-BD88-2072860D0321}" dt="2025-04-01T04:07:52.597" v="1397" actId="20577"/>
          <ac:spMkLst>
            <pc:docMk/>
            <pc:sldMk cId="3465619800" sldId="2240"/>
            <ac:spMk id="4" creationId="{8C92E8F0-91DA-8FE0-5643-59BD200D0284}"/>
          </ac:spMkLst>
        </pc:spChg>
      </pc:sldChg>
      <pc:sldChg chg="modSp">
        <pc:chgData name="Michael Penney" userId="4f9b80c6-1a49-4d2e-92c5-79759f092c89" providerId="ADAL" clId="{FF1E03BA-828D-744E-BD88-2072860D0321}" dt="2025-04-02T04:32:53.625" v="1590"/>
        <pc:sldMkLst>
          <pc:docMk/>
          <pc:sldMk cId="751750684" sldId="2253"/>
        </pc:sldMkLst>
        <pc:graphicFrameChg chg="mod">
          <ac:chgData name="Michael Penney" userId="4f9b80c6-1a49-4d2e-92c5-79759f092c89" providerId="ADAL" clId="{FF1E03BA-828D-744E-BD88-2072860D0321}" dt="2025-04-02T04:32:53.625" v="1590"/>
          <ac:graphicFrameMkLst>
            <pc:docMk/>
            <pc:sldMk cId="751750684" sldId="2253"/>
            <ac:graphicFrameMk id="9" creationId="{E5F85D2B-D570-A956-00FA-B89E0D0DE040}"/>
          </ac:graphicFrameMkLst>
        </pc:graphicFrameChg>
      </pc:sldChg>
      <pc:sldChg chg="add del">
        <pc:chgData name="Michael Penney" userId="4f9b80c6-1a49-4d2e-92c5-79759f092c89" providerId="ADAL" clId="{FF1E03BA-828D-744E-BD88-2072860D0321}" dt="2025-04-02T04:21:56.477" v="1586" actId="2696"/>
        <pc:sldMkLst>
          <pc:docMk/>
          <pc:sldMk cId="2807472221" sldId="2257"/>
        </pc:sldMkLst>
      </pc:sldChg>
      <pc:sldChg chg="addSp delSp modSp">
        <pc:chgData name="Michael Penney" userId="4f9b80c6-1a49-4d2e-92c5-79759f092c89" providerId="ADAL" clId="{FF1E03BA-828D-744E-BD88-2072860D0321}" dt="2025-04-02T00:33:01.447" v="1582" actId="1957"/>
        <pc:sldMkLst>
          <pc:docMk/>
          <pc:sldMk cId="4230794871" sldId="2262"/>
        </pc:sldMkLst>
        <pc:spChg chg="add mod">
          <ac:chgData name="Michael Penney" userId="4f9b80c6-1a49-4d2e-92c5-79759f092c89" providerId="ADAL" clId="{FF1E03BA-828D-744E-BD88-2072860D0321}" dt="2025-04-01T22:33:11.345" v="1577"/>
          <ac:spMkLst>
            <pc:docMk/>
            <pc:sldMk cId="4230794871" sldId="2262"/>
            <ac:spMk id="13" creationId="{2C5C6127-445F-4826-AA63-F9D14E1B8808}"/>
          </ac:spMkLst>
        </pc:spChg>
        <pc:spChg chg="del">
          <ac:chgData name="Michael Penney" userId="4f9b80c6-1a49-4d2e-92c5-79759f092c89" providerId="ADAL" clId="{FF1E03BA-828D-744E-BD88-2072860D0321}" dt="2025-04-01T22:33:11.345" v="1577"/>
          <ac:spMkLst>
            <pc:docMk/>
            <pc:sldMk cId="4230794871" sldId="2262"/>
            <ac:spMk id="19" creationId="{48059E1D-4545-EC09-EE10-7B5C1F5A8887}"/>
          </ac:spMkLst>
        </pc:spChg>
        <pc:spChg chg="del">
          <ac:chgData name="Michael Penney" userId="4f9b80c6-1a49-4d2e-92c5-79759f092c89" providerId="ADAL" clId="{FF1E03BA-828D-744E-BD88-2072860D0321}" dt="2025-04-01T22:32:49.585" v="1576"/>
          <ac:spMkLst>
            <pc:docMk/>
            <pc:sldMk cId="4230794871" sldId="2262"/>
            <ac:spMk id="20" creationId="{95429DC8-AAD3-888E-2ABE-0B198F05F6B3}"/>
          </ac:spMkLst>
        </pc:spChg>
        <pc:spChg chg="del">
          <ac:chgData name="Michael Penney" userId="4f9b80c6-1a49-4d2e-92c5-79759f092c89" providerId="ADAL" clId="{FF1E03BA-828D-744E-BD88-2072860D0321}" dt="2025-04-01T22:33:18.807" v="1578"/>
          <ac:spMkLst>
            <pc:docMk/>
            <pc:sldMk cId="4230794871" sldId="2262"/>
            <ac:spMk id="21" creationId="{0A4DD768-9F54-A761-862D-F375AD1E3046}"/>
          </ac:spMkLst>
        </pc:spChg>
        <pc:graphicFrameChg chg="add mod">
          <ac:chgData name="Michael Penney" userId="4f9b80c6-1a49-4d2e-92c5-79759f092c89" providerId="ADAL" clId="{FF1E03BA-828D-744E-BD88-2072860D0321}" dt="2025-04-01T22:32:49.585" v="1576"/>
          <ac:graphicFrameMkLst>
            <pc:docMk/>
            <pc:sldMk cId="4230794871" sldId="2262"/>
            <ac:graphicFrameMk id="10" creationId="{4F8F5F70-3DDD-E5ED-4B19-F14105F969AE}"/>
          </ac:graphicFrameMkLst>
        </pc:graphicFrameChg>
        <pc:graphicFrameChg chg="add mod">
          <ac:chgData name="Michael Penney" userId="4f9b80c6-1a49-4d2e-92c5-79759f092c89" providerId="ADAL" clId="{FF1E03BA-828D-744E-BD88-2072860D0321}" dt="2025-04-02T00:33:01.447" v="1582" actId="1957"/>
          <ac:graphicFrameMkLst>
            <pc:docMk/>
            <pc:sldMk cId="4230794871" sldId="2262"/>
            <ac:graphicFrameMk id="16" creationId="{7C7B3363-E606-0D05-31EE-86CD3D3283C3}"/>
          </ac:graphicFrameMkLst>
        </pc:graphicFrameChg>
      </pc:sldChg>
      <pc:sldChg chg="add del">
        <pc:chgData name="Michael Penney" userId="4f9b80c6-1a49-4d2e-92c5-79759f092c89" providerId="ADAL" clId="{FF1E03BA-828D-744E-BD88-2072860D0321}" dt="2025-04-02T04:21:57.223" v="1587" actId="2696"/>
        <pc:sldMkLst>
          <pc:docMk/>
          <pc:sldMk cId="3535350961" sldId="2272"/>
        </pc:sldMkLst>
      </pc:sldChg>
      <pc:sldChg chg="addSp delSp modSp mod">
        <pc:chgData name="Michael Penney" userId="4f9b80c6-1a49-4d2e-92c5-79759f092c89" providerId="ADAL" clId="{FF1E03BA-828D-744E-BD88-2072860D0321}" dt="2025-04-02T17:22:24.598" v="1673" actId="1076"/>
        <pc:sldMkLst>
          <pc:docMk/>
          <pc:sldMk cId="61870900" sldId="2278"/>
        </pc:sldMkLst>
        <pc:spChg chg="add del mod">
          <ac:chgData name="Michael Penney" userId="4f9b80c6-1a49-4d2e-92c5-79759f092c89" providerId="ADAL" clId="{FF1E03BA-828D-744E-BD88-2072860D0321}" dt="2025-04-02T04:34:04.080" v="1593" actId="478"/>
          <ac:spMkLst>
            <pc:docMk/>
            <pc:sldMk cId="61870900" sldId="2278"/>
            <ac:spMk id="4" creationId="{A48F5E83-57FD-18EA-1DE3-5B21F2488B04}"/>
          </ac:spMkLst>
        </pc:spChg>
        <pc:spChg chg="mod">
          <ac:chgData name="Michael Penney" userId="4f9b80c6-1a49-4d2e-92c5-79759f092c89" providerId="ADAL" clId="{FF1E03BA-828D-744E-BD88-2072860D0321}" dt="2025-04-02T06:03:36.137" v="1655" actId="20577"/>
          <ac:spMkLst>
            <pc:docMk/>
            <pc:sldMk cId="61870900" sldId="2278"/>
            <ac:spMk id="12" creationId="{3AA1AFDC-635D-BAFC-D10C-B8FE36F20961}"/>
          </ac:spMkLst>
        </pc:spChg>
        <pc:spChg chg="del">
          <ac:chgData name="Michael Penney" userId="4f9b80c6-1a49-4d2e-92c5-79759f092c89" providerId="ADAL" clId="{FF1E03BA-828D-744E-BD88-2072860D0321}" dt="2025-04-02T04:32:53.625" v="1590"/>
          <ac:spMkLst>
            <pc:docMk/>
            <pc:sldMk cId="61870900" sldId="2278"/>
            <ac:spMk id="13" creationId="{DADD6702-D00D-3574-7A3A-9784906EE1A4}"/>
          </ac:spMkLst>
        </pc:spChg>
        <pc:graphicFrameChg chg="add del mod">
          <ac:chgData name="Michael Penney" userId="4f9b80c6-1a49-4d2e-92c5-79759f092c89" providerId="ADAL" clId="{FF1E03BA-828D-744E-BD88-2072860D0321}" dt="2025-04-02T04:33:57.222" v="1591" actId="478"/>
          <ac:graphicFrameMkLst>
            <pc:docMk/>
            <pc:sldMk cId="61870900" sldId="2278"/>
            <ac:graphicFrameMk id="2" creationId="{ABF58D9C-C4CF-9DB6-4257-8C1E9BF9125F}"/>
          </ac:graphicFrameMkLst>
        </pc:graphicFrameChg>
        <pc:graphicFrameChg chg="mod">
          <ac:chgData name="Michael Penney" userId="4f9b80c6-1a49-4d2e-92c5-79759f092c89" providerId="ADAL" clId="{FF1E03BA-828D-744E-BD88-2072860D0321}" dt="2025-04-02T15:58:59.492" v="1669"/>
          <ac:graphicFrameMkLst>
            <pc:docMk/>
            <pc:sldMk cId="61870900" sldId="2278"/>
            <ac:graphicFrameMk id="15" creationId="{20A5A5EF-6F45-48B3-1A7F-1D750C2A8141}"/>
          </ac:graphicFrameMkLst>
        </pc:graphicFrameChg>
        <pc:cxnChg chg="add mod">
          <ac:chgData name="Michael Penney" userId="4f9b80c6-1a49-4d2e-92c5-79759f092c89" providerId="ADAL" clId="{FF1E03BA-828D-744E-BD88-2072860D0321}" dt="2025-04-02T15:58:56.113" v="1668" actId="1076"/>
          <ac:cxnSpMkLst>
            <pc:docMk/>
            <pc:sldMk cId="61870900" sldId="2278"/>
            <ac:cxnSpMk id="6" creationId="{15242277-E1BF-BECC-8431-C7C2C7A0E990}"/>
          </ac:cxnSpMkLst>
        </pc:cxnChg>
        <pc:cxnChg chg="add mod">
          <ac:chgData name="Michael Penney" userId="4f9b80c6-1a49-4d2e-92c5-79759f092c89" providerId="ADAL" clId="{FF1E03BA-828D-744E-BD88-2072860D0321}" dt="2025-04-02T17:22:24.598" v="1673" actId="1076"/>
          <ac:cxnSpMkLst>
            <pc:docMk/>
            <pc:sldMk cId="61870900" sldId="2278"/>
            <ac:cxnSpMk id="7" creationId="{92D08B5C-956C-E965-62ED-6381387F5B18}"/>
          </ac:cxnSpMkLst>
        </pc:cxnChg>
        <pc:cxnChg chg="add mod">
          <ac:chgData name="Michael Penney" userId="4f9b80c6-1a49-4d2e-92c5-79759f092c89" providerId="ADAL" clId="{FF1E03BA-828D-744E-BD88-2072860D0321}" dt="2025-04-02T15:59:22.764" v="1672" actId="1076"/>
          <ac:cxnSpMkLst>
            <pc:docMk/>
            <pc:sldMk cId="61870900" sldId="2278"/>
            <ac:cxnSpMk id="8" creationId="{2154E42B-78ED-CAD1-2445-89F1440ED44D}"/>
          </ac:cxnSpMkLst>
        </pc:cxnChg>
        <pc:cxnChg chg="add mod">
          <ac:chgData name="Michael Penney" userId="4f9b80c6-1a49-4d2e-92c5-79759f092c89" providerId="ADAL" clId="{FF1E03BA-828D-744E-BD88-2072860D0321}" dt="2025-04-02T15:58:42.663" v="1667" actId="1076"/>
          <ac:cxnSpMkLst>
            <pc:docMk/>
            <pc:sldMk cId="61870900" sldId="2278"/>
            <ac:cxnSpMk id="9" creationId="{D6755C15-3FD6-CE2B-AB82-7B9CEC0B94B1}"/>
          </ac:cxnSpMkLst>
        </pc:cxnChg>
      </pc:sldChg>
    </pc:docChg>
  </pc:docChgLst>
  <pc:docChgLst>
    <pc:chgData name="Christian Gillam" userId="S::cgill016@uottawa.ca::178737ef-0014-4dd8-b439-bc02dd9433a1" providerId="AD" clId="Web-{50A082DE-DB43-AB88-9A36-1006C200B193}"/>
    <pc:docChg chg="addSld delSld modSld">
      <pc:chgData name="Christian Gillam" userId="S::cgill016@uottawa.ca::178737ef-0014-4dd8-b439-bc02dd9433a1" providerId="AD" clId="Web-{50A082DE-DB43-AB88-9A36-1006C200B193}" dt="2025-04-02T17:27:02.844" v="484" actId="20577"/>
      <pc:docMkLst>
        <pc:docMk/>
      </pc:docMkLst>
      <pc:sldChg chg="addSp delSp modSp">
        <pc:chgData name="Christian Gillam" userId="S::cgill016@uottawa.ca::178737ef-0014-4dd8-b439-bc02dd9433a1" providerId="AD" clId="Web-{50A082DE-DB43-AB88-9A36-1006C200B193}" dt="2025-04-02T17:27:02.844" v="484" actId="20577"/>
        <pc:sldMkLst>
          <pc:docMk/>
          <pc:sldMk cId="1608766413" sldId="2280"/>
        </pc:sldMkLst>
        <pc:spChg chg="add del mod">
          <ac:chgData name="Christian Gillam" userId="S::cgill016@uottawa.ca::178737ef-0014-4dd8-b439-bc02dd9433a1" providerId="AD" clId="Web-{50A082DE-DB43-AB88-9A36-1006C200B193}" dt="2025-04-02T17:16:53.005" v="64"/>
          <ac:spMkLst>
            <pc:docMk/>
            <pc:sldMk cId="1608766413" sldId="2280"/>
            <ac:spMk id="2" creationId="{71C0D8D7-4AEC-8201-EEB6-58A299D8D54B}"/>
          </ac:spMkLst>
        </pc:spChg>
        <pc:spChg chg="mod">
          <ac:chgData name="Christian Gillam" userId="S::cgill016@uottawa.ca::178737ef-0014-4dd8-b439-bc02dd9433a1" providerId="AD" clId="Web-{50A082DE-DB43-AB88-9A36-1006C200B193}" dt="2025-04-02T17:19:51.602" v="223" actId="20577"/>
          <ac:spMkLst>
            <pc:docMk/>
            <pc:sldMk cId="1608766413" sldId="2280"/>
            <ac:spMk id="3" creationId="{8AA87043-C128-4DDD-AC73-EA5547C0D1BD}"/>
          </ac:spMkLst>
        </pc:spChg>
        <pc:spChg chg="mod">
          <ac:chgData name="Christian Gillam" userId="S::cgill016@uottawa.ca::178737ef-0014-4dd8-b439-bc02dd9433a1" providerId="AD" clId="Web-{50A082DE-DB43-AB88-9A36-1006C200B193}" dt="2025-04-02T17:19:25.523" v="200" actId="20577"/>
          <ac:spMkLst>
            <pc:docMk/>
            <pc:sldMk cId="1608766413" sldId="2280"/>
            <ac:spMk id="4" creationId="{1F1E3147-30CD-6E4C-1854-DFA79E6B0B86}"/>
          </ac:spMkLst>
        </pc:spChg>
        <pc:spChg chg="mod">
          <ac:chgData name="Christian Gillam" userId="S::cgill016@uottawa.ca::178737ef-0014-4dd8-b439-bc02dd9433a1" providerId="AD" clId="Web-{50A082DE-DB43-AB88-9A36-1006C200B193}" dt="2025-04-02T17:27:02.844" v="484" actId="20577"/>
          <ac:spMkLst>
            <pc:docMk/>
            <pc:sldMk cId="1608766413" sldId="2280"/>
            <ac:spMk id="5" creationId="{64F9989D-75FB-53F6-3C27-1661082AD556}"/>
          </ac:spMkLst>
        </pc:spChg>
        <pc:spChg chg="del">
          <ac:chgData name="Christian Gillam" userId="S::cgill016@uottawa.ca::178737ef-0014-4dd8-b439-bc02dd9433a1" providerId="AD" clId="Web-{50A082DE-DB43-AB88-9A36-1006C200B193}" dt="2025-04-02T17:17:35.599" v="73"/>
          <ac:spMkLst>
            <pc:docMk/>
            <pc:sldMk cId="1608766413" sldId="2280"/>
            <ac:spMk id="6" creationId="{9D20AC6B-80E1-75CC-AC0F-00867A6F2323}"/>
          </ac:spMkLst>
        </pc:spChg>
        <pc:spChg chg="add del mod">
          <ac:chgData name="Christian Gillam" userId="S::cgill016@uottawa.ca::178737ef-0014-4dd8-b439-bc02dd9433a1" providerId="AD" clId="Web-{50A082DE-DB43-AB88-9A36-1006C200B193}" dt="2025-04-02T17:19:40.883" v="221"/>
          <ac:spMkLst>
            <pc:docMk/>
            <pc:sldMk cId="1608766413" sldId="2280"/>
            <ac:spMk id="9" creationId="{1EE34E7E-67C6-9112-C5FF-ABC099E255D8}"/>
          </ac:spMkLst>
        </pc:spChg>
        <pc:spChg chg="add mod">
          <ac:chgData name="Christian Gillam" userId="S::cgill016@uottawa.ca::178737ef-0014-4dd8-b439-bc02dd9433a1" providerId="AD" clId="Web-{50A082DE-DB43-AB88-9A36-1006C200B193}" dt="2025-04-02T17:20:40.290" v="246" actId="20577"/>
          <ac:spMkLst>
            <pc:docMk/>
            <pc:sldMk cId="1608766413" sldId="2280"/>
            <ac:spMk id="10" creationId="{F37AC5D5-32BF-C535-7AE2-52D94CB4F2AC}"/>
          </ac:spMkLst>
        </pc:spChg>
        <pc:spChg chg="del">
          <ac:chgData name="Christian Gillam" userId="S::cgill016@uottawa.ca::178737ef-0014-4dd8-b439-bc02dd9433a1" providerId="AD" clId="Web-{50A082DE-DB43-AB88-9A36-1006C200B193}" dt="2025-04-02T17:22:48.511" v="343"/>
          <ac:spMkLst>
            <pc:docMk/>
            <pc:sldMk cId="1608766413" sldId="2280"/>
            <ac:spMk id="11" creationId="{D8362C29-C9A3-7FDE-8295-02097B45E364}"/>
          </ac:spMkLst>
        </pc:spChg>
        <pc:spChg chg="del mod">
          <ac:chgData name="Christian Gillam" userId="S::cgill016@uottawa.ca::178737ef-0014-4dd8-b439-bc02dd9433a1" providerId="AD" clId="Web-{50A082DE-DB43-AB88-9A36-1006C200B193}" dt="2025-04-02T17:22:24.933" v="321"/>
          <ac:spMkLst>
            <pc:docMk/>
            <pc:sldMk cId="1608766413" sldId="2280"/>
            <ac:spMk id="13" creationId="{356A9B6D-C340-BE96-A017-CDFF11E8ADFD}"/>
          </ac:spMkLst>
        </pc:spChg>
        <pc:spChg chg="add del mod">
          <ac:chgData name="Christian Gillam" userId="S::cgill016@uottawa.ca::178737ef-0014-4dd8-b439-bc02dd9433a1" providerId="AD" clId="Web-{50A082DE-DB43-AB88-9A36-1006C200B193}" dt="2025-04-02T17:17:51.553" v="76"/>
          <ac:spMkLst>
            <pc:docMk/>
            <pc:sldMk cId="1608766413" sldId="2280"/>
            <ac:spMk id="14" creationId="{10450351-AC5D-D94D-0324-92DFC213C6B4}"/>
          </ac:spMkLst>
        </pc:spChg>
        <pc:spChg chg="mod">
          <ac:chgData name="Christian Gillam" userId="S::cgill016@uottawa.ca::178737ef-0014-4dd8-b439-bc02dd9433a1" providerId="AD" clId="Web-{50A082DE-DB43-AB88-9A36-1006C200B193}" dt="2025-04-02T17:21:54.370" v="296" actId="20577"/>
          <ac:spMkLst>
            <pc:docMk/>
            <pc:sldMk cId="1608766413" sldId="2280"/>
            <ac:spMk id="15" creationId="{642896CE-3588-1E33-3A44-86A1839A6F3D}"/>
          </ac:spMkLst>
        </pc:spChg>
        <pc:spChg chg="add mod">
          <ac:chgData name="Christian Gillam" userId="S::cgill016@uottawa.ca::178737ef-0014-4dd8-b439-bc02dd9433a1" providerId="AD" clId="Web-{50A082DE-DB43-AB88-9A36-1006C200B193}" dt="2025-04-02T17:23:20.527" v="364" actId="20577"/>
          <ac:spMkLst>
            <pc:docMk/>
            <pc:sldMk cId="1608766413" sldId="2280"/>
            <ac:spMk id="16" creationId="{E5F95313-C29A-5E90-5853-71AB000C2400}"/>
          </ac:spMkLst>
        </pc:spChg>
        <pc:spChg chg="del">
          <ac:chgData name="Christian Gillam" userId="S::cgill016@uottawa.ca::178737ef-0014-4dd8-b439-bc02dd9433a1" providerId="AD" clId="Web-{50A082DE-DB43-AB88-9A36-1006C200B193}" dt="2025-04-02T17:15:07.003" v="0"/>
          <ac:spMkLst>
            <pc:docMk/>
            <pc:sldMk cId="1608766413" sldId="2280"/>
            <ac:spMk id="17" creationId="{28E74C0A-6F9D-7431-8406-5F616391E063}"/>
          </ac:spMkLst>
        </pc:spChg>
        <pc:spChg chg="add mod">
          <ac:chgData name="Christian Gillam" userId="S::cgill016@uottawa.ca::178737ef-0014-4dd8-b439-bc02dd9433a1" providerId="AD" clId="Web-{50A082DE-DB43-AB88-9A36-1006C200B193}" dt="2025-04-02T17:21:04.369" v="253" actId="20577"/>
          <ac:spMkLst>
            <pc:docMk/>
            <pc:sldMk cId="1608766413" sldId="2280"/>
            <ac:spMk id="18" creationId="{F9C19210-5439-18D4-8823-869BD360F1CF}"/>
          </ac:spMkLst>
        </pc:spChg>
        <pc:spChg chg="add mod">
          <ac:chgData name="Christian Gillam" userId="S::cgill016@uottawa.ca::178737ef-0014-4dd8-b439-bc02dd9433a1" providerId="AD" clId="Web-{50A082DE-DB43-AB88-9A36-1006C200B193}" dt="2025-04-02T17:21:35.885" v="284" actId="20577"/>
          <ac:spMkLst>
            <pc:docMk/>
            <pc:sldMk cId="1608766413" sldId="2280"/>
            <ac:spMk id="19" creationId="{92290B90-CAD2-803F-4147-1F62F17B4B83}"/>
          </ac:spMkLst>
        </pc:spChg>
        <pc:spChg chg="add mod">
          <ac:chgData name="Christian Gillam" userId="S::cgill016@uottawa.ca::178737ef-0014-4dd8-b439-bc02dd9433a1" providerId="AD" clId="Web-{50A082DE-DB43-AB88-9A36-1006C200B193}" dt="2025-04-02T17:22:17.979" v="319" actId="1076"/>
          <ac:spMkLst>
            <pc:docMk/>
            <pc:sldMk cId="1608766413" sldId="2280"/>
            <ac:spMk id="20" creationId="{645DFC58-B6FB-CDF6-67EC-E346C25DF1BE}"/>
          </ac:spMkLst>
        </pc:spChg>
        <pc:spChg chg="add del mod">
          <ac:chgData name="Christian Gillam" userId="S::cgill016@uottawa.ca::178737ef-0014-4dd8-b439-bc02dd9433a1" providerId="AD" clId="Web-{50A082DE-DB43-AB88-9A36-1006C200B193}" dt="2025-04-02T17:22:34.902" v="326"/>
          <ac:spMkLst>
            <pc:docMk/>
            <pc:sldMk cId="1608766413" sldId="2280"/>
            <ac:spMk id="21" creationId="{37E5E0EE-D12F-207C-8ADB-455245F104D9}"/>
          </ac:spMkLst>
        </pc:spChg>
        <pc:spChg chg="add mod">
          <ac:chgData name="Christian Gillam" userId="S::cgill016@uottawa.ca::178737ef-0014-4dd8-b439-bc02dd9433a1" providerId="AD" clId="Web-{50A082DE-DB43-AB88-9A36-1006C200B193}" dt="2025-04-02T17:22:56.355" v="344" actId="1076"/>
          <ac:spMkLst>
            <pc:docMk/>
            <pc:sldMk cId="1608766413" sldId="2280"/>
            <ac:spMk id="22" creationId="{324595E9-4475-E732-120A-A8C3141DE4BD}"/>
          </ac:spMkLst>
        </pc:spChg>
        <pc:spChg chg="add mod">
          <ac:chgData name="Christian Gillam" userId="S::cgill016@uottawa.ca::178737ef-0014-4dd8-b439-bc02dd9433a1" providerId="AD" clId="Web-{50A082DE-DB43-AB88-9A36-1006C200B193}" dt="2025-04-02T17:22:56.402" v="345" actId="1076"/>
          <ac:spMkLst>
            <pc:docMk/>
            <pc:sldMk cId="1608766413" sldId="2280"/>
            <ac:spMk id="23" creationId="{FA863349-8216-46F1-9C70-0B680174BBA2}"/>
          </ac:spMkLst>
        </pc:spChg>
        <pc:spChg chg="add del mod">
          <ac:chgData name="Christian Gillam" userId="S::cgill016@uottawa.ca::178737ef-0014-4dd8-b439-bc02dd9433a1" providerId="AD" clId="Web-{50A082DE-DB43-AB88-9A36-1006C200B193}" dt="2025-04-02T17:22:57.980" v="352"/>
          <ac:spMkLst>
            <pc:docMk/>
            <pc:sldMk cId="1608766413" sldId="2280"/>
            <ac:spMk id="24" creationId="{8A85D788-7C27-7E06-0D7B-E75E9B54A5F7}"/>
          </ac:spMkLst>
        </pc:spChg>
        <pc:spChg chg="add del mod">
          <ac:chgData name="Christian Gillam" userId="S::cgill016@uottawa.ca::178737ef-0014-4dd8-b439-bc02dd9433a1" providerId="AD" clId="Web-{50A082DE-DB43-AB88-9A36-1006C200B193}" dt="2025-04-02T17:22:59.402" v="353"/>
          <ac:spMkLst>
            <pc:docMk/>
            <pc:sldMk cId="1608766413" sldId="2280"/>
            <ac:spMk id="25" creationId="{DA89CDB9-FE34-2E73-A406-688731A2CA1A}"/>
          </ac:spMkLst>
        </pc:spChg>
        <pc:spChg chg="add del mod">
          <ac:chgData name="Christian Gillam" userId="S::cgill016@uottawa.ca::178737ef-0014-4dd8-b439-bc02dd9433a1" providerId="AD" clId="Web-{50A082DE-DB43-AB88-9A36-1006C200B193}" dt="2025-04-02T17:23:02.699" v="355"/>
          <ac:spMkLst>
            <pc:docMk/>
            <pc:sldMk cId="1608766413" sldId="2280"/>
            <ac:spMk id="26" creationId="{AA967956-FCAB-BD5F-1395-4669F9BC90A3}"/>
          </ac:spMkLst>
        </pc:spChg>
        <pc:spChg chg="add mod">
          <ac:chgData name="Christian Gillam" userId="S::cgill016@uottawa.ca::178737ef-0014-4dd8-b439-bc02dd9433a1" providerId="AD" clId="Web-{50A082DE-DB43-AB88-9A36-1006C200B193}" dt="2025-04-02T17:26:12.546" v="433" actId="20577"/>
          <ac:spMkLst>
            <pc:docMk/>
            <pc:sldMk cId="1608766413" sldId="2280"/>
            <ac:spMk id="27" creationId="{005E1469-FF6A-C8E8-A707-DDB8D2247547}"/>
          </ac:spMkLst>
        </pc:spChg>
        <pc:spChg chg="add mod">
          <ac:chgData name="Christian Gillam" userId="S::cgill016@uottawa.ca::178737ef-0014-4dd8-b439-bc02dd9433a1" providerId="AD" clId="Web-{50A082DE-DB43-AB88-9A36-1006C200B193}" dt="2025-04-02T17:24:12.278" v="393" actId="20577"/>
          <ac:spMkLst>
            <pc:docMk/>
            <pc:sldMk cId="1608766413" sldId="2280"/>
            <ac:spMk id="28" creationId="{FA79AFFE-7ECD-0A5A-F689-93AA4942093B}"/>
          </ac:spMkLst>
        </pc:spChg>
        <pc:spChg chg="add mod">
          <ac:chgData name="Christian Gillam" userId="S::cgill016@uottawa.ca::178737ef-0014-4dd8-b439-bc02dd9433a1" providerId="AD" clId="Web-{50A082DE-DB43-AB88-9A36-1006C200B193}" dt="2025-04-02T17:26:29.984" v="463" actId="20577"/>
          <ac:spMkLst>
            <pc:docMk/>
            <pc:sldMk cId="1608766413" sldId="2280"/>
            <ac:spMk id="29" creationId="{1D2D41FF-E945-9BD4-DB10-ECD97EBE82E0}"/>
          </ac:spMkLst>
        </pc:spChg>
        <pc:spChg chg="add del mod">
          <ac:chgData name="Christian Gillam" userId="S::cgill016@uottawa.ca::178737ef-0014-4dd8-b439-bc02dd9433a1" providerId="AD" clId="Web-{50A082DE-DB43-AB88-9A36-1006C200B193}" dt="2025-04-02T17:25:43.342" v="411"/>
          <ac:spMkLst>
            <pc:docMk/>
            <pc:sldMk cId="1608766413" sldId="2280"/>
            <ac:spMk id="30" creationId="{83DE7D00-B89B-1CE2-A6E9-51DBB25A5447}"/>
          </ac:spMkLst>
        </pc:spChg>
        <pc:spChg chg="add mod">
          <ac:chgData name="Christian Gillam" userId="S::cgill016@uottawa.ca::178737ef-0014-4dd8-b439-bc02dd9433a1" providerId="AD" clId="Web-{50A082DE-DB43-AB88-9A36-1006C200B193}" dt="2025-04-02T17:26:03.171" v="415" actId="1076"/>
          <ac:spMkLst>
            <pc:docMk/>
            <pc:sldMk cId="1608766413" sldId="2280"/>
            <ac:spMk id="32" creationId="{B87538FE-A6E8-CCC4-42F1-8B7D67D1E4CA}"/>
          </ac:spMkLst>
        </pc:spChg>
        <pc:spChg chg="add mod">
          <ac:chgData name="Christian Gillam" userId="S::cgill016@uottawa.ca::178737ef-0014-4dd8-b439-bc02dd9433a1" providerId="AD" clId="Web-{50A082DE-DB43-AB88-9A36-1006C200B193}" dt="2025-04-02T17:25:30.295" v="406" actId="1076"/>
          <ac:spMkLst>
            <pc:docMk/>
            <pc:sldMk cId="1608766413" sldId="2280"/>
            <ac:spMk id="34" creationId="{50091877-0CBA-B3E2-5789-B49FC7B31B26}"/>
          </ac:spMkLst>
        </pc:spChg>
        <pc:spChg chg="add mod">
          <ac:chgData name="Christian Gillam" userId="S::cgill016@uottawa.ca::178737ef-0014-4dd8-b439-bc02dd9433a1" providerId="AD" clId="Web-{50A082DE-DB43-AB88-9A36-1006C200B193}" dt="2025-04-02T17:25:34.280" v="407" actId="14100"/>
          <ac:spMkLst>
            <pc:docMk/>
            <pc:sldMk cId="1608766413" sldId="2280"/>
            <ac:spMk id="35" creationId="{E560CC23-FE03-BD2C-311A-C5274020C605}"/>
          </ac:spMkLst>
        </pc:spChg>
        <pc:spChg chg="add mod">
          <ac:chgData name="Christian Gillam" userId="S::cgill016@uottawa.ca::178737ef-0014-4dd8-b439-bc02dd9433a1" providerId="AD" clId="Web-{50A082DE-DB43-AB88-9A36-1006C200B193}" dt="2025-04-02T17:26:47.672" v="474" actId="20577"/>
          <ac:spMkLst>
            <pc:docMk/>
            <pc:sldMk cId="1608766413" sldId="2280"/>
            <ac:spMk id="36" creationId="{5B7AD90A-6FF4-8834-7204-9DFCDA331EF3}"/>
          </ac:spMkLst>
        </pc:spChg>
        <pc:spChg chg="add mod">
          <ac:chgData name="Christian Gillam" userId="S::cgill016@uottawa.ca::178737ef-0014-4dd8-b439-bc02dd9433a1" providerId="AD" clId="Web-{50A082DE-DB43-AB88-9A36-1006C200B193}" dt="2025-04-02T17:25:57.905" v="414" actId="1076"/>
          <ac:spMkLst>
            <pc:docMk/>
            <pc:sldMk cId="1608766413" sldId="2280"/>
            <ac:spMk id="37" creationId="{72E82B11-3CB7-08BE-7C9F-B8DC72E5341C}"/>
          </ac:spMkLst>
        </pc:spChg>
      </pc:sldChg>
      <pc:sldChg chg="add del replId">
        <pc:chgData name="Christian Gillam" userId="S::cgill016@uottawa.ca::178737ef-0014-4dd8-b439-bc02dd9433a1" providerId="AD" clId="Web-{50A082DE-DB43-AB88-9A36-1006C200B193}" dt="2025-04-02T17:22:29.464" v="323"/>
        <pc:sldMkLst>
          <pc:docMk/>
          <pc:sldMk cId="2201948122" sldId="2281"/>
        </pc:sldMkLst>
      </pc:sldChg>
    </pc:docChg>
  </pc:docChgLst>
  <pc:docChgLst>
    <pc:chgData name="Armaan Kumar" userId="S::akuma045@uottawa.ca::a351e95c-5450-4e5f-a2d5-0f74c8f92915" providerId="AD" clId="Web-{54F7917C-D000-512B-7D9E-CD5F3A4CE3FB}"/>
    <pc:docChg chg="modSld">
      <pc:chgData name="Armaan Kumar" userId="S::akuma045@uottawa.ca::a351e95c-5450-4e5f-a2d5-0f74c8f92915" providerId="AD" clId="Web-{54F7917C-D000-512B-7D9E-CD5F3A4CE3FB}" dt="2025-03-31T19:53:06.791" v="6"/>
      <pc:docMkLst>
        <pc:docMk/>
      </pc:docMkLst>
      <pc:sldChg chg="addSp delSp">
        <pc:chgData name="Armaan Kumar" userId="S::akuma045@uottawa.ca::a351e95c-5450-4e5f-a2d5-0f74c8f92915" providerId="AD" clId="Web-{54F7917C-D000-512B-7D9E-CD5F3A4CE3FB}" dt="2025-03-31T19:53:06.791" v="6"/>
        <pc:sldMkLst>
          <pc:docMk/>
          <pc:sldMk cId="1631883058" sldId="280"/>
        </pc:sldMkLst>
        <pc:graphicFrameChg chg="add del">
          <ac:chgData name="Armaan Kumar" userId="S::akuma045@uottawa.ca::a351e95c-5450-4e5f-a2d5-0f74c8f92915" providerId="AD" clId="Web-{54F7917C-D000-512B-7D9E-CD5F3A4CE3FB}" dt="2025-03-31T19:53:02.807" v="5"/>
          <ac:graphicFrameMkLst>
            <pc:docMk/>
            <pc:sldMk cId="1631883058" sldId="280"/>
            <ac:graphicFrameMk id="2" creationId="{DA895DAE-65BB-43D8-8A59-2DB92BD48D5C}"/>
          </ac:graphicFrameMkLst>
        </pc:graphicFrameChg>
        <pc:graphicFrameChg chg="add del">
          <ac:chgData name="Armaan Kumar" userId="S::akuma045@uottawa.ca::a351e95c-5450-4e5f-a2d5-0f74c8f92915" providerId="AD" clId="Web-{54F7917C-D000-512B-7D9E-CD5F3A4CE3FB}" dt="2025-03-31T19:53:06.791" v="6"/>
          <ac:graphicFrameMkLst>
            <pc:docMk/>
            <pc:sldMk cId="1631883058" sldId="280"/>
            <ac:graphicFrameMk id="106" creationId="{DA895DAE-65BB-43D8-8A59-2DB92BD48D5C}"/>
          </ac:graphicFrameMkLst>
        </pc:graphicFrameChg>
      </pc:sldChg>
    </pc:docChg>
  </pc:docChgLst>
  <pc:docChgLst>
    <pc:chgData name="Michael Penney" userId="S::mpenn030@uottawa.ca::4f9b80c6-1a49-4d2e-92c5-79759f092c89" providerId="AD" clId="Web-{7108CC09-BDC9-5772-77DE-008C43BFB93B}"/>
    <pc:docChg chg="addSld delSld modSld">
      <pc:chgData name="Michael Penney" userId="S::mpenn030@uottawa.ca::4f9b80c6-1a49-4d2e-92c5-79759f092c89" providerId="AD" clId="Web-{7108CC09-BDC9-5772-77DE-008C43BFB93B}" dt="2025-03-23T22:27:54.262" v="34"/>
      <pc:docMkLst>
        <pc:docMk/>
      </pc:docMkLst>
      <pc:sldChg chg="del">
        <pc:chgData name="Michael Penney" userId="S::mpenn030@uottawa.ca::4f9b80c6-1a49-4d2e-92c5-79759f092c89" providerId="AD" clId="Web-{7108CC09-BDC9-5772-77DE-008C43BFB93B}" dt="2025-03-23T22:17:25.105" v="0"/>
        <pc:sldMkLst>
          <pc:docMk/>
          <pc:sldMk cId="905377786" sldId="260"/>
        </pc:sldMkLst>
      </pc:sldChg>
      <pc:sldChg chg="addSp modSp add replId">
        <pc:chgData name="Michael Penney" userId="S::mpenn030@uottawa.ca::4f9b80c6-1a49-4d2e-92c5-79759f092c89" providerId="AD" clId="Web-{7108CC09-BDC9-5772-77DE-008C43BFB93B}" dt="2025-03-23T22:27:54.262" v="34"/>
        <pc:sldMkLst>
          <pc:docMk/>
          <pc:sldMk cId="3442849471" sldId="301"/>
        </pc:sldMkLst>
        <pc:spChg chg="add mod">
          <ac:chgData name="Michael Penney" userId="S::mpenn030@uottawa.ca::4f9b80c6-1a49-4d2e-92c5-79759f092c89" providerId="AD" clId="Web-{7108CC09-BDC9-5772-77DE-008C43BFB93B}" dt="2025-03-23T22:27:54.262" v="34"/>
          <ac:spMkLst>
            <pc:docMk/>
            <pc:sldMk cId="3442849471" sldId="301"/>
            <ac:spMk id="7" creationId="{CB3C4EE9-017D-2E61-B70C-76D1F249B61E}"/>
          </ac:spMkLst>
        </pc:spChg>
      </pc:sldChg>
      <pc:sldChg chg="addSp modSp add replId">
        <pc:chgData name="Michael Penney" userId="S::mpenn030@uottawa.ca::4f9b80c6-1a49-4d2e-92c5-79759f092c89" providerId="AD" clId="Web-{7108CC09-BDC9-5772-77DE-008C43BFB93B}" dt="2025-03-23T22:27:38.261" v="32"/>
        <pc:sldMkLst>
          <pc:docMk/>
          <pc:sldMk cId="1506442824" sldId="302"/>
        </pc:sldMkLst>
        <pc:spChg chg="add mod">
          <ac:chgData name="Michael Penney" userId="S::mpenn030@uottawa.ca::4f9b80c6-1a49-4d2e-92c5-79759f092c89" providerId="AD" clId="Web-{7108CC09-BDC9-5772-77DE-008C43BFB93B}" dt="2025-03-23T22:27:38.261" v="32"/>
          <ac:spMkLst>
            <pc:docMk/>
            <pc:sldMk cId="1506442824" sldId="302"/>
            <ac:spMk id="8" creationId="{63D1F0C7-2298-F350-7984-C026F7E517F2}"/>
          </ac:spMkLst>
        </pc:spChg>
        <pc:spChg chg="add mod">
          <ac:chgData name="Michael Penney" userId="S::mpenn030@uottawa.ca::4f9b80c6-1a49-4d2e-92c5-79759f092c89" providerId="AD" clId="Web-{7108CC09-BDC9-5772-77DE-008C43BFB93B}" dt="2025-03-23T22:27:28.011" v="31"/>
          <ac:spMkLst>
            <pc:docMk/>
            <pc:sldMk cId="1506442824" sldId="302"/>
            <ac:spMk id="9" creationId="{F7F1F161-A3D2-CEDC-CA31-1C3457FFA2E7}"/>
          </ac:spMkLst>
        </pc:spChg>
      </pc:sldChg>
      <pc:sldChg chg="addSp modSp add replId">
        <pc:chgData name="Michael Penney" userId="S::mpenn030@uottawa.ca::4f9b80c6-1a49-4d2e-92c5-79759f092c89" providerId="AD" clId="Web-{7108CC09-BDC9-5772-77DE-008C43BFB93B}" dt="2025-03-23T22:27:49.293" v="33"/>
        <pc:sldMkLst>
          <pc:docMk/>
          <pc:sldMk cId="1953456580" sldId="303"/>
        </pc:sldMkLst>
        <pc:spChg chg="add mod">
          <ac:chgData name="Michael Penney" userId="S::mpenn030@uottawa.ca::4f9b80c6-1a49-4d2e-92c5-79759f092c89" providerId="AD" clId="Web-{7108CC09-BDC9-5772-77DE-008C43BFB93B}" dt="2025-03-23T22:27:49.293" v="33"/>
          <ac:spMkLst>
            <pc:docMk/>
            <pc:sldMk cId="1953456580" sldId="303"/>
            <ac:spMk id="8" creationId="{2A2E6EC0-98AF-51FA-F935-5345F4BCF684}"/>
          </ac:spMkLst>
        </pc:spChg>
      </pc:sldChg>
    </pc:docChg>
  </pc:docChgLst>
  <pc:docChgLst>
    <pc:chgData name="Armaan Kumar" userId="a351e95c-5450-4e5f-a2d5-0f74c8f92915" providerId="ADAL" clId="{168FE2C6-A561-4C00-8270-E1D83101A49A}"/>
    <pc:docChg chg="undo redo custSel addSld delSld modSld sldOrd modMainMaster">
      <pc:chgData name="Armaan Kumar" userId="a351e95c-5450-4e5f-a2d5-0f74c8f92915" providerId="ADAL" clId="{168FE2C6-A561-4C00-8270-E1D83101A49A}" dt="2025-04-02T13:48:23.489" v="19473" actId="20577"/>
      <pc:docMkLst>
        <pc:docMk/>
      </pc:docMkLst>
      <pc:sldChg chg="modSp mod">
        <pc:chgData name="Armaan Kumar" userId="a351e95c-5450-4e5f-a2d5-0f74c8f92915" providerId="ADAL" clId="{168FE2C6-A561-4C00-8270-E1D83101A49A}" dt="2025-03-27T01:54:31.947" v="6713" actId="207"/>
        <pc:sldMkLst>
          <pc:docMk/>
          <pc:sldMk cId="1568165937" sldId="257"/>
        </pc:sldMkLst>
      </pc:sldChg>
      <pc:sldChg chg="modSp mod">
        <pc:chgData name="Armaan Kumar" userId="a351e95c-5450-4e5f-a2d5-0f74c8f92915" providerId="ADAL" clId="{168FE2C6-A561-4C00-8270-E1D83101A49A}" dt="2025-03-31T02:37:42.089" v="11853"/>
        <pc:sldMkLst>
          <pc:docMk/>
          <pc:sldMk cId="2614155028" sldId="257"/>
        </pc:sldMkLst>
        <pc:graphicFrameChg chg="mod modGraphic">
          <ac:chgData name="Armaan Kumar" userId="a351e95c-5450-4e5f-a2d5-0f74c8f92915" providerId="ADAL" clId="{168FE2C6-A561-4C00-8270-E1D83101A49A}" dt="2025-03-31T02:37:42.089" v="11853"/>
          <ac:graphicFrameMkLst>
            <pc:docMk/>
            <pc:sldMk cId="2614155028" sldId="257"/>
            <ac:graphicFrameMk id="13" creationId="{3AE01B04-D30D-0543-8971-49EB375687B8}"/>
          </ac:graphicFrameMkLst>
        </pc:graphicFrameChg>
      </pc:sldChg>
      <pc:sldChg chg="addSp delSp modSp del mod">
        <pc:chgData name="Armaan Kumar" userId="a351e95c-5450-4e5f-a2d5-0f74c8f92915" providerId="ADAL" clId="{168FE2C6-A561-4C00-8270-E1D83101A49A}" dt="2025-03-24T20:35:45.318" v="5313" actId="47"/>
        <pc:sldMkLst>
          <pc:docMk/>
          <pc:sldMk cId="54805512" sldId="259"/>
        </pc:sldMkLst>
      </pc:sldChg>
      <pc:sldChg chg="del">
        <pc:chgData name="Armaan Kumar" userId="a351e95c-5450-4e5f-a2d5-0f74c8f92915" providerId="ADAL" clId="{168FE2C6-A561-4C00-8270-E1D83101A49A}" dt="2025-03-23T02:27:41.805" v="529" actId="47"/>
        <pc:sldMkLst>
          <pc:docMk/>
          <pc:sldMk cId="1819829038" sldId="262"/>
        </pc:sldMkLst>
      </pc:sldChg>
      <pc:sldChg chg="modSp mod ord">
        <pc:chgData name="Armaan Kumar" userId="a351e95c-5450-4e5f-a2d5-0f74c8f92915" providerId="ADAL" clId="{168FE2C6-A561-4C00-8270-E1D83101A49A}" dt="2025-04-02T02:19:30.332" v="18740" actId="1076"/>
        <pc:sldMkLst>
          <pc:docMk/>
          <pc:sldMk cId="692225315" sldId="263"/>
        </pc:sldMkLst>
        <pc:spChg chg="mod">
          <ac:chgData name="Armaan Kumar" userId="a351e95c-5450-4e5f-a2d5-0f74c8f92915" providerId="ADAL" clId="{168FE2C6-A561-4C00-8270-E1D83101A49A}" dt="2025-04-02T02:19:30.332" v="18740" actId="1076"/>
          <ac:spMkLst>
            <pc:docMk/>
            <pc:sldMk cId="692225315" sldId="263"/>
            <ac:spMk id="3" creationId="{3CFE9DF7-8DE1-1BF0-6868-FCE624383A57}"/>
          </ac:spMkLst>
        </pc:spChg>
        <pc:graphicFrameChg chg="mod modGraphic">
          <ac:chgData name="Armaan Kumar" userId="a351e95c-5450-4e5f-a2d5-0f74c8f92915" providerId="ADAL" clId="{168FE2C6-A561-4C00-8270-E1D83101A49A}" dt="2025-04-02T01:14:43.662" v="17886"/>
          <ac:graphicFrameMkLst>
            <pc:docMk/>
            <pc:sldMk cId="692225315" sldId="263"/>
            <ac:graphicFrameMk id="6" creationId="{5397BEAF-EE75-364C-298A-B42E89EE6DD0}"/>
          </ac:graphicFrameMkLst>
        </pc:graphicFrameChg>
      </pc:sldChg>
      <pc:sldChg chg="addSp delSp modSp mod">
        <pc:chgData name="Armaan Kumar" userId="a351e95c-5450-4e5f-a2d5-0f74c8f92915" providerId="ADAL" clId="{168FE2C6-A561-4C00-8270-E1D83101A49A}" dt="2025-03-31T19:53:22.489" v="12517" actId="1076"/>
        <pc:sldMkLst>
          <pc:docMk/>
          <pc:sldMk cId="166744532" sldId="264"/>
        </pc:sldMkLst>
        <pc:spChg chg="mod">
          <ac:chgData name="Armaan Kumar" userId="a351e95c-5450-4e5f-a2d5-0f74c8f92915" providerId="ADAL" clId="{168FE2C6-A561-4C00-8270-E1D83101A49A}" dt="2025-03-25T16:20:13.923" v="5599" actId="313"/>
          <ac:spMkLst>
            <pc:docMk/>
            <pc:sldMk cId="166744532" sldId="264"/>
            <ac:spMk id="2" creationId="{CC09C3B4-E6C8-4628-5968-A902BDD2E703}"/>
          </ac:spMkLst>
        </pc:spChg>
        <pc:spChg chg="add mod">
          <ac:chgData name="Armaan Kumar" userId="a351e95c-5450-4e5f-a2d5-0f74c8f92915" providerId="ADAL" clId="{168FE2C6-A561-4C00-8270-E1D83101A49A}" dt="2025-03-31T19:45:11.866" v="12476" actId="1076"/>
          <ac:spMkLst>
            <pc:docMk/>
            <pc:sldMk cId="166744532" sldId="264"/>
            <ac:spMk id="3" creationId="{39BC2BF8-A13B-C6D0-8F19-D3010761DC44}"/>
          </ac:spMkLst>
        </pc:spChg>
        <pc:spChg chg="mod">
          <ac:chgData name="Armaan Kumar" userId="a351e95c-5450-4e5f-a2d5-0f74c8f92915" providerId="ADAL" clId="{168FE2C6-A561-4C00-8270-E1D83101A49A}" dt="2025-03-23T04:38:52.728" v="1860"/>
          <ac:spMkLst>
            <pc:docMk/>
            <pc:sldMk cId="166744532" sldId="264"/>
            <ac:spMk id="5" creationId="{F91D284C-3DDC-D290-72C3-F9A1D25AD854}"/>
          </ac:spMkLst>
        </pc:spChg>
        <pc:spChg chg="add mod">
          <ac:chgData name="Armaan Kumar" userId="a351e95c-5450-4e5f-a2d5-0f74c8f92915" providerId="ADAL" clId="{168FE2C6-A561-4C00-8270-E1D83101A49A}" dt="2025-03-31T19:53:22.489" v="12517" actId="1076"/>
          <ac:spMkLst>
            <pc:docMk/>
            <pc:sldMk cId="166744532" sldId="264"/>
            <ac:spMk id="6" creationId="{324B433E-883D-CCC7-E0ED-E41B04B19151}"/>
          </ac:spMkLst>
        </pc:spChg>
        <pc:spChg chg="add mod">
          <ac:chgData name="Armaan Kumar" userId="a351e95c-5450-4e5f-a2d5-0f74c8f92915" providerId="ADAL" clId="{168FE2C6-A561-4C00-8270-E1D83101A49A}" dt="2025-03-31T19:53:22.076" v="12516" actId="1035"/>
          <ac:spMkLst>
            <pc:docMk/>
            <pc:sldMk cId="166744532" sldId="264"/>
            <ac:spMk id="7" creationId="{9DF7396B-3997-94CF-3A8D-F2DE1471F49A}"/>
          </ac:spMkLst>
        </pc:spChg>
        <pc:spChg chg="add mod ord">
          <ac:chgData name="Armaan Kumar" userId="a351e95c-5450-4e5f-a2d5-0f74c8f92915" providerId="ADAL" clId="{168FE2C6-A561-4C00-8270-E1D83101A49A}" dt="2025-03-31T19:41:45.701" v="12450" actId="34135"/>
          <ac:spMkLst>
            <pc:docMk/>
            <pc:sldMk cId="166744532" sldId="264"/>
            <ac:spMk id="8" creationId="{9066229D-2F3E-6042-BB79-7968DE364688}"/>
          </ac:spMkLst>
        </pc:spChg>
        <pc:spChg chg="add del mod">
          <ac:chgData name="Armaan Kumar" userId="a351e95c-5450-4e5f-a2d5-0f74c8f92915" providerId="ADAL" clId="{168FE2C6-A561-4C00-8270-E1D83101A49A}" dt="2025-03-31T04:03:14.110" v="12365" actId="1076"/>
          <ac:spMkLst>
            <pc:docMk/>
            <pc:sldMk cId="166744532" sldId="264"/>
            <ac:spMk id="10" creationId="{DEEB3EBC-463F-9B1E-84CB-02FD3CDD3C95}"/>
          </ac:spMkLst>
        </pc:spChg>
        <pc:spChg chg="add del mod">
          <ac:chgData name="Armaan Kumar" userId="a351e95c-5450-4e5f-a2d5-0f74c8f92915" providerId="ADAL" clId="{168FE2C6-A561-4C00-8270-E1D83101A49A}" dt="2025-03-31T04:03:23.052" v="12366" actId="1076"/>
          <ac:spMkLst>
            <pc:docMk/>
            <pc:sldMk cId="166744532" sldId="264"/>
            <ac:spMk id="11" creationId="{CB3AA733-0FCF-11A5-803E-ACEDC44CBA1B}"/>
          </ac:spMkLst>
        </pc:spChg>
        <pc:spChg chg="add del mod">
          <ac:chgData name="Armaan Kumar" userId="a351e95c-5450-4e5f-a2d5-0f74c8f92915" providerId="ADAL" clId="{168FE2C6-A561-4C00-8270-E1D83101A49A}" dt="2025-03-31T04:03:31.577" v="12367" actId="1076"/>
          <ac:spMkLst>
            <pc:docMk/>
            <pc:sldMk cId="166744532" sldId="264"/>
            <ac:spMk id="14" creationId="{96D9FDDA-F531-B8E9-0B25-034A7590237A}"/>
          </ac:spMkLst>
        </pc:spChg>
        <pc:spChg chg="add del mod">
          <ac:chgData name="Armaan Kumar" userId="a351e95c-5450-4e5f-a2d5-0f74c8f92915" providerId="ADAL" clId="{168FE2C6-A561-4C00-8270-E1D83101A49A}" dt="2025-03-30T21:13:34.481" v="10184" actId="1076"/>
          <ac:spMkLst>
            <pc:docMk/>
            <pc:sldMk cId="166744532" sldId="264"/>
            <ac:spMk id="49" creationId="{B03B273A-5115-F79C-601F-A451BE52391E}"/>
          </ac:spMkLst>
        </pc:spChg>
        <pc:spChg chg="add mod">
          <ac:chgData name="Armaan Kumar" userId="a351e95c-5450-4e5f-a2d5-0f74c8f92915" providerId="ADAL" clId="{168FE2C6-A561-4C00-8270-E1D83101A49A}" dt="2025-03-30T21:13:36.640" v="10185" actId="1076"/>
          <ac:spMkLst>
            <pc:docMk/>
            <pc:sldMk cId="166744532" sldId="264"/>
            <ac:spMk id="53" creationId="{61B53A48-0F32-E788-738D-481A7A594D5B}"/>
          </ac:spMkLst>
        </pc:spChg>
        <pc:spChg chg="add mod">
          <ac:chgData name="Armaan Kumar" userId="a351e95c-5450-4e5f-a2d5-0f74c8f92915" providerId="ADAL" clId="{168FE2C6-A561-4C00-8270-E1D83101A49A}" dt="2025-03-31T19:45:02.565" v="12475" actId="1076"/>
          <ac:spMkLst>
            <pc:docMk/>
            <pc:sldMk cId="166744532" sldId="264"/>
            <ac:spMk id="54" creationId="{981FD19C-66DF-76FA-904C-780A6E6F63D8}"/>
          </ac:spMkLst>
        </pc:spChg>
        <pc:spChg chg="add mod">
          <ac:chgData name="Armaan Kumar" userId="a351e95c-5450-4e5f-a2d5-0f74c8f92915" providerId="ADAL" clId="{168FE2C6-A561-4C00-8270-E1D83101A49A}" dt="2025-03-30T21:13:38.319" v="10186" actId="1076"/>
          <ac:spMkLst>
            <pc:docMk/>
            <pc:sldMk cId="166744532" sldId="264"/>
            <ac:spMk id="55" creationId="{E9FC0F9D-9F4E-AE0E-B531-1A06314ACB48}"/>
          </ac:spMkLst>
        </pc:spChg>
        <pc:spChg chg="add mod">
          <ac:chgData name="Armaan Kumar" userId="a351e95c-5450-4e5f-a2d5-0f74c8f92915" providerId="ADAL" clId="{168FE2C6-A561-4C00-8270-E1D83101A49A}" dt="2025-03-31T19:42:05.555" v="12454" actId="1076"/>
          <ac:spMkLst>
            <pc:docMk/>
            <pc:sldMk cId="166744532" sldId="264"/>
            <ac:spMk id="77" creationId="{A4B6A87F-6A32-56D9-C2B7-3C1507498AAA}"/>
          </ac:spMkLst>
        </pc:spChg>
        <pc:spChg chg="add mod">
          <ac:chgData name="Armaan Kumar" userId="a351e95c-5450-4e5f-a2d5-0f74c8f92915" providerId="ADAL" clId="{168FE2C6-A561-4C00-8270-E1D83101A49A}" dt="2025-03-31T19:45:02.565" v="12475" actId="1076"/>
          <ac:spMkLst>
            <pc:docMk/>
            <pc:sldMk cId="166744532" sldId="264"/>
            <ac:spMk id="78" creationId="{06B5999C-D50A-3012-64A0-3002635E8FC1}"/>
          </ac:spMkLst>
        </pc:spChg>
        <pc:spChg chg="add mod">
          <ac:chgData name="Armaan Kumar" userId="a351e95c-5450-4e5f-a2d5-0f74c8f92915" providerId="ADAL" clId="{168FE2C6-A561-4C00-8270-E1D83101A49A}" dt="2025-03-31T19:44:27.032" v="12474" actId="1076"/>
          <ac:spMkLst>
            <pc:docMk/>
            <pc:sldMk cId="166744532" sldId="264"/>
            <ac:spMk id="79" creationId="{E3D5E482-F2FB-5342-1062-75A68768CC2C}"/>
          </ac:spMkLst>
        </pc:spChg>
        <pc:spChg chg="add mod">
          <ac:chgData name="Armaan Kumar" userId="a351e95c-5450-4e5f-a2d5-0f74c8f92915" providerId="ADAL" clId="{168FE2C6-A561-4C00-8270-E1D83101A49A}" dt="2025-03-31T19:45:02.565" v="12475" actId="1076"/>
          <ac:spMkLst>
            <pc:docMk/>
            <pc:sldMk cId="166744532" sldId="264"/>
            <ac:spMk id="80" creationId="{ED5D0CD0-D157-5E1C-A824-EC834EF365AE}"/>
          </ac:spMkLst>
        </pc:spChg>
        <pc:spChg chg="add mod">
          <ac:chgData name="Armaan Kumar" userId="a351e95c-5450-4e5f-a2d5-0f74c8f92915" providerId="ADAL" clId="{168FE2C6-A561-4C00-8270-E1D83101A49A}" dt="2025-03-31T19:44:27.032" v="12474" actId="1076"/>
          <ac:spMkLst>
            <pc:docMk/>
            <pc:sldMk cId="166744532" sldId="264"/>
            <ac:spMk id="81" creationId="{498C1507-7AA3-EE4F-9209-000DF302BEA3}"/>
          </ac:spMkLst>
        </pc:spChg>
        <pc:spChg chg="add mod">
          <ac:chgData name="Armaan Kumar" userId="a351e95c-5450-4e5f-a2d5-0f74c8f92915" providerId="ADAL" clId="{168FE2C6-A561-4C00-8270-E1D83101A49A}" dt="2025-03-30T21:10:24.783" v="10177" actId="1076"/>
          <ac:spMkLst>
            <pc:docMk/>
            <pc:sldMk cId="166744532" sldId="264"/>
            <ac:spMk id="91" creationId="{AE3FA78C-4910-BFDF-D3E6-D5929349FE61}"/>
          </ac:spMkLst>
        </pc:spChg>
        <pc:cxnChg chg="add del mod">
          <ac:chgData name="Armaan Kumar" userId="a351e95c-5450-4e5f-a2d5-0f74c8f92915" providerId="ADAL" clId="{168FE2C6-A561-4C00-8270-E1D83101A49A}" dt="2025-03-30T21:13:44.520" v="10187" actId="1076"/>
          <ac:cxnSpMkLst>
            <pc:docMk/>
            <pc:sldMk cId="166744532" sldId="264"/>
            <ac:cxnSpMk id="16" creationId="{000B35CD-11EF-F023-2124-B22813CBF1B4}"/>
          </ac:cxnSpMkLst>
        </pc:cxnChg>
        <pc:cxnChg chg="add del mod">
          <ac:chgData name="Armaan Kumar" userId="a351e95c-5450-4e5f-a2d5-0f74c8f92915" providerId="ADAL" clId="{168FE2C6-A561-4C00-8270-E1D83101A49A}" dt="2025-03-30T21:13:48.712" v="10188" actId="1076"/>
          <ac:cxnSpMkLst>
            <pc:docMk/>
            <pc:sldMk cId="166744532" sldId="264"/>
            <ac:cxnSpMk id="17" creationId="{8E9A6098-81A8-5690-7C14-865942E7AAE1}"/>
          </ac:cxnSpMkLst>
        </pc:cxnChg>
        <pc:cxnChg chg="add del mod">
          <ac:chgData name="Armaan Kumar" userId="a351e95c-5450-4e5f-a2d5-0f74c8f92915" providerId="ADAL" clId="{168FE2C6-A561-4C00-8270-E1D83101A49A}" dt="2025-03-30T21:14:11.827" v="10190" actId="14100"/>
          <ac:cxnSpMkLst>
            <pc:docMk/>
            <pc:sldMk cId="166744532" sldId="264"/>
            <ac:cxnSpMk id="18" creationId="{D41DC645-DF21-C804-C82B-391F70078C31}"/>
          </ac:cxnSpMkLst>
        </pc:cxnChg>
        <pc:cxnChg chg="add mod">
          <ac:chgData name="Armaan Kumar" userId="a351e95c-5450-4e5f-a2d5-0f74c8f92915" providerId="ADAL" clId="{168FE2C6-A561-4C00-8270-E1D83101A49A}" dt="2025-03-30T21:07:54.856" v="10152" actId="1076"/>
          <ac:cxnSpMkLst>
            <pc:docMk/>
            <pc:sldMk cId="166744532" sldId="264"/>
            <ac:cxnSpMk id="59" creationId="{BB11C7C3-BE70-A1AB-48C9-62D5B7EE97A3}"/>
          </ac:cxnSpMkLst>
        </pc:cxnChg>
        <pc:cxnChg chg="add mod">
          <ac:chgData name="Armaan Kumar" userId="a351e95c-5450-4e5f-a2d5-0f74c8f92915" providerId="ADAL" clId="{168FE2C6-A561-4C00-8270-E1D83101A49A}" dt="2025-03-30T21:08:31.454" v="10159" actId="1076"/>
          <ac:cxnSpMkLst>
            <pc:docMk/>
            <pc:sldMk cId="166744532" sldId="264"/>
            <ac:cxnSpMk id="61" creationId="{53BABA9B-2807-329F-5C0D-2844198E27B8}"/>
          </ac:cxnSpMkLst>
        </pc:cxnChg>
      </pc:sldChg>
      <pc:sldChg chg="addSp delSp modSp mod">
        <pc:chgData name="Armaan Kumar" userId="a351e95c-5450-4e5f-a2d5-0f74c8f92915" providerId="ADAL" clId="{168FE2C6-A561-4C00-8270-E1D83101A49A}" dt="2025-03-30T21:22:43.599" v="10234" actId="478"/>
        <pc:sldMkLst>
          <pc:docMk/>
          <pc:sldMk cId="3941336180" sldId="265"/>
        </pc:sldMkLst>
        <pc:spChg chg="mod">
          <ac:chgData name="Armaan Kumar" userId="a351e95c-5450-4e5f-a2d5-0f74c8f92915" providerId="ADAL" clId="{168FE2C6-A561-4C00-8270-E1D83101A49A}" dt="2025-03-25T16:19:47.002" v="5576" actId="20577"/>
          <ac:spMkLst>
            <pc:docMk/>
            <pc:sldMk cId="3941336180" sldId="265"/>
            <ac:spMk id="2" creationId="{7A48B04A-7D5F-06C6-2CA2-48576A6CE26F}"/>
          </ac:spMkLst>
        </pc:spChg>
        <pc:spChg chg="mod">
          <ac:chgData name="Armaan Kumar" userId="a351e95c-5450-4e5f-a2d5-0f74c8f92915" providerId="ADAL" clId="{168FE2C6-A561-4C00-8270-E1D83101A49A}" dt="2025-03-27T00:19:11.292" v="6063"/>
          <ac:spMkLst>
            <pc:docMk/>
            <pc:sldMk cId="3941336180" sldId="265"/>
            <ac:spMk id="5" creationId="{0AE506EC-4460-9D48-5963-0800B6AC7716}"/>
          </ac:spMkLst>
        </pc:spChg>
        <pc:spChg chg="mod">
          <ac:chgData name="Armaan Kumar" userId="a351e95c-5450-4e5f-a2d5-0f74c8f92915" providerId="ADAL" clId="{168FE2C6-A561-4C00-8270-E1D83101A49A}" dt="2025-03-26T19:48:22.520" v="5914" actId="207"/>
          <ac:spMkLst>
            <pc:docMk/>
            <pc:sldMk cId="3941336180" sldId="265"/>
            <ac:spMk id="31" creationId="{6C088A95-939B-A734-3C94-EAFF1C9CB805}"/>
          </ac:spMkLst>
        </pc:spChg>
        <pc:cxnChg chg="mod">
          <ac:chgData name="Armaan Kumar" userId="a351e95c-5450-4e5f-a2d5-0f74c8f92915" providerId="ADAL" clId="{168FE2C6-A561-4C00-8270-E1D83101A49A}" dt="2025-03-30T19:42:25.816" v="10029" actId="1076"/>
          <ac:cxnSpMkLst>
            <pc:docMk/>
            <pc:sldMk cId="3941336180" sldId="265"/>
            <ac:cxnSpMk id="43" creationId="{3C9B7C22-AE16-0F41-943E-E1D4445D099A}"/>
          </ac:cxnSpMkLst>
        </pc:cxnChg>
        <pc:cxnChg chg="mod">
          <ac:chgData name="Armaan Kumar" userId="a351e95c-5450-4e5f-a2d5-0f74c8f92915" providerId="ADAL" clId="{168FE2C6-A561-4C00-8270-E1D83101A49A}" dt="2025-03-30T19:42:25.452" v="10028" actId="1076"/>
          <ac:cxnSpMkLst>
            <pc:docMk/>
            <pc:sldMk cId="3941336180" sldId="265"/>
            <ac:cxnSpMk id="44" creationId="{94BCCCBC-9CC3-3CB1-5611-A7FD2C6E8189}"/>
          </ac:cxnSpMkLst>
        </pc:cxnChg>
      </pc:sldChg>
      <pc:sldChg chg="addSp delSp modSp mod">
        <pc:chgData name="Armaan Kumar" userId="a351e95c-5450-4e5f-a2d5-0f74c8f92915" providerId="ADAL" clId="{168FE2C6-A561-4C00-8270-E1D83101A49A}" dt="2025-03-31T03:05:34.128" v="12125" actId="1076"/>
        <pc:sldMkLst>
          <pc:docMk/>
          <pc:sldMk cId="1752903940" sldId="267"/>
        </pc:sldMkLst>
      </pc:sldChg>
      <pc:sldChg chg="addSp delSp modSp mod">
        <pc:chgData name="Armaan Kumar" userId="a351e95c-5450-4e5f-a2d5-0f74c8f92915" providerId="ADAL" clId="{168FE2C6-A561-4C00-8270-E1D83101A49A}" dt="2025-03-31T16:00:07.690" v="12442" actId="14100"/>
        <pc:sldMkLst>
          <pc:docMk/>
          <pc:sldMk cId="3431454537" sldId="268"/>
        </pc:sldMkLst>
        <pc:spChg chg="mod">
          <ac:chgData name="Armaan Kumar" userId="a351e95c-5450-4e5f-a2d5-0f74c8f92915" providerId="ADAL" clId="{168FE2C6-A561-4C00-8270-E1D83101A49A}" dt="2025-03-31T01:03:55.993" v="11521" actId="1076"/>
          <ac:spMkLst>
            <pc:docMk/>
            <pc:sldMk cId="3431454537" sldId="268"/>
            <ac:spMk id="7" creationId="{0FD2EB78-C867-95B1-2CEB-B8D1A1AA4BCD}"/>
          </ac:spMkLst>
        </pc:spChg>
        <pc:spChg chg="mod">
          <ac:chgData name="Armaan Kumar" userId="a351e95c-5450-4e5f-a2d5-0f74c8f92915" providerId="ADAL" clId="{168FE2C6-A561-4C00-8270-E1D83101A49A}" dt="2025-03-30T23:45:28.513" v="10614" actId="1076"/>
          <ac:spMkLst>
            <pc:docMk/>
            <pc:sldMk cId="3431454537" sldId="268"/>
            <ac:spMk id="9" creationId="{FB0B7B8C-8AB8-DB65-7949-C7393D4E7804}"/>
          </ac:spMkLst>
        </pc:spChg>
        <pc:spChg chg="mod">
          <ac:chgData name="Armaan Kumar" userId="a351e95c-5450-4e5f-a2d5-0f74c8f92915" providerId="ADAL" clId="{168FE2C6-A561-4C00-8270-E1D83101A49A}" dt="2025-03-31T03:04:58.781" v="12118" actId="1076"/>
          <ac:spMkLst>
            <pc:docMk/>
            <pc:sldMk cId="3431454537" sldId="268"/>
            <ac:spMk id="15" creationId="{13428C1C-C0C3-74DF-062C-E56FE0DDC056}"/>
          </ac:spMkLst>
        </pc:spChg>
        <pc:spChg chg="mod">
          <ac:chgData name="Armaan Kumar" userId="a351e95c-5450-4e5f-a2d5-0f74c8f92915" providerId="ADAL" clId="{168FE2C6-A561-4C00-8270-E1D83101A49A}" dt="2025-03-30T23:37:57.340" v="10471" actId="1076"/>
          <ac:spMkLst>
            <pc:docMk/>
            <pc:sldMk cId="3431454537" sldId="268"/>
            <ac:spMk id="17" creationId="{D5B9DF22-96AC-CF56-A0DA-8D8C079ECF54}"/>
          </ac:spMkLst>
        </pc:spChg>
        <pc:spChg chg="mod">
          <ac:chgData name="Armaan Kumar" userId="a351e95c-5450-4e5f-a2d5-0f74c8f92915" providerId="ADAL" clId="{168FE2C6-A561-4C00-8270-E1D83101A49A}" dt="2025-03-31T03:05:01.936" v="12119" actId="1076"/>
          <ac:spMkLst>
            <pc:docMk/>
            <pc:sldMk cId="3431454537" sldId="268"/>
            <ac:spMk id="19" creationId="{C7F56107-E675-443C-E027-356671C64DE5}"/>
          </ac:spMkLst>
        </pc:spChg>
        <pc:spChg chg="mod">
          <ac:chgData name="Armaan Kumar" userId="a351e95c-5450-4e5f-a2d5-0f74c8f92915" providerId="ADAL" clId="{168FE2C6-A561-4C00-8270-E1D83101A49A}" dt="2025-03-30T23:37:57.340" v="10471" actId="1076"/>
          <ac:spMkLst>
            <pc:docMk/>
            <pc:sldMk cId="3431454537" sldId="268"/>
            <ac:spMk id="20" creationId="{235B7C5E-48A6-CD75-6E4C-E0576D647715}"/>
          </ac:spMkLst>
        </pc:spChg>
        <pc:spChg chg="add mod ord">
          <ac:chgData name="Armaan Kumar" userId="a351e95c-5450-4e5f-a2d5-0f74c8f92915" providerId="ADAL" clId="{168FE2C6-A561-4C00-8270-E1D83101A49A}" dt="2025-03-31T16:00:07.690" v="12442" actId="14100"/>
          <ac:spMkLst>
            <pc:docMk/>
            <pc:sldMk cId="3431454537" sldId="268"/>
            <ac:spMk id="25" creationId="{3E8E8630-494C-111F-3104-D8E07A883EF9}"/>
          </ac:spMkLst>
        </pc:spChg>
        <pc:graphicFrameChg chg="mod">
          <ac:chgData name="Armaan Kumar" userId="a351e95c-5450-4e5f-a2d5-0f74c8f92915" providerId="ADAL" clId="{168FE2C6-A561-4C00-8270-E1D83101A49A}" dt="2025-03-31T01:04:16.865" v="11524" actId="1076"/>
          <ac:graphicFrameMkLst>
            <pc:docMk/>
            <pc:sldMk cId="3431454537" sldId="268"/>
            <ac:graphicFrameMk id="16" creationId="{F489E969-2B7A-4EB6-1E66-31A5B280CDD4}"/>
          </ac:graphicFrameMkLst>
        </pc:graphicFrameChg>
        <pc:graphicFrameChg chg="mod">
          <ac:chgData name="Armaan Kumar" userId="a351e95c-5450-4e5f-a2d5-0f74c8f92915" providerId="ADAL" clId="{168FE2C6-A561-4C00-8270-E1D83101A49A}" dt="2025-03-31T01:04:08.624" v="11523" actId="1076"/>
          <ac:graphicFrameMkLst>
            <pc:docMk/>
            <pc:sldMk cId="3431454537" sldId="268"/>
            <ac:graphicFrameMk id="18" creationId="{56E3D54E-E751-78E0-CEDD-E048FD756073}"/>
          </ac:graphicFrameMkLst>
        </pc:graphicFrameChg>
      </pc:sldChg>
      <pc:sldChg chg="addSp delSp modSp new mod ord modClrScheme modShow chgLayout">
        <pc:chgData name="Armaan Kumar" userId="a351e95c-5450-4e5f-a2d5-0f74c8f92915" providerId="ADAL" clId="{168FE2C6-A561-4C00-8270-E1D83101A49A}" dt="2025-04-02T02:34:29.559" v="18848" actId="729"/>
        <pc:sldMkLst>
          <pc:docMk/>
          <pc:sldMk cId="2140223057" sldId="269"/>
        </pc:sldMkLst>
        <pc:spChg chg="mod">
          <ac:chgData name="Armaan Kumar" userId="a351e95c-5450-4e5f-a2d5-0f74c8f92915" providerId="ADAL" clId="{168FE2C6-A561-4C00-8270-E1D83101A49A}" dt="2025-04-02T02:24:47.882" v="18743" actId="1076"/>
          <ac:spMkLst>
            <pc:docMk/>
            <pc:sldMk cId="2140223057" sldId="269"/>
            <ac:spMk id="3" creationId="{911A53D2-EEF6-DEE7-F28F-FA0F15244BBD}"/>
          </ac:spMkLst>
        </pc:spChg>
      </pc:sldChg>
      <pc:sldChg chg="modSp new del mod">
        <pc:chgData name="Armaan Kumar" userId="a351e95c-5450-4e5f-a2d5-0f74c8f92915" providerId="ADAL" clId="{168FE2C6-A561-4C00-8270-E1D83101A49A}" dt="2025-03-23T04:31:05.091" v="1827" actId="2696"/>
        <pc:sldMkLst>
          <pc:docMk/>
          <pc:sldMk cId="1454380041" sldId="270"/>
        </pc:sldMkLst>
      </pc:sldChg>
      <pc:sldChg chg="addSp delSp modSp add del mod">
        <pc:chgData name="Armaan Kumar" userId="a351e95c-5450-4e5f-a2d5-0f74c8f92915" providerId="ADAL" clId="{168FE2C6-A561-4C00-8270-E1D83101A49A}" dt="2025-03-23T16:52:07.820" v="2804" actId="47"/>
        <pc:sldMkLst>
          <pc:docMk/>
          <pc:sldMk cId="3961370645" sldId="272"/>
        </pc:sldMkLst>
      </pc:sldChg>
      <pc:sldChg chg="modSp mod ord">
        <pc:chgData name="Armaan Kumar" userId="a351e95c-5450-4e5f-a2d5-0f74c8f92915" providerId="ADAL" clId="{168FE2C6-A561-4C00-8270-E1D83101A49A}" dt="2025-03-27T22:00:37.305" v="7632"/>
        <pc:sldMkLst>
          <pc:docMk/>
          <pc:sldMk cId="277559060" sldId="273"/>
        </pc:sldMkLst>
        <pc:spChg chg="mod">
          <ac:chgData name="Armaan Kumar" userId="a351e95c-5450-4e5f-a2d5-0f74c8f92915" providerId="ADAL" clId="{168FE2C6-A561-4C00-8270-E1D83101A49A}" dt="2025-03-27T00:59:29.235" v="6608" actId="20577"/>
          <ac:spMkLst>
            <pc:docMk/>
            <pc:sldMk cId="277559060" sldId="273"/>
            <ac:spMk id="8" creationId="{D5DF784A-2362-4596-5069-881641CB709B}"/>
          </ac:spMkLst>
        </pc:spChg>
      </pc:sldChg>
      <pc:sldChg chg="addSp delSp modSp mod">
        <pc:chgData name="Armaan Kumar" userId="a351e95c-5450-4e5f-a2d5-0f74c8f92915" providerId="ADAL" clId="{168FE2C6-A561-4C00-8270-E1D83101A49A}" dt="2025-03-27T01:07:17.903" v="6611" actId="478"/>
        <pc:sldMkLst>
          <pc:docMk/>
          <pc:sldMk cId="4180380748" sldId="275"/>
        </pc:sldMkLst>
      </pc:sldChg>
      <pc:sldChg chg="addSp delSp modSp mod">
        <pc:chgData name="Armaan Kumar" userId="a351e95c-5450-4e5f-a2d5-0f74c8f92915" providerId="ADAL" clId="{168FE2C6-A561-4C00-8270-E1D83101A49A}" dt="2025-03-31T15:59:27.468" v="12440" actId="1076"/>
        <pc:sldMkLst>
          <pc:docMk/>
          <pc:sldMk cId="597480458" sldId="277"/>
        </pc:sldMkLst>
        <pc:spChg chg="mod">
          <ac:chgData name="Armaan Kumar" userId="a351e95c-5450-4e5f-a2d5-0f74c8f92915" providerId="ADAL" clId="{168FE2C6-A561-4C00-8270-E1D83101A49A}" dt="2025-03-30T23:48:33.336" v="10652" actId="1076"/>
          <ac:spMkLst>
            <pc:docMk/>
            <pc:sldMk cId="597480458" sldId="277"/>
            <ac:spMk id="3" creationId="{1C28AD01-8DA7-6AEE-597F-D9E9F7BB22D0}"/>
          </ac:spMkLst>
        </pc:spChg>
        <pc:spChg chg="mod">
          <ac:chgData name="Armaan Kumar" userId="a351e95c-5450-4e5f-a2d5-0f74c8f92915" providerId="ADAL" clId="{168FE2C6-A561-4C00-8270-E1D83101A49A}" dt="2025-03-31T15:59:27.468" v="12440" actId="1076"/>
          <ac:spMkLst>
            <pc:docMk/>
            <pc:sldMk cId="597480458" sldId="277"/>
            <ac:spMk id="4" creationId="{7B801DBE-E560-BED3-4157-4EEFCD93B583}"/>
          </ac:spMkLst>
        </pc:spChg>
        <pc:spChg chg="mod">
          <ac:chgData name="Armaan Kumar" userId="a351e95c-5450-4e5f-a2d5-0f74c8f92915" providerId="ADAL" clId="{168FE2C6-A561-4C00-8270-E1D83101A49A}" dt="2025-03-26T20:14:15.569" v="6016" actId="1076"/>
          <ac:spMkLst>
            <pc:docMk/>
            <pc:sldMk cId="597480458" sldId="277"/>
            <ac:spMk id="6" creationId="{B305CBA0-F8EF-9EB2-6305-DD776B86A400}"/>
          </ac:spMkLst>
        </pc:spChg>
        <pc:spChg chg="mod">
          <ac:chgData name="Armaan Kumar" userId="a351e95c-5450-4e5f-a2d5-0f74c8f92915" providerId="ADAL" clId="{168FE2C6-A561-4C00-8270-E1D83101A49A}" dt="2025-03-26T20:15:08.971" v="6024" actId="1076"/>
          <ac:spMkLst>
            <pc:docMk/>
            <pc:sldMk cId="597480458" sldId="277"/>
            <ac:spMk id="7" creationId="{EDAD607D-5F99-1259-E101-D4690743DCD5}"/>
          </ac:spMkLst>
        </pc:spChg>
        <pc:spChg chg="mod">
          <ac:chgData name="Armaan Kumar" userId="a351e95c-5450-4e5f-a2d5-0f74c8f92915" providerId="ADAL" clId="{168FE2C6-A561-4C00-8270-E1D83101A49A}" dt="2025-03-27T21:27:36.760" v="7619" actId="20577"/>
          <ac:spMkLst>
            <pc:docMk/>
            <pc:sldMk cId="597480458" sldId="277"/>
            <ac:spMk id="8" creationId="{0B2406F1-9A89-43CF-6B72-90C3789E3B2C}"/>
          </ac:spMkLst>
        </pc:spChg>
        <pc:spChg chg="mod">
          <ac:chgData name="Armaan Kumar" userId="a351e95c-5450-4e5f-a2d5-0f74c8f92915" providerId="ADAL" clId="{168FE2C6-A561-4C00-8270-E1D83101A49A}" dt="2025-03-31T15:58:53.831" v="12436" actId="1076"/>
          <ac:spMkLst>
            <pc:docMk/>
            <pc:sldMk cId="597480458" sldId="277"/>
            <ac:spMk id="9" creationId="{6EDEE70E-0DC8-F513-1F6B-C2753C19C907}"/>
          </ac:spMkLst>
        </pc:spChg>
        <pc:spChg chg="mod">
          <ac:chgData name="Armaan Kumar" userId="a351e95c-5450-4e5f-a2d5-0f74c8f92915" providerId="ADAL" clId="{168FE2C6-A561-4C00-8270-E1D83101A49A}" dt="2025-03-26T20:14:18.601" v="6017" actId="1076"/>
          <ac:spMkLst>
            <pc:docMk/>
            <pc:sldMk cId="597480458" sldId="277"/>
            <ac:spMk id="12" creationId="{38F31616-FCFE-DE44-864C-2B324BEE8779}"/>
          </ac:spMkLst>
        </pc:spChg>
        <pc:spChg chg="mod">
          <ac:chgData name="Armaan Kumar" userId="a351e95c-5450-4e5f-a2d5-0f74c8f92915" providerId="ADAL" clId="{168FE2C6-A561-4C00-8270-E1D83101A49A}" dt="2025-03-26T20:15:12.219" v="6025" actId="1076"/>
          <ac:spMkLst>
            <pc:docMk/>
            <pc:sldMk cId="597480458" sldId="277"/>
            <ac:spMk id="13" creationId="{089C5C09-11AF-5FD7-DB5B-29085E8CF7DF}"/>
          </ac:spMkLst>
        </pc:spChg>
        <pc:spChg chg="mod">
          <ac:chgData name="Armaan Kumar" userId="a351e95c-5450-4e5f-a2d5-0f74c8f92915" providerId="ADAL" clId="{168FE2C6-A561-4C00-8270-E1D83101A49A}" dt="2025-03-31T15:59:18.961" v="12439" actId="1076"/>
          <ac:spMkLst>
            <pc:docMk/>
            <pc:sldMk cId="597480458" sldId="277"/>
            <ac:spMk id="14" creationId="{CAAAC3B6-9D18-E0E9-88C2-FFA164D2D544}"/>
          </ac:spMkLst>
        </pc:spChg>
        <pc:spChg chg="add mod">
          <ac:chgData name="Armaan Kumar" userId="a351e95c-5450-4e5f-a2d5-0f74c8f92915" providerId="ADAL" clId="{168FE2C6-A561-4C00-8270-E1D83101A49A}" dt="2025-03-30T23:48:15.684" v="10648" actId="1076"/>
          <ac:spMkLst>
            <pc:docMk/>
            <pc:sldMk cId="597480458" sldId="277"/>
            <ac:spMk id="16" creationId="{46F34D58-5AD0-82E0-51C4-749774147398}"/>
          </ac:spMkLst>
        </pc:spChg>
        <pc:spChg chg="add del mod">
          <ac:chgData name="Armaan Kumar" userId="a351e95c-5450-4e5f-a2d5-0f74c8f92915" providerId="ADAL" clId="{168FE2C6-A561-4C00-8270-E1D83101A49A}" dt="2025-03-31T02:41:26.466" v="11875" actId="20577"/>
          <ac:spMkLst>
            <pc:docMk/>
            <pc:sldMk cId="597480458" sldId="277"/>
            <ac:spMk id="18" creationId="{8EAAC462-7230-00B6-AA4E-94AF5E007FF0}"/>
          </ac:spMkLst>
        </pc:spChg>
        <pc:spChg chg="add del mod topLvl">
          <ac:chgData name="Armaan Kumar" userId="a351e95c-5450-4e5f-a2d5-0f74c8f92915" providerId="ADAL" clId="{168FE2C6-A561-4C00-8270-E1D83101A49A}" dt="2025-03-31T02:41:28.853" v="11876" actId="20577"/>
          <ac:spMkLst>
            <pc:docMk/>
            <pc:sldMk cId="597480458" sldId="277"/>
            <ac:spMk id="20" creationId="{6E47CF60-A67C-B699-40F1-62F0E36CA9E1}"/>
          </ac:spMkLst>
        </pc:spChg>
        <pc:spChg chg="add mod ord">
          <ac:chgData name="Armaan Kumar" userId="a351e95c-5450-4e5f-a2d5-0f74c8f92915" providerId="ADAL" clId="{168FE2C6-A561-4C00-8270-E1D83101A49A}" dt="2025-03-31T15:59:07.092" v="12438" actId="1076"/>
          <ac:spMkLst>
            <pc:docMk/>
            <pc:sldMk cId="597480458" sldId="277"/>
            <ac:spMk id="21" creationId="{250294EA-09C9-AC07-E3E3-767A885DF4DE}"/>
          </ac:spMkLst>
        </pc:spChg>
        <pc:grpChg chg="add del mod topLvl">
          <ac:chgData name="Armaan Kumar" userId="a351e95c-5450-4e5f-a2d5-0f74c8f92915" providerId="ADAL" clId="{168FE2C6-A561-4C00-8270-E1D83101A49A}" dt="2025-03-31T02:52:56.120" v="11911" actId="478"/>
          <ac:grpSpMkLst>
            <pc:docMk/>
            <pc:sldMk cId="597480458" sldId="277"/>
            <ac:grpSpMk id="15" creationId="{90C706F5-6616-8B27-BFD7-511D63B8CD78}"/>
          </ac:grpSpMkLst>
        </pc:grpChg>
        <pc:graphicFrameChg chg="modGraphic">
          <ac:chgData name="Armaan Kumar" userId="a351e95c-5450-4e5f-a2d5-0f74c8f92915" providerId="ADAL" clId="{168FE2C6-A561-4C00-8270-E1D83101A49A}" dt="2025-03-30T23:36:52.293" v="10467"/>
          <ac:graphicFrameMkLst>
            <pc:docMk/>
            <pc:sldMk cId="597480458" sldId="277"/>
            <ac:graphicFrameMk id="19" creationId="{C564B2B3-CBAC-BA4D-D555-2F61109D9B1D}"/>
          </ac:graphicFrameMkLst>
        </pc:graphicFrameChg>
      </pc:sldChg>
      <pc:sldChg chg="addSp delSp modSp del mod">
        <pc:chgData name="Armaan Kumar" userId="a351e95c-5450-4e5f-a2d5-0f74c8f92915" providerId="ADAL" clId="{168FE2C6-A561-4C00-8270-E1D83101A49A}" dt="2025-03-23T22:42:11.501" v="4607" actId="47"/>
        <pc:sldMkLst>
          <pc:docMk/>
          <pc:sldMk cId="2089323016" sldId="278"/>
        </pc:sldMkLst>
      </pc:sldChg>
      <pc:sldChg chg="modSp del mod">
        <pc:chgData name="Armaan Kumar" userId="a351e95c-5450-4e5f-a2d5-0f74c8f92915" providerId="ADAL" clId="{168FE2C6-A561-4C00-8270-E1D83101A49A}" dt="2025-03-23T23:35:23.503" v="4682" actId="47"/>
        <pc:sldMkLst>
          <pc:docMk/>
          <pc:sldMk cId="3475239964" sldId="279"/>
        </pc:sldMkLst>
      </pc:sldChg>
      <pc:sldChg chg="addSp delSp modSp mod">
        <pc:chgData name="Armaan Kumar" userId="a351e95c-5450-4e5f-a2d5-0f74c8f92915" providerId="ADAL" clId="{168FE2C6-A561-4C00-8270-E1D83101A49A}" dt="2025-04-01T03:11:29.017" v="14366" actId="1037"/>
        <pc:sldMkLst>
          <pc:docMk/>
          <pc:sldMk cId="1631883058" sldId="280"/>
        </pc:sldMkLst>
        <pc:spChg chg="add mod ord">
          <ac:chgData name="Armaan Kumar" userId="a351e95c-5450-4e5f-a2d5-0f74c8f92915" providerId="ADAL" clId="{168FE2C6-A561-4C00-8270-E1D83101A49A}" dt="2025-04-01T03:11:29.017" v="14366" actId="1037"/>
          <ac:spMkLst>
            <pc:docMk/>
            <pc:sldMk cId="1631883058" sldId="280"/>
            <ac:spMk id="17" creationId="{A6137947-3F6E-8C1F-95FB-3656946E9944}"/>
          </ac:spMkLst>
        </pc:spChg>
      </pc:sldChg>
      <pc:sldChg chg="addSp delSp modSp add mod">
        <pc:chgData name="Armaan Kumar" userId="a351e95c-5450-4e5f-a2d5-0f74c8f92915" providerId="ADAL" clId="{168FE2C6-A561-4C00-8270-E1D83101A49A}" dt="2025-03-30T21:48:48.101" v="10340" actId="1076"/>
        <pc:sldMkLst>
          <pc:docMk/>
          <pc:sldMk cId="4223677651" sldId="286"/>
        </pc:sldMkLst>
        <pc:spChg chg="mod">
          <ac:chgData name="Armaan Kumar" userId="a351e95c-5450-4e5f-a2d5-0f74c8f92915" providerId="ADAL" clId="{168FE2C6-A561-4C00-8270-E1D83101A49A}" dt="2025-03-27T22:08:50.797" v="7687" actId="20577"/>
          <ac:spMkLst>
            <pc:docMk/>
            <pc:sldMk cId="4223677651" sldId="286"/>
            <ac:spMk id="2" creationId="{2AD99236-F704-82C0-5798-94F14D4625CD}"/>
          </ac:spMkLst>
        </pc:spChg>
        <pc:spChg chg="add mod">
          <ac:chgData name="Armaan Kumar" userId="a351e95c-5450-4e5f-a2d5-0f74c8f92915" providerId="ADAL" clId="{168FE2C6-A561-4C00-8270-E1D83101A49A}" dt="2025-03-30T21:48:37.550" v="10338" actId="1076"/>
          <ac:spMkLst>
            <pc:docMk/>
            <pc:sldMk cId="4223677651" sldId="286"/>
            <ac:spMk id="3" creationId="{96B7761B-8C4C-007B-6B1C-E2BC558412C4}"/>
          </ac:spMkLst>
        </pc:spChg>
        <pc:spChg chg="mod">
          <ac:chgData name="Armaan Kumar" userId="a351e95c-5450-4e5f-a2d5-0f74c8f92915" providerId="ADAL" clId="{168FE2C6-A561-4C00-8270-E1D83101A49A}" dt="2025-03-23T17:00:48.186" v="3050" actId="20577"/>
          <ac:spMkLst>
            <pc:docMk/>
            <pc:sldMk cId="4223677651" sldId="286"/>
            <ac:spMk id="4" creationId="{BECF364C-603E-BA3E-D452-9836DE8D69F9}"/>
          </ac:spMkLst>
        </pc:spChg>
        <pc:spChg chg="add mod">
          <ac:chgData name="Armaan Kumar" userId="a351e95c-5450-4e5f-a2d5-0f74c8f92915" providerId="ADAL" clId="{168FE2C6-A561-4C00-8270-E1D83101A49A}" dt="2025-03-30T21:48:48.101" v="10340" actId="1076"/>
          <ac:spMkLst>
            <pc:docMk/>
            <pc:sldMk cId="4223677651" sldId="286"/>
            <ac:spMk id="6" creationId="{6B5072D0-C39A-29E5-7B0A-65EB99FD1C6F}"/>
          </ac:spMkLst>
        </pc:spChg>
        <pc:spChg chg="add mod">
          <ac:chgData name="Armaan Kumar" userId="a351e95c-5450-4e5f-a2d5-0f74c8f92915" providerId="ADAL" clId="{168FE2C6-A561-4C00-8270-E1D83101A49A}" dt="2025-03-23T16:29:31.695" v="2598" actId="1076"/>
          <ac:spMkLst>
            <pc:docMk/>
            <pc:sldMk cId="4223677651" sldId="286"/>
            <ac:spMk id="14" creationId="{113A16DF-FE64-E3DE-8A7A-0B7AF6750235}"/>
          </ac:spMkLst>
        </pc:spChg>
        <pc:spChg chg="add mod">
          <ac:chgData name="Armaan Kumar" userId="a351e95c-5450-4e5f-a2d5-0f74c8f92915" providerId="ADAL" clId="{168FE2C6-A561-4C00-8270-E1D83101A49A}" dt="2025-03-23T16:29:31.695" v="2598" actId="1076"/>
          <ac:spMkLst>
            <pc:docMk/>
            <pc:sldMk cId="4223677651" sldId="286"/>
            <ac:spMk id="17" creationId="{713135DF-0511-AC4B-125C-3D396C2512CE}"/>
          </ac:spMkLst>
        </pc:spChg>
        <pc:spChg chg="add mod">
          <ac:chgData name="Armaan Kumar" userId="a351e95c-5450-4e5f-a2d5-0f74c8f92915" providerId="ADAL" clId="{168FE2C6-A561-4C00-8270-E1D83101A49A}" dt="2025-03-23T16:29:31.695" v="2598" actId="1076"/>
          <ac:spMkLst>
            <pc:docMk/>
            <pc:sldMk cId="4223677651" sldId="286"/>
            <ac:spMk id="18" creationId="{AF97B864-4180-98ED-498A-66FB2912D6D9}"/>
          </ac:spMkLst>
        </pc:spChg>
        <pc:spChg chg="add mod">
          <ac:chgData name="Armaan Kumar" userId="a351e95c-5450-4e5f-a2d5-0f74c8f92915" providerId="ADAL" clId="{168FE2C6-A561-4C00-8270-E1D83101A49A}" dt="2025-03-23T16:29:31.695" v="2598" actId="1076"/>
          <ac:spMkLst>
            <pc:docMk/>
            <pc:sldMk cId="4223677651" sldId="286"/>
            <ac:spMk id="20" creationId="{FD7DD08E-0EBB-2BBF-3576-6AD7CB87E369}"/>
          </ac:spMkLst>
        </pc:spChg>
        <pc:spChg chg="add del mod">
          <ac:chgData name="Armaan Kumar" userId="a351e95c-5450-4e5f-a2d5-0f74c8f92915" providerId="ADAL" clId="{168FE2C6-A561-4C00-8270-E1D83101A49A}" dt="2025-03-30T21:17:14.831" v="10216" actId="1076"/>
          <ac:spMkLst>
            <pc:docMk/>
            <pc:sldMk cId="4223677651" sldId="286"/>
            <ac:spMk id="91" creationId="{4458A4B2-E013-FF3C-2D75-8B13F3F6D899}"/>
          </ac:spMkLst>
        </pc:spChg>
        <pc:cxnChg chg="add mod">
          <ac:chgData name="Armaan Kumar" userId="a351e95c-5450-4e5f-a2d5-0f74c8f92915" providerId="ADAL" clId="{168FE2C6-A561-4C00-8270-E1D83101A49A}" dt="2025-03-23T17:43:42.895" v="3690" actId="1038"/>
          <ac:cxnSpMkLst>
            <pc:docMk/>
            <pc:sldMk cId="4223677651" sldId="286"/>
            <ac:cxnSpMk id="9" creationId="{F47502BF-57AC-9558-2547-1345C57994E2}"/>
          </ac:cxnSpMkLst>
        </pc:cxnChg>
        <pc:cxnChg chg="add mod">
          <ac:chgData name="Armaan Kumar" userId="a351e95c-5450-4e5f-a2d5-0f74c8f92915" providerId="ADAL" clId="{168FE2C6-A561-4C00-8270-E1D83101A49A}" dt="2025-03-23T16:55:09.438" v="2949" actId="1037"/>
          <ac:cxnSpMkLst>
            <pc:docMk/>
            <pc:sldMk cId="4223677651" sldId="286"/>
            <ac:cxnSpMk id="10" creationId="{7C80E626-DE5D-E1CC-6A05-A1F59D3FF07C}"/>
          </ac:cxnSpMkLst>
        </pc:cxnChg>
      </pc:sldChg>
      <pc:sldChg chg="addSp delSp modSp add mod">
        <pc:chgData name="Armaan Kumar" userId="a351e95c-5450-4e5f-a2d5-0f74c8f92915" providerId="ADAL" clId="{168FE2C6-A561-4C00-8270-E1D83101A49A}" dt="2025-03-31T18:14:26.452" v="12444" actId="20577"/>
        <pc:sldMkLst>
          <pc:docMk/>
          <pc:sldMk cId="2231801104" sldId="287"/>
        </pc:sldMkLst>
        <pc:spChg chg="mod">
          <ac:chgData name="Armaan Kumar" userId="a351e95c-5450-4e5f-a2d5-0f74c8f92915" providerId="ADAL" clId="{168FE2C6-A561-4C00-8270-E1D83101A49A}" dt="2025-03-27T22:09:50.066" v="7779" actId="20577"/>
          <ac:spMkLst>
            <pc:docMk/>
            <pc:sldMk cId="2231801104" sldId="287"/>
            <ac:spMk id="2" creationId="{F7921A95-D524-3558-CFFA-FBCE3E8C1C88}"/>
          </ac:spMkLst>
        </pc:spChg>
        <pc:spChg chg="mod">
          <ac:chgData name="Armaan Kumar" userId="a351e95c-5450-4e5f-a2d5-0f74c8f92915" providerId="ADAL" clId="{168FE2C6-A561-4C00-8270-E1D83101A49A}" dt="2025-03-23T17:01:06.862" v="3070" actId="20577"/>
          <ac:spMkLst>
            <pc:docMk/>
            <pc:sldMk cId="2231801104" sldId="287"/>
            <ac:spMk id="4" creationId="{267B137E-3079-E595-A9EF-83D85A6F5C9B}"/>
          </ac:spMkLst>
        </pc:spChg>
        <pc:spChg chg="add mod">
          <ac:chgData name="Armaan Kumar" userId="a351e95c-5450-4e5f-a2d5-0f74c8f92915" providerId="ADAL" clId="{168FE2C6-A561-4C00-8270-E1D83101A49A}" dt="2025-03-23T17:10:55.367" v="3085" actId="1076"/>
          <ac:spMkLst>
            <pc:docMk/>
            <pc:sldMk cId="2231801104" sldId="287"/>
            <ac:spMk id="8" creationId="{8D627DC0-7D0D-6BE5-E8B9-B06F879CA10E}"/>
          </ac:spMkLst>
        </pc:spChg>
        <pc:spChg chg="add mod ord">
          <ac:chgData name="Armaan Kumar" userId="a351e95c-5450-4e5f-a2d5-0f74c8f92915" providerId="ADAL" clId="{168FE2C6-A561-4C00-8270-E1D83101A49A}" dt="2025-03-31T15:58:29.447" v="12433" actId="14100"/>
          <ac:spMkLst>
            <pc:docMk/>
            <pc:sldMk cId="2231801104" sldId="287"/>
            <ac:spMk id="9" creationId="{11EF9617-19EE-89BD-8A50-D5EA7FDFB4A2}"/>
          </ac:spMkLst>
        </pc:spChg>
        <pc:spChg chg="add mod">
          <ac:chgData name="Armaan Kumar" userId="a351e95c-5450-4e5f-a2d5-0f74c8f92915" providerId="ADAL" clId="{168FE2C6-A561-4C00-8270-E1D83101A49A}" dt="2025-03-31T03:07:42.330" v="12134" actId="1076"/>
          <ac:spMkLst>
            <pc:docMk/>
            <pc:sldMk cId="2231801104" sldId="287"/>
            <ac:spMk id="22" creationId="{DE4EBD26-88C6-EB65-D6DA-E28DBE36E00B}"/>
          </ac:spMkLst>
        </pc:spChg>
        <pc:spChg chg="add mod">
          <ac:chgData name="Armaan Kumar" userId="a351e95c-5450-4e5f-a2d5-0f74c8f92915" providerId="ADAL" clId="{168FE2C6-A561-4C00-8270-E1D83101A49A}" dt="2025-03-30T21:34:09.297" v="10301" actId="1076"/>
          <ac:spMkLst>
            <pc:docMk/>
            <pc:sldMk cId="2231801104" sldId="287"/>
            <ac:spMk id="23" creationId="{581C1AE2-AD86-1A9F-C4F5-0F19AEF7503A}"/>
          </ac:spMkLst>
        </pc:spChg>
        <pc:spChg chg="add mod">
          <ac:chgData name="Armaan Kumar" userId="a351e95c-5450-4e5f-a2d5-0f74c8f92915" providerId="ADAL" clId="{168FE2C6-A561-4C00-8270-E1D83101A49A}" dt="2025-03-30T21:27:19.879" v="10274" actId="255"/>
          <ac:spMkLst>
            <pc:docMk/>
            <pc:sldMk cId="2231801104" sldId="287"/>
            <ac:spMk id="24" creationId="{574A6B23-2250-37CB-FB53-55882D89A536}"/>
          </ac:spMkLst>
        </pc:spChg>
        <pc:spChg chg="add mod">
          <ac:chgData name="Armaan Kumar" userId="a351e95c-5450-4e5f-a2d5-0f74c8f92915" providerId="ADAL" clId="{168FE2C6-A561-4C00-8270-E1D83101A49A}" dt="2025-03-30T21:34:04.230" v="10300" actId="1076"/>
          <ac:spMkLst>
            <pc:docMk/>
            <pc:sldMk cId="2231801104" sldId="287"/>
            <ac:spMk id="25" creationId="{A02CA7DE-1086-566B-7E65-104D9D1C67D3}"/>
          </ac:spMkLst>
        </pc:spChg>
        <pc:spChg chg="add mod">
          <ac:chgData name="Armaan Kumar" userId="a351e95c-5450-4e5f-a2d5-0f74c8f92915" providerId="ADAL" clId="{168FE2C6-A561-4C00-8270-E1D83101A49A}" dt="2025-03-31T15:58:34.593" v="12434" actId="1076"/>
          <ac:spMkLst>
            <pc:docMk/>
            <pc:sldMk cId="2231801104" sldId="287"/>
            <ac:spMk id="26" creationId="{004BB359-B5E2-75E2-3241-BE15053902FE}"/>
          </ac:spMkLst>
        </pc:spChg>
        <pc:spChg chg="mod">
          <ac:chgData name="Armaan Kumar" userId="a351e95c-5450-4e5f-a2d5-0f74c8f92915" providerId="ADAL" clId="{168FE2C6-A561-4C00-8270-E1D83101A49A}" dt="2025-03-30T21:23:58.449" v="10240" actId="20577"/>
          <ac:spMkLst>
            <pc:docMk/>
            <pc:sldMk cId="2231801104" sldId="287"/>
            <ac:spMk id="91" creationId="{BD0A095F-6F35-F238-7F54-31625E60B9A1}"/>
          </ac:spMkLst>
        </pc:spChg>
        <pc:graphicFrameChg chg="add mod">
          <ac:chgData name="Armaan Kumar" userId="a351e95c-5450-4e5f-a2d5-0f74c8f92915" providerId="ADAL" clId="{168FE2C6-A561-4C00-8270-E1D83101A49A}" dt="2025-03-23T17:35:23.953" v="3605" actId="692"/>
          <ac:graphicFrameMkLst>
            <pc:docMk/>
            <pc:sldMk cId="2231801104" sldId="287"/>
            <ac:graphicFrameMk id="7" creationId="{2587AABF-A915-3B46-F4F9-12D01863F7C9}"/>
          </ac:graphicFrameMkLst>
        </pc:graphicFrameChg>
        <pc:graphicFrameChg chg="add mod">
          <ac:chgData name="Armaan Kumar" userId="a351e95c-5450-4e5f-a2d5-0f74c8f92915" providerId="ADAL" clId="{168FE2C6-A561-4C00-8270-E1D83101A49A}" dt="2025-03-31T18:14:26.452" v="12444" actId="20577"/>
          <ac:graphicFrameMkLst>
            <pc:docMk/>
            <pc:sldMk cId="2231801104" sldId="287"/>
            <ac:graphicFrameMk id="13" creationId="{FD331037-0CA5-4BC5-77D9-F7D86B7E2F11}"/>
          </ac:graphicFrameMkLst>
        </pc:graphicFrameChg>
      </pc:sldChg>
      <pc:sldChg chg="modSp new mod">
        <pc:chgData name="Armaan Kumar" userId="a351e95c-5450-4e5f-a2d5-0f74c8f92915" providerId="ADAL" clId="{168FE2C6-A561-4C00-8270-E1D83101A49A}" dt="2025-03-23T17:20:15.225" v="3400" actId="20577"/>
        <pc:sldMkLst>
          <pc:docMk/>
          <pc:sldMk cId="1178074078" sldId="288"/>
        </pc:sldMkLst>
      </pc:sldChg>
      <pc:sldChg chg="add del">
        <pc:chgData name="Armaan Kumar" userId="a351e95c-5450-4e5f-a2d5-0f74c8f92915" providerId="ADAL" clId="{168FE2C6-A561-4C00-8270-E1D83101A49A}" dt="2025-03-23T16:35:07.163" v="2602"/>
        <pc:sldMkLst>
          <pc:docMk/>
          <pc:sldMk cId="2051495442" sldId="288"/>
        </pc:sldMkLst>
      </pc:sldChg>
      <pc:sldChg chg="modSp add del mod ord">
        <pc:chgData name="Armaan Kumar" userId="a351e95c-5450-4e5f-a2d5-0f74c8f92915" providerId="ADAL" clId="{168FE2C6-A561-4C00-8270-E1D83101A49A}" dt="2025-03-23T18:53:18.521" v="3774" actId="47"/>
        <pc:sldMkLst>
          <pc:docMk/>
          <pc:sldMk cId="2562257946" sldId="289"/>
        </pc:sldMkLst>
      </pc:sldChg>
      <pc:sldChg chg="addSp delSp modSp mod">
        <pc:chgData name="Armaan Kumar" userId="a351e95c-5450-4e5f-a2d5-0f74c8f92915" providerId="ADAL" clId="{168FE2C6-A561-4C00-8270-E1D83101A49A}" dt="2025-03-27T03:52:30.705" v="6715" actId="1076"/>
        <pc:sldMkLst>
          <pc:docMk/>
          <pc:sldMk cId="2255203906" sldId="293"/>
        </pc:sldMkLst>
      </pc:sldChg>
      <pc:sldChg chg="new del">
        <pc:chgData name="Armaan Kumar" userId="a351e95c-5450-4e5f-a2d5-0f74c8f92915" providerId="ADAL" clId="{168FE2C6-A561-4C00-8270-E1D83101A49A}" dt="2025-03-23T18:47:42.704" v="3752" actId="47"/>
        <pc:sldMkLst>
          <pc:docMk/>
          <pc:sldMk cId="3264607845" sldId="295"/>
        </pc:sldMkLst>
      </pc:sldChg>
      <pc:sldChg chg="modSp add mod">
        <pc:chgData name="Armaan Kumar" userId="a351e95c-5450-4e5f-a2d5-0f74c8f92915" providerId="ADAL" clId="{168FE2C6-A561-4C00-8270-E1D83101A49A}" dt="2025-03-23T18:47:57.650" v="3766" actId="20577"/>
        <pc:sldMkLst>
          <pc:docMk/>
          <pc:sldMk cId="3896038982" sldId="295"/>
        </pc:sldMkLst>
      </pc:sldChg>
      <pc:sldChg chg="modSp add mod">
        <pc:chgData name="Armaan Kumar" userId="a351e95c-5450-4e5f-a2d5-0f74c8f92915" providerId="ADAL" clId="{168FE2C6-A561-4C00-8270-E1D83101A49A}" dt="2025-03-23T18:53:45.409" v="3820" actId="313"/>
        <pc:sldMkLst>
          <pc:docMk/>
          <pc:sldMk cId="3079805648" sldId="296"/>
        </pc:sldMkLst>
      </pc:sldChg>
      <pc:sldChg chg="modSp mod">
        <pc:chgData name="Armaan Kumar" userId="a351e95c-5450-4e5f-a2d5-0f74c8f92915" providerId="ADAL" clId="{168FE2C6-A561-4C00-8270-E1D83101A49A}" dt="2025-03-24T01:46:25.247" v="4938" actId="27918"/>
        <pc:sldMkLst>
          <pc:docMk/>
          <pc:sldMk cId="4024668292" sldId="298"/>
        </pc:sldMkLst>
      </pc:sldChg>
      <pc:sldChg chg="modSp mod">
        <pc:chgData name="Armaan Kumar" userId="a351e95c-5450-4e5f-a2d5-0f74c8f92915" providerId="ADAL" clId="{168FE2C6-A561-4C00-8270-E1D83101A49A}" dt="2025-03-27T00:57:42.277" v="6455" actId="14100"/>
        <pc:sldMkLst>
          <pc:docMk/>
          <pc:sldMk cId="118660533" sldId="299"/>
        </pc:sldMkLst>
        <pc:spChg chg="mod">
          <ac:chgData name="Armaan Kumar" userId="a351e95c-5450-4e5f-a2d5-0f74c8f92915" providerId="ADAL" clId="{168FE2C6-A561-4C00-8270-E1D83101A49A}" dt="2025-03-26T20:02:35.421" v="5978" actId="20577"/>
          <ac:spMkLst>
            <pc:docMk/>
            <pc:sldMk cId="118660533" sldId="299"/>
            <ac:spMk id="24" creationId="{3717086D-92ED-A089-BF01-8F0137C698DF}"/>
          </ac:spMkLst>
        </pc:spChg>
        <pc:graphicFrameChg chg="mod">
          <ac:chgData name="Armaan Kumar" userId="a351e95c-5450-4e5f-a2d5-0f74c8f92915" providerId="ADAL" clId="{168FE2C6-A561-4C00-8270-E1D83101A49A}" dt="2025-03-27T00:57:42.277" v="6455" actId="14100"/>
          <ac:graphicFrameMkLst>
            <pc:docMk/>
            <pc:sldMk cId="118660533" sldId="299"/>
            <ac:graphicFrameMk id="20" creationId="{D2B4E6FF-5AFF-6F0A-F8C8-9AC227EA7689}"/>
          </ac:graphicFrameMkLst>
        </pc:graphicFrameChg>
      </pc:sldChg>
      <pc:sldChg chg="addSp delSp modSp new mod">
        <pc:chgData name="Armaan Kumar" userId="a351e95c-5450-4e5f-a2d5-0f74c8f92915" providerId="ADAL" clId="{168FE2C6-A561-4C00-8270-E1D83101A49A}" dt="2025-03-30T23:17:44.965" v="10386" actId="1076"/>
        <pc:sldMkLst>
          <pc:docMk/>
          <pc:sldMk cId="3482756237" sldId="304"/>
        </pc:sldMkLst>
      </pc:sldChg>
      <pc:sldChg chg="modSp">
        <pc:chgData name="Armaan Kumar" userId="a351e95c-5450-4e5f-a2d5-0f74c8f92915" providerId="ADAL" clId="{168FE2C6-A561-4C00-8270-E1D83101A49A}" dt="2025-04-01T20:59:11.801" v="15542" actId="2085"/>
        <pc:sldMkLst>
          <pc:docMk/>
          <pc:sldMk cId="1580044436" sldId="306"/>
        </pc:sldMkLst>
        <pc:graphicFrameChg chg="mod">
          <ac:chgData name="Armaan Kumar" userId="a351e95c-5450-4e5f-a2d5-0f74c8f92915" providerId="ADAL" clId="{168FE2C6-A561-4C00-8270-E1D83101A49A}" dt="2025-04-01T20:59:11.801" v="15542" actId="2085"/>
          <ac:graphicFrameMkLst>
            <pc:docMk/>
            <pc:sldMk cId="1580044436" sldId="306"/>
            <ac:graphicFrameMk id="13" creationId="{DAB367B8-FB8B-C971-CECB-F846B50F0A74}"/>
          </ac:graphicFrameMkLst>
        </pc:graphicFrameChg>
      </pc:sldChg>
      <pc:sldChg chg="addSp delSp modSp new del mod">
        <pc:chgData name="Armaan Kumar" userId="a351e95c-5450-4e5f-a2d5-0f74c8f92915" providerId="ADAL" clId="{168FE2C6-A561-4C00-8270-E1D83101A49A}" dt="2025-03-24T18:51:17.187" v="5280" actId="47"/>
        <pc:sldMkLst>
          <pc:docMk/>
          <pc:sldMk cId="3226089355" sldId="307"/>
        </pc:sldMkLst>
      </pc:sldChg>
      <pc:sldChg chg="addSp delSp modSp new mod">
        <pc:chgData name="Armaan Kumar" userId="a351e95c-5450-4e5f-a2d5-0f74c8f92915" providerId="ADAL" clId="{168FE2C6-A561-4C00-8270-E1D83101A49A}" dt="2025-03-30T23:25:30.168" v="10405"/>
        <pc:sldMkLst>
          <pc:docMk/>
          <pc:sldMk cId="2009459704" sldId="309"/>
        </pc:sldMkLst>
        <pc:spChg chg="mod">
          <ac:chgData name="Armaan Kumar" userId="a351e95c-5450-4e5f-a2d5-0f74c8f92915" providerId="ADAL" clId="{168FE2C6-A561-4C00-8270-E1D83101A49A}" dt="2025-03-27T05:18:11.440" v="6990" actId="20577"/>
          <ac:spMkLst>
            <pc:docMk/>
            <pc:sldMk cId="2009459704" sldId="309"/>
            <ac:spMk id="2" creationId="{DCC9D452-8065-06D5-B704-F28CA11BCB76}"/>
          </ac:spMkLst>
        </pc:spChg>
        <pc:spChg chg="mod">
          <ac:chgData name="Armaan Kumar" userId="a351e95c-5450-4e5f-a2d5-0f74c8f92915" providerId="ADAL" clId="{168FE2C6-A561-4C00-8270-E1D83101A49A}" dt="2025-03-24T18:11:06.656" v="5148" actId="20577"/>
          <ac:spMkLst>
            <pc:docMk/>
            <pc:sldMk cId="2009459704" sldId="309"/>
            <ac:spMk id="4" creationId="{885852C8-CAFC-4D79-2C9B-1E19058C97F4}"/>
          </ac:spMkLst>
        </pc:spChg>
        <pc:spChg chg="mod">
          <ac:chgData name="Armaan Kumar" userId="a351e95c-5450-4e5f-a2d5-0f74c8f92915" providerId="ADAL" clId="{168FE2C6-A561-4C00-8270-E1D83101A49A}" dt="2025-03-27T02:14:18.210" v="6714" actId="14100"/>
          <ac:spMkLst>
            <pc:docMk/>
            <pc:sldMk cId="2009459704" sldId="309"/>
            <ac:spMk id="5" creationId="{D3680C84-1164-577F-1106-9B91922A1355}"/>
          </ac:spMkLst>
        </pc:spChg>
        <pc:spChg chg="add mod">
          <ac:chgData name="Armaan Kumar" userId="a351e95c-5450-4e5f-a2d5-0f74c8f92915" providerId="ADAL" clId="{168FE2C6-A561-4C00-8270-E1D83101A49A}" dt="2025-03-25T03:23:06.337" v="5385" actId="1076"/>
          <ac:spMkLst>
            <pc:docMk/>
            <pc:sldMk cId="2009459704" sldId="309"/>
            <ac:spMk id="7" creationId="{CDB47209-5B7D-CFB8-E0CB-009035FF3EA2}"/>
          </ac:spMkLst>
        </pc:spChg>
        <pc:spChg chg="add mod">
          <ac:chgData name="Armaan Kumar" userId="a351e95c-5450-4e5f-a2d5-0f74c8f92915" providerId="ADAL" clId="{168FE2C6-A561-4C00-8270-E1D83101A49A}" dt="2025-03-30T23:24:07.239" v="10399" actId="1076"/>
          <ac:spMkLst>
            <pc:docMk/>
            <pc:sldMk cId="2009459704" sldId="309"/>
            <ac:spMk id="10" creationId="{C6F0C47B-F88F-5032-DDB0-04A0E770D7E0}"/>
          </ac:spMkLst>
        </pc:spChg>
        <pc:spChg chg="add mod">
          <ac:chgData name="Armaan Kumar" userId="a351e95c-5450-4e5f-a2d5-0f74c8f92915" providerId="ADAL" clId="{168FE2C6-A561-4C00-8270-E1D83101A49A}" dt="2025-03-25T04:56:35.126" v="5469" actId="1076"/>
          <ac:spMkLst>
            <pc:docMk/>
            <pc:sldMk cId="2009459704" sldId="309"/>
            <ac:spMk id="12" creationId="{4F699005-B1BE-794B-1617-F846515FDC0E}"/>
          </ac:spMkLst>
        </pc:spChg>
        <pc:spChg chg="add mod">
          <ac:chgData name="Armaan Kumar" userId="a351e95c-5450-4e5f-a2d5-0f74c8f92915" providerId="ADAL" clId="{168FE2C6-A561-4C00-8270-E1D83101A49A}" dt="2025-03-25T03:23:06.337" v="5385" actId="1076"/>
          <ac:spMkLst>
            <pc:docMk/>
            <pc:sldMk cId="2009459704" sldId="309"/>
            <ac:spMk id="14" creationId="{6FA3EA21-A682-C498-D51F-186DF4456812}"/>
          </ac:spMkLst>
        </pc:spChg>
        <pc:spChg chg="add mod">
          <ac:chgData name="Armaan Kumar" userId="a351e95c-5450-4e5f-a2d5-0f74c8f92915" providerId="ADAL" clId="{168FE2C6-A561-4C00-8270-E1D83101A49A}" dt="2025-03-25T03:23:06.337" v="5385" actId="1076"/>
          <ac:spMkLst>
            <pc:docMk/>
            <pc:sldMk cId="2009459704" sldId="309"/>
            <ac:spMk id="15" creationId="{1E2324D0-3456-E583-4B67-C1D3F3AA6FD8}"/>
          </ac:spMkLst>
        </pc:spChg>
        <pc:graphicFrameChg chg="add mod">
          <ac:chgData name="Armaan Kumar" userId="a351e95c-5450-4e5f-a2d5-0f74c8f92915" providerId="ADAL" clId="{168FE2C6-A561-4C00-8270-E1D83101A49A}" dt="2025-03-30T23:22:44.642" v="10395" actId="692"/>
          <ac:graphicFrameMkLst>
            <pc:docMk/>
            <pc:sldMk cId="2009459704" sldId="309"/>
            <ac:graphicFrameMk id="6" creationId="{B74DE81B-7FC9-3325-3ECE-55B0A6BBB5E5}"/>
          </ac:graphicFrameMkLst>
        </pc:graphicFrameChg>
        <pc:graphicFrameChg chg="add mod">
          <ac:chgData name="Armaan Kumar" userId="a351e95c-5450-4e5f-a2d5-0f74c8f92915" providerId="ADAL" clId="{168FE2C6-A561-4C00-8270-E1D83101A49A}" dt="2025-03-30T23:22:19.339" v="10392" actId="692"/>
          <ac:graphicFrameMkLst>
            <pc:docMk/>
            <pc:sldMk cId="2009459704" sldId="309"/>
            <ac:graphicFrameMk id="16" creationId="{C48665AE-930D-5C20-11F4-08E335F5F242}"/>
          </ac:graphicFrameMkLst>
        </pc:graphicFrameChg>
        <pc:graphicFrameChg chg="mod">
          <ac:chgData name="Armaan Kumar" userId="a351e95c-5450-4e5f-a2d5-0f74c8f92915" providerId="ADAL" clId="{168FE2C6-A561-4C00-8270-E1D83101A49A}" dt="2025-03-30T23:23:59.221" v="10398" actId="1076"/>
          <ac:graphicFrameMkLst>
            <pc:docMk/>
            <pc:sldMk cId="2009459704" sldId="309"/>
            <ac:graphicFrameMk id="17" creationId="{F7AC9DED-2F24-CBFB-90ED-D007AB9CF246}"/>
          </ac:graphicFrameMkLst>
        </pc:graphicFrameChg>
        <pc:graphicFrameChg chg="add mod">
          <ac:chgData name="Armaan Kumar" userId="a351e95c-5450-4e5f-a2d5-0f74c8f92915" providerId="ADAL" clId="{168FE2C6-A561-4C00-8270-E1D83101A49A}" dt="2025-03-30T23:25:30.168" v="10405"/>
          <ac:graphicFrameMkLst>
            <pc:docMk/>
            <pc:sldMk cId="2009459704" sldId="309"/>
            <ac:graphicFrameMk id="20" creationId="{25D3DC49-E1AA-4AC3-11BA-0C217BC756EE}"/>
          </ac:graphicFrameMkLst>
        </pc:graphicFrameChg>
        <pc:cxnChg chg="add mod">
          <ac:chgData name="Armaan Kumar" userId="a351e95c-5450-4e5f-a2d5-0f74c8f92915" providerId="ADAL" clId="{168FE2C6-A561-4C00-8270-E1D83101A49A}" dt="2025-03-25T04:46:32.797" v="5402" actId="1076"/>
          <ac:cxnSpMkLst>
            <pc:docMk/>
            <pc:sldMk cId="2009459704" sldId="309"/>
            <ac:cxnSpMk id="9" creationId="{6E5BDF91-AFF5-BF43-2C79-1AD9877A2ACF}"/>
          </ac:cxnSpMkLst>
        </pc:cxnChg>
        <pc:cxnChg chg="add mod">
          <ac:chgData name="Armaan Kumar" userId="a351e95c-5450-4e5f-a2d5-0f74c8f92915" providerId="ADAL" clId="{168FE2C6-A561-4C00-8270-E1D83101A49A}" dt="2025-03-25T04:46:18.260" v="5399" actId="1076"/>
          <ac:cxnSpMkLst>
            <pc:docMk/>
            <pc:sldMk cId="2009459704" sldId="309"/>
            <ac:cxnSpMk id="11" creationId="{6EE94C07-E2DD-A5C3-16AD-910590713FAA}"/>
          </ac:cxnSpMkLst>
        </pc:cxnChg>
        <pc:cxnChg chg="add mod">
          <ac:chgData name="Armaan Kumar" userId="a351e95c-5450-4e5f-a2d5-0f74c8f92915" providerId="ADAL" clId="{168FE2C6-A561-4C00-8270-E1D83101A49A}" dt="2025-03-25T04:56:31.934" v="5468" actId="1076"/>
          <ac:cxnSpMkLst>
            <pc:docMk/>
            <pc:sldMk cId="2009459704" sldId="309"/>
            <ac:cxnSpMk id="13" creationId="{EB0C5DD2-FD2E-5459-B7D9-67AC962D59F7}"/>
          </ac:cxnSpMkLst>
        </pc:cxnChg>
      </pc:sldChg>
      <pc:sldChg chg="addSp delSp mod">
        <pc:chgData name="Armaan Kumar" userId="a351e95c-5450-4e5f-a2d5-0f74c8f92915" providerId="ADAL" clId="{168FE2C6-A561-4C00-8270-E1D83101A49A}" dt="2025-03-25T22:03:36.590" v="5679" actId="478"/>
        <pc:sldMkLst>
          <pc:docMk/>
          <pc:sldMk cId="1516102587" sldId="310"/>
        </pc:sldMkLst>
      </pc:sldChg>
      <pc:sldChg chg="modSp mod modShow">
        <pc:chgData name="Armaan Kumar" userId="a351e95c-5450-4e5f-a2d5-0f74c8f92915" providerId="ADAL" clId="{168FE2C6-A561-4C00-8270-E1D83101A49A}" dt="2025-04-01T17:35:27.663" v="15073" actId="729"/>
        <pc:sldMkLst>
          <pc:docMk/>
          <pc:sldMk cId="229152731" sldId="315"/>
        </pc:sldMkLst>
        <pc:spChg chg="mod">
          <ac:chgData name="Armaan Kumar" userId="a351e95c-5450-4e5f-a2d5-0f74c8f92915" providerId="ADAL" clId="{168FE2C6-A561-4C00-8270-E1D83101A49A}" dt="2025-04-01T17:09:56.711" v="14758" actId="1076"/>
          <ac:spMkLst>
            <pc:docMk/>
            <pc:sldMk cId="229152731" sldId="315"/>
            <ac:spMk id="2" creationId="{02A6688C-E660-48AE-EE4D-9AFD2E1911F3}"/>
          </ac:spMkLst>
        </pc:spChg>
        <pc:spChg chg="mod">
          <ac:chgData name="Armaan Kumar" userId="a351e95c-5450-4e5f-a2d5-0f74c8f92915" providerId="ADAL" clId="{168FE2C6-A561-4C00-8270-E1D83101A49A}" dt="2025-04-01T17:06:37.191" v="14752" actId="1076"/>
          <ac:spMkLst>
            <pc:docMk/>
            <pc:sldMk cId="229152731" sldId="315"/>
            <ac:spMk id="3" creationId="{1FF0B9F9-0803-7615-F4C7-3BCEF5E203A5}"/>
          </ac:spMkLst>
        </pc:spChg>
        <pc:spChg chg="mod">
          <ac:chgData name="Armaan Kumar" userId="a351e95c-5450-4e5f-a2d5-0f74c8f92915" providerId="ADAL" clId="{168FE2C6-A561-4C00-8270-E1D83101A49A}" dt="2025-04-01T17:13:12.130" v="14788" actId="1076"/>
          <ac:spMkLst>
            <pc:docMk/>
            <pc:sldMk cId="229152731" sldId="315"/>
            <ac:spMk id="15" creationId="{5325B6D1-45D5-E9D2-64C2-C9B410FB2B99}"/>
          </ac:spMkLst>
        </pc:spChg>
        <pc:spChg chg="mod">
          <ac:chgData name="Armaan Kumar" userId="a351e95c-5450-4e5f-a2d5-0f74c8f92915" providerId="ADAL" clId="{168FE2C6-A561-4C00-8270-E1D83101A49A}" dt="2025-04-01T17:13:12.130" v="14788" actId="1076"/>
          <ac:spMkLst>
            <pc:docMk/>
            <pc:sldMk cId="229152731" sldId="315"/>
            <ac:spMk id="16" creationId="{80720DA1-F568-D69C-6968-B107078A959D}"/>
          </ac:spMkLst>
        </pc:spChg>
        <pc:spChg chg="mod">
          <ac:chgData name="Armaan Kumar" userId="a351e95c-5450-4e5f-a2d5-0f74c8f92915" providerId="ADAL" clId="{168FE2C6-A561-4C00-8270-E1D83101A49A}" dt="2025-04-01T17:13:12.130" v="14788" actId="1076"/>
          <ac:spMkLst>
            <pc:docMk/>
            <pc:sldMk cId="229152731" sldId="315"/>
            <ac:spMk id="17" creationId="{5F5DD303-B63B-D7FE-EE85-7954675ACD29}"/>
          </ac:spMkLst>
        </pc:spChg>
        <pc:spChg chg="mod">
          <ac:chgData name="Armaan Kumar" userId="a351e95c-5450-4e5f-a2d5-0f74c8f92915" providerId="ADAL" clId="{168FE2C6-A561-4C00-8270-E1D83101A49A}" dt="2025-04-01T17:13:12.130" v="14788" actId="1076"/>
          <ac:spMkLst>
            <pc:docMk/>
            <pc:sldMk cId="229152731" sldId="315"/>
            <ac:spMk id="18" creationId="{472D1FD2-13F5-9A83-774D-0FA028DDA8B8}"/>
          </ac:spMkLst>
        </pc:spChg>
        <pc:spChg chg="mod">
          <ac:chgData name="Armaan Kumar" userId="a351e95c-5450-4e5f-a2d5-0f74c8f92915" providerId="ADAL" clId="{168FE2C6-A561-4C00-8270-E1D83101A49A}" dt="2025-04-01T17:13:12.130" v="14788" actId="1076"/>
          <ac:spMkLst>
            <pc:docMk/>
            <pc:sldMk cId="229152731" sldId="315"/>
            <ac:spMk id="20" creationId="{15BA42BB-0335-B18C-C60F-95E202AB26AB}"/>
          </ac:spMkLst>
        </pc:spChg>
      </pc:sldChg>
      <pc:sldChg chg="addSp delSp modSp new add del mod ord">
        <pc:chgData name="Armaan Kumar" userId="a351e95c-5450-4e5f-a2d5-0f74c8f92915" providerId="ADAL" clId="{168FE2C6-A561-4C00-8270-E1D83101A49A}" dt="2025-03-25T23:04:25.287" v="5823" actId="20577"/>
        <pc:sldMkLst>
          <pc:docMk/>
          <pc:sldMk cId="3256984854" sldId="319"/>
        </pc:sldMkLst>
      </pc:sldChg>
      <pc:sldChg chg="add del">
        <pc:chgData name="Armaan Kumar" userId="a351e95c-5450-4e5f-a2d5-0f74c8f92915" providerId="ADAL" clId="{168FE2C6-A561-4C00-8270-E1D83101A49A}" dt="2025-03-25T22:03:47.119" v="5681"/>
        <pc:sldMkLst>
          <pc:docMk/>
          <pc:sldMk cId="4143966824" sldId="320"/>
        </pc:sldMkLst>
      </pc:sldChg>
      <pc:sldChg chg="modSp del mod modShow">
        <pc:chgData name="Armaan Kumar" userId="a351e95c-5450-4e5f-a2d5-0f74c8f92915" providerId="ADAL" clId="{168FE2C6-A561-4C00-8270-E1D83101A49A}" dt="2025-03-31T02:38:46.385" v="11855" actId="47"/>
        <pc:sldMkLst>
          <pc:docMk/>
          <pc:sldMk cId="2218983133" sldId="2153"/>
        </pc:sldMkLst>
      </pc:sldChg>
      <pc:sldChg chg="modSp mod">
        <pc:chgData name="Armaan Kumar" userId="a351e95c-5450-4e5f-a2d5-0f74c8f92915" providerId="ADAL" clId="{168FE2C6-A561-4C00-8270-E1D83101A49A}" dt="2025-03-31T04:04:30.466" v="12368" actId="1076"/>
        <pc:sldMkLst>
          <pc:docMk/>
          <pc:sldMk cId="4186388113" sldId="2159"/>
        </pc:sldMkLst>
        <pc:spChg chg="mod">
          <ac:chgData name="Armaan Kumar" userId="a351e95c-5450-4e5f-a2d5-0f74c8f92915" providerId="ADAL" clId="{168FE2C6-A561-4C00-8270-E1D83101A49A}" dt="2025-03-31T04:04:30.466" v="12368" actId="1076"/>
          <ac:spMkLst>
            <pc:docMk/>
            <pc:sldMk cId="4186388113" sldId="2159"/>
            <ac:spMk id="12" creationId="{3C58E064-3E33-6A8E-BAFF-2400D3B7A35B}"/>
          </ac:spMkLst>
        </pc:spChg>
      </pc:sldChg>
      <pc:sldChg chg="modSp">
        <pc:chgData name="Armaan Kumar" userId="a351e95c-5450-4e5f-a2d5-0f74c8f92915" providerId="ADAL" clId="{168FE2C6-A561-4C00-8270-E1D83101A49A}" dt="2025-03-28T05:05:21.673" v="7795" actId="1076"/>
        <pc:sldMkLst>
          <pc:docMk/>
          <pc:sldMk cId="3761259953" sldId="2168"/>
        </pc:sldMkLst>
      </pc:sldChg>
      <pc:sldChg chg="delSp modSp new mod">
        <pc:chgData name="Armaan Kumar" userId="a351e95c-5450-4e5f-a2d5-0f74c8f92915" providerId="ADAL" clId="{168FE2C6-A561-4C00-8270-E1D83101A49A}" dt="2025-03-30T23:47:30.818" v="10642" actId="20577"/>
        <pc:sldMkLst>
          <pc:docMk/>
          <pc:sldMk cId="1597446827" sldId="2169"/>
        </pc:sldMkLst>
        <pc:spChg chg="mod">
          <ac:chgData name="Armaan Kumar" userId="a351e95c-5450-4e5f-a2d5-0f74c8f92915" providerId="ADAL" clId="{168FE2C6-A561-4C00-8270-E1D83101A49A}" dt="2025-03-27T00:58:49.566" v="6521" actId="20577"/>
          <ac:spMkLst>
            <pc:docMk/>
            <pc:sldMk cId="1597446827" sldId="2169"/>
            <ac:spMk id="2" creationId="{4F3717A4-9ABC-271C-3A27-71B7FE55F92C}"/>
          </ac:spMkLst>
        </pc:spChg>
        <pc:spChg chg="mod">
          <ac:chgData name="Armaan Kumar" userId="a351e95c-5450-4e5f-a2d5-0f74c8f92915" providerId="ADAL" clId="{168FE2C6-A561-4C00-8270-E1D83101A49A}" dt="2025-03-27T00:54:26.145" v="6358" actId="20577"/>
          <ac:spMkLst>
            <pc:docMk/>
            <pc:sldMk cId="1597446827" sldId="2169"/>
            <ac:spMk id="4" creationId="{507FBD7F-F1CF-A59D-966A-DC0EB63953CE}"/>
          </ac:spMkLst>
        </pc:spChg>
        <pc:spChg chg="mod">
          <ac:chgData name="Armaan Kumar" userId="a351e95c-5450-4e5f-a2d5-0f74c8f92915" providerId="ADAL" clId="{168FE2C6-A561-4C00-8270-E1D83101A49A}" dt="2025-03-30T23:47:30.818" v="10642" actId="20577"/>
          <ac:spMkLst>
            <pc:docMk/>
            <pc:sldMk cId="1597446827" sldId="2169"/>
            <ac:spMk id="6" creationId="{F44CCC8D-A049-8CFA-AF50-C0A32D4869AD}"/>
          </ac:spMkLst>
        </pc:spChg>
      </pc:sldChg>
      <pc:sldChg chg="modSp mod">
        <pc:chgData name="Armaan Kumar" userId="a351e95c-5450-4e5f-a2d5-0f74c8f92915" providerId="ADAL" clId="{168FE2C6-A561-4C00-8270-E1D83101A49A}" dt="2025-03-31T04:02:21.145" v="12364" actId="14100"/>
        <pc:sldMkLst>
          <pc:docMk/>
          <pc:sldMk cId="2071243324" sldId="2172"/>
        </pc:sldMkLst>
      </pc:sldChg>
      <pc:sldChg chg="mod modShow">
        <pc:chgData name="Armaan Kumar" userId="a351e95c-5450-4e5f-a2d5-0f74c8f92915" providerId="ADAL" clId="{168FE2C6-A561-4C00-8270-E1D83101A49A}" dt="2025-03-31T01:24:09.602" v="11660" actId="729"/>
        <pc:sldMkLst>
          <pc:docMk/>
          <pc:sldMk cId="2320753107" sldId="2176"/>
        </pc:sldMkLst>
      </pc:sldChg>
      <pc:sldChg chg="modSp mod">
        <pc:chgData name="Armaan Kumar" userId="a351e95c-5450-4e5f-a2d5-0f74c8f92915" providerId="ADAL" clId="{168FE2C6-A561-4C00-8270-E1D83101A49A}" dt="2025-03-29T17:19:26.206" v="8455" actId="20577"/>
        <pc:sldMkLst>
          <pc:docMk/>
          <pc:sldMk cId="2597588365" sldId="2177"/>
        </pc:sldMkLst>
        <pc:spChg chg="mod">
          <ac:chgData name="Armaan Kumar" userId="a351e95c-5450-4e5f-a2d5-0f74c8f92915" providerId="ADAL" clId="{168FE2C6-A561-4C00-8270-E1D83101A49A}" dt="2025-03-29T17:19:26.206" v="8455" actId="20577"/>
          <ac:spMkLst>
            <pc:docMk/>
            <pc:sldMk cId="2597588365" sldId="2177"/>
            <ac:spMk id="10" creationId="{45AE702E-CE87-32EE-F936-8D53756ABDCD}"/>
          </ac:spMkLst>
        </pc:spChg>
      </pc:sldChg>
      <pc:sldChg chg="addSp delSp modSp new del mod modShow">
        <pc:chgData name="Armaan Kumar" userId="a351e95c-5450-4e5f-a2d5-0f74c8f92915" providerId="ADAL" clId="{168FE2C6-A561-4C00-8270-E1D83101A49A}" dt="2025-03-31T02:34:12.631" v="11846" actId="47"/>
        <pc:sldMkLst>
          <pc:docMk/>
          <pc:sldMk cId="2282471407" sldId="2178"/>
        </pc:sldMkLst>
      </pc:sldChg>
      <pc:sldChg chg="addSp delSp modSp add del mod modShow">
        <pc:chgData name="Armaan Kumar" userId="a351e95c-5450-4e5f-a2d5-0f74c8f92915" providerId="ADAL" clId="{168FE2C6-A561-4C00-8270-E1D83101A49A}" dt="2025-03-31T02:34:11.304" v="11845" actId="47"/>
        <pc:sldMkLst>
          <pc:docMk/>
          <pc:sldMk cId="3307055563" sldId="2179"/>
        </pc:sldMkLst>
      </pc:sldChg>
      <pc:sldChg chg="modSp add del mod">
        <pc:chgData name="Armaan Kumar" userId="a351e95c-5450-4e5f-a2d5-0f74c8f92915" providerId="ADAL" clId="{168FE2C6-A561-4C00-8270-E1D83101A49A}" dt="2025-03-29T16:56:06.417" v="8349" actId="47"/>
        <pc:sldMkLst>
          <pc:docMk/>
          <pc:sldMk cId="3588266818" sldId="2180"/>
        </pc:sldMkLst>
      </pc:sldChg>
      <pc:sldChg chg="new">
        <pc:chgData name="Armaan Kumar" userId="a351e95c-5450-4e5f-a2d5-0f74c8f92915" providerId="ADAL" clId="{168FE2C6-A561-4C00-8270-E1D83101A49A}" dt="2025-03-29T16:56:04.878" v="8348" actId="680"/>
        <pc:sldMkLst>
          <pc:docMk/>
          <pc:sldMk cId="2827412732" sldId="2181"/>
        </pc:sldMkLst>
      </pc:sldChg>
      <pc:sldChg chg="modSp mod modShow">
        <pc:chgData name="Armaan Kumar" userId="a351e95c-5450-4e5f-a2d5-0f74c8f92915" providerId="ADAL" clId="{168FE2C6-A561-4C00-8270-E1D83101A49A}" dt="2025-03-30T15:21:22.973" v="9735" actId="729"/>
        <pc:sldMkLst>
          <pc:docMk/>
          <pc:sldMk cId="3810986052" sldId="2182"/>
        </pc:sldMkLst>
      </pc:sldChg>
      <pc:sldChg chg="modSp mod">
        <pc:chgData name="Armaan Kumar" userId="a351e95c-5450-4e5f-a2d5-0f74c8f92915" providerId="ADAL" clId="{168FE2C6-A561-4C00-8270-E1D83101A49A}" dt="2025-04-01T18:16:03.479" v="15186" actId="1076"/>
        <pc:sldMkLst>
          <pc:docMk/>
          <pc:sldMk cId="3476286386" sldId="2192"/>
        </pc:sldMkLst>
        <pc:spChg chg="mod">
          <ac:chgData name="Armaan Kumar" userId="a351e95c-5450-4e5f-a2d5-0f74c8f92915" providerId="ADAL" clId="{168FE2C6-A561-4C00-8270-E1D83101A49A}" dt="2025-04-01T18:16:03.479" v="15186" actId="1076"/>
          <ac:spMkLst>
            <pc:docMk/>
            <pc:sldMk cId="3476286386" sldId="2192"/>
            <ac:spMk id="2" creationId="{72E1E79C-90BC-9566-7975-44C16E947445}"/>
          </ac:spMkLst>
        </pc:spChg>
      </pc:sldChg>
      <pc:sldChg chg="modSp mod">
        <pc:chgData name="Armaan Kumar" userId="a351e95c-5450-4e5f-a2d5-0f74c8f92915" providerId="ADAL" clId="{168FE2C6-A561-4C00-8270-E1D83101A49A}" dt="2025-03-30T16:29:18.801" v="10005" actId="1076"/>
        <pc:sldMkLst>
          <pc:docMk/>
          <pc:sldMk cId="2401392241" sldId="2193"/>
        </pc:sldMkLst>
      </pc:sldChg>
      <pc:sldChg chg="addSp delSp modSp mod">
        <pc:chgData name="Armaan Kumar" userId="a351e95c-5450-4e5f-a2d5-0f74c8f92915" providerId="ADAL" clId="{168FE2C6-A561-4C00-8270-E1D83101A49A}" dt="2025-03-30T15:06:22.332" v="9539" actId="21"/>
        <pc:sldMkLst>
          <pc:docMk/>
          <pc:sldMk cId="580168930" sldId="2197"/>
        </pc:sldMkLst>
      </pc:sldChg>
      <pc:sldChg chg="addSp delSp modSp new mod">
        <pc:chgData name="Armaan Kumar" userId="a351e95c-5450-4e5f-a2d5-0f74c8f92915" providerId="ADAL" clId="{168FE2C6-A561-4C00-8270-E1D83101A49A}" dt="2025-03-31T21:18:45.667" v="12701" actId="14100"/>
        <pc:sldMkLst>
          <pc:docMk/>
          <pc:sldMk cId="2575535093" sldId="2201"/>
        </pc:sldMkLst>
        <pc:spChg chg="mod">
          <ac:chgData name="Armaan Kumar" userId="a351e95c-5450-4e5f-a2d5-0f74c8f92915" providerId="ADAL" clId="{168FE2C6-A561-4C00-8270-E1D83101A49A}" dt="2025-03-30T15:19:38.545" v="9732" actId="20577"/>
          <ac:spMkLst>
            <pc:docMk/>
            <pc:sldMk cId="2575535093" sldId="2201"/>
            <ac:spMk id="2" creationId="{915B47A2-E8C6-9C96-C96C-601DA40FE274}"/>
          </ac:spMkLst>
        </pc:spChg>
        <pc:spChg chg="mod">
          <ac:chgData name="Armaan Kumar" userId="a351e95c-5450-4e5f-a2d5-0f74c8f92915" providerId="ADAL" clId="{168FE2C6-A561-4C00-8270-E1D83101A49A}" dt="2025-03-30T14:13:14.295" v="8941"/>
          <ac:spMkLst>
            <pc:docMk/>
            <pc:sldMk cId="2575535093" sldId="2201"/>
            <ac:spMk id="4" creationId="{85FF5F6D-E4C8-9D97-A6AE-FF218DB293A5}"/>
          </ac:spMkLst>
        </pc:spChg>
        <pc:spChg chg="add mod">
          <ac:chgData name="Armaan Kumar" userId="a351e95c-5450-4e5f-a2d5-0f74c8f92915" providerId="ADAL" clId="{168FE2C6-A561-4C00-8270-E1D83101A49A}" dt="2025-03-30T14:54:53.214" v="9412" actId="113"/>
          <ac:spMkLst>
            <pc:docMk/>
            <pc:sldMk cId="2575535093" sldId="2201"/>
            <ac:spMk id="9" creationId="{6CE83239-0BE0-BD0F-2290-792EA9B0F9BC}"/>
          </ac:spMkLst>
        </pc:spChg>
        <pc:spChg chg="add mod">
          <ac:chgData name="Armaan Kumar" userId="a351e95c-5450-4e5f-a2d5-0f74c8f92915" providerId="ADAL" clId="{168FE2C6-A561-4C00-8270-E1D83101A49A}" dt="2025-03-30T14:12:35.395" v="8937"/>
          <ac:spMkLst>
            <pc:docMk/>
            <pc:sldMk cId="2575535093" sldId="2201"/>
            <ac:spMk id="10" creationId="{BB6CB9FD-B1A8-942E-9D77-E112009E4A94}"/>
          </ac:spMkLst>
        </pc:spChg>
        <pc:spChg chg="add mod">
          <ac:chgData name="Armaan Kumar" userId="a351e95c-5450-4e5f-a2d5-0f74c8f92915" providerId="ADAL" clId="{168FE2C6-A561-4C00-8270-E1D83101A49A}" dt="2025-03-30T14:12:35.395" v="8937"/>
          <ac:spMkLst>
            <pc:docMk/>
            <pc:sldMk cId="2575535093" sldId="2201"/>
            <ac:spMk id="11" creationId="{BBAD6737-51A5-465B-3E63-3438C364E435}"/>
          </ac:spMkLst>
        </pc:spChg>
        <pc:spChg chg="mod">
          <ac:chgData name="Armaan Kumar" userId="a351e95c-5450-4e5f-a2d5-0f74c8f92915" providerId="ADAL" clId="{168FE2C6-A561-4C00-8270-E1D83101A49A}" dt="2025-03-30T14:54:45.878" v="9411" actId="113"/>
          <ac:spMkLst>
            <pc:docMk/>
            <pc:sldMk cId="2575535093" sldId="2201"/>
            <ac:spMk id="12" creationId="{AD3A6158-A6FB-7858-B98E-50119AAA694A}"/>
          </ac:spMkLst>
        </pc:spChg>
        <pc:spChg chg="mod">
          <ac:chgData name="Armaan Kumar" userId="a351e95c-5450-4e5f-a2d5-0f74c8f92915" providerId="ADAL" clId="{168FE2C6-A561-4C00-8270-E1D83101A49A}" dt="2025-03-30T14:54:18.102" v="9401" actId="20577"/>
          <ac:spMkLst>
            <pc:docMk/>
            <pc:sldMk cId="2575535093" sldId="2201"/>
            <ac:spMk id="13" creationId="{DCEFBDA3-129C-18D8-BA0B-19C576FA92C8}"/>
          </ac:spMkLst>
        </pc:spChg>
        <pc:spChg chg="add mod">
          <ac:chgData name="Armaan Kumar" userId="a351e95c-5450-4e5f-a2d5-0f74c8f92915" providerId="ADAL" clId="{168FE2C6-A561-4C00-8270-E1D83101A49A}" dt="2025-03-30T14:59:28.517" v="9469" actId="20577"/>
          <ac:spMkLst>
            <pc:docMk/>
            <pc:sldMk cId="2575535093" sldId="2201"/>
            <ac:spMk id="14" creationId="{8DE5196E-0870-A4F2-DC84-8C766DFE40DC}"/>
          </ac:spMkLst>
        </pc:spChg>
        <pc:spChg chg="add mod">
          <ac:chgData name="Armaan Kumar" userId="a351e95c-5450-4e5f-a2d5-0f74c8f92915" providerId="ADAL" clId="{168FE2C6-A561-4C00-8270-E1D83101A49A}" dt="2025-03-30T14:12:35.395" v="8937"/>
          <ac:spMkLst>
            <pc:docMk/>
            <pc:sldMk cId="2575535093" sldId="2201"/>
            <ac:spMk id="15" creationId="{F754DAD9-6A40-F484-E9FA-63B5A361BD19}"/>
          </ac:spMkLst>
        </pc:spChg>
        <pc:spChg chg="add mod">
          <ac:chgData name="Armaan Kumar" userId="a351e95c-5450-4e5f-a2d5-0f74c8f92915" providerId="ADAL" clId="{168FE2C6-A561-4C00-8270-E1D83101A49A}" dt="2025-03-30T14:12:35.395" v="8937"/>
          <ac:spMkLst>
            <pc:docMk/>
            <pc:sldMk cId="2575535093" sldId="2201"/>
            <ac:spMk id="16" creationId="{6E915980-F795-9B06-3A3C-BD1EBD5A6A95}"/>
          </ac:spMkLst>
        </pc:spChg>
        <pc:spChg chg="add mod">
          <ac:chgData name="Armaan Kumar" userId="a351e95c-5450-4e5f-a2d5-0f74c8f92915" providerId="ADAL" clId="{168FE2C6-A561-4C00-8270-E1D83101A49A}" dt="2025-03-30T15:02:54.222" v="9495" actId="20577"/>
          <ac:spMkLst>
            <pc:docMk/>
            <pc:sldMk cId="2575535093" sldId="2201"/>
            <ac:spMk id="17" creationId="{25A7D32A-801B-51B1-889B-70F9BE7677E2}"/>
          </ac:spMkLst>
        </pc:spChg>
        <pc:spChg chg="add mod">
          <ac:chgData name="Armaan Kumar" userId="a351e95c-5450-4e5f-a2d5-0f74c8f92915" providerId="ADAL" clId="{168FE2C6-A561-4C00-8270-E1D83101A49A}" dt="2025-03-30T14:57:04.670" v="9432" actId="20577"/>
          <ac:spMkLst>
            <pc:docMk/>
            <pc:sldMk cId="2575535093" sldId="2201"/>
            <ac:spMk id="18" creationId="{2759D637-E8DB-EAB5-756C-DF97CA2B2BAC}"/>
          </ac:spMkLst>
        </pc:spChg>
        <pc:spChg chg="mod">
          <ac:chgData name="Armaan Kumar" userId="a351e95c-5450-4e5f-a2d5-0f74c8f92915" providerId="ADAL" clId="{168FE2C6-A561-4C00-8270-E1D83101A49A}" dt="2025-03-30T14:59:43.415" v="9471" actId="20577"/>
          <ac:spMkLst>
            <pc:docMk/>
            <pc:sldMk cId="2575535093" sldId="2201"/>
            <ac:spMk id="19" creationId="{2704854C-D14D-CC27-8527-9C3D945D386A}"/>
          </ac:spMkLst>
        </pc:spChg>
        <pc:spChg chg="add mod">
          <ac:chgData name="Armaan Kumar" userId="a351e95c-5450-4e5f-a2d5-0f74c8f92915" providerId="ADAL" clId="{168FE2C6-A561-4C00-8270-E1D83101A49A}" dt="2025-03-30T14:12:35.395" v="8937"/>
          <ac:spMkLst>
            <pc:docMk/>
            <pc:sldMk cId="2575535093" sldId="2201"/>
            <ac:spMk id="21" creationId="{A7E600FC-36F7-B281-4BBD-F03F11D1A4F9}"/>
          </ac:spMkLst>
        </pc:spChg>
        <pc:spChg chg="mod">
          <ac:chgData name="Armaan Kumar" userId="a351e95c-5450-4e5f-a2d5-0f74c8f92915" providerId="ADAL" clId="{168FE2C6-A561-4C00-8270-E1D83101A49A}" dt="2025-03-30T15:04:02.311" v="9524" actId="20577"/>
          <ac:spMkLst>
            <pc:docMk/>
            <pc:sldMk cId="2575535093" sldId="2201"/>
            <ac:spMk id="22" creationId="{3A002684-B26A-3397-50C0-D3C485184040}"/>
          </ac:spMkLst>
        </pc:spChg>
        <pc:spChg chg="add mod">
          <ac:chgData name="Armaan Kumar" userId="a351e95c-5450-4e5f-a2d5-0f74c8f92915" providerId="ADAL" clId="{168FE2C6-A561-4C00-8270-E1D83101A49A}" dt="2025-03-30T15:03:20.104" v="9504" actId="20577"/>
          <ac:spMkLst>
            <pc:docMk/>
            <pc:sldMk cId="2575535093" sldId="2201"/>
            <ac:spMk id="23" creationId="{FB82E0CE-59FE-248B-1458-860656293F9C}"/>
          </ac:spMkLst>
        </pc:spChg>
        <pc:spChg chg="add mod ord">
          <ac:chgData name="Armaan Kumar" userId="a351e95c-5450-4e5f-a2d5-0f74c8f92915" providerId="ADAL" clId="{168FE2C6-A561-4C00-8270-E1D83101A49A}" dt="2025-03-30T15:07:50.915" v="9560" actId="167"/>
          <ac:spMkLst>
            <pc:docMk/>
            <pc:sldMk cId="2575535093" sldId="2201"/>
            <ac:spMk id="27" creationId="{A1A084A3-6589-5EFA-E73B-035CAC14C10C}"/>
          </ac:spMkLst>
        </pc:spChg>
        <pc:spChg chg="add mod ord">
          <ac:chgData name="Armaan Kumar" userId="a351e95c-5450-4e5f-a2d5-0f74c8f92915" providerId="ADAL" clId="{168FE2C6-A561-4C00-8270-E1D83101A49A}" dt="2025-03-30T15:08:18.473" v="9571" actId="1076"/>
          <ac:spMkLst>
            <pc:docMk/>
            <pc:sldMk cId="2575535093" sldId="2201"/>
            <ac:spMk id="28" creationId="{AED55B1D-E79B-C6B2-6C43-7D7F251762D8}"/>
          </ac:spMkLst>
        </pc:spChg>
        <pc:spChg chg="add mod ord">
          <ac:chgData name="Armaan Kumar" userId="a351e95c-5450-4e5f-a2d5-0f74c8f92915" providerId="ADAL" clId="{168FE2C6-A561-4C00-8270-E1D83101A49A}" dt="2025-03-31T21:18:45.667" v="12701" actId="14100"/>
          <ac:spMkLst>
            <pc:docMk/>
            <pc:sldMk cId="2575535093" sldId="2201"/>
            <ac:spMk id="29" creationId="{740AAE53-17B5-5B01-4A9D-DB73A4479027}"/>
          </ac:spMkLst>
        </pc:spChg>
        <pc:picChg chg="add mod">
          <ac:chgData name="Armaan Kumar" userId="a351e95c-5450-4e5f-a2d5-0f74c8f92915" providerId="ADAL" clId="{168FE2C6-A561-4C00-8270-E1D83101A49A}" dt="2025-03-30T15:49:17.010" v="9992" actId="18613"/>
          <ac:picMkLst>
            <pc:docMk/>
            <pc:sldMk cId="2575535093" sldId="2201"/>
            <ac:picMk id="24" creationId="{8E70DA8C-BDF5-3D2F-C7F0-0D1F940D0FD0}"/>
          </ac:picMkLst>
        </pc:picChg>
        <pc:picChg chg="add mod">
          <ac:chgData name="Armaan Kumar" userId="a351e95c-5450-4e5f-a2d5-0f74c8f92915" providerId="ADAL" clId="{168FE2C6-A561-4C00-8270-E1D83101A49A}" dt="2025-03-30T15:49:24.442" v="9993" actId="18613"/>
          <ac:picMkLst>
            <pc:docMk/>
            <pc:sldMk cId="2575535093" sldId="2201"/>
            <ac:picMk id="25" creationId="{16BE8E71-21F8-F4F3-00E7-E97D0D36D9BD}"/>
          </ac:picMkLst>
        </pc:picChg>
        <pc:picChg chg="add mod">
          <ac:chgData name="Armaan Kumar" userId="a351e95c-5450-4e5f-a2d5-0f74c8f92915" providerId="ADAL" clId="{168FE2C6-A561-4C00-8270-E1D83101A49A}" dt="2025-03-30T15:49:30.347" v="9994" actId="18613"/>
          <ac:picMkLst>
            <pc:docMk/>
            <pc:sldMk cId="2575535093" sldId="2201"/>
            <ac:picMk id="26" creationId="{48710FDD-D9BE-EEAC-2CF4-4D3FDA7C7437}"/>
          </ac:picMkLst>
        </pc:picChg>
      </pc:sldChg>
      <pc:sldChg chg="addSp delSp modSp new mod">
        <pc:chgData name="Armaan Kumar" userId="a351e95c-5450-4e5f-a2d5-0f74c8f92915" providerId="ADAL" clId="{168FE2C6-A561-4C00-8270-E1D83101A49A}" dt="2025-04-02T13:48:23.489" v="19473" actId="20577"/>
        <pc:sldMkLst>
          <pc:docMk/>
          <pc:sldMk cId="2803849648" sldId="2202"/>
        </pc:sldMkLst>
        <pc:spChg chg="mod">
          <ac:chgData name="Armaan Kumar" userId="a351e95c-5450-4e5f-a2d5-0f74c8f92915" providerId="ADAL" clId="{168FE2C6-A561-4C00-8270-E1D83101A49A}" dt="2025-03-30T15:08:56.826" v="9640" actId="20577"/>
          <ac:spMkLst>
            <pc:docMk/>
            <pc:sldMk cId="2803849648" sldId="2202"/>
            <ac:spMk id="2" creationId="{F1BFEAB8-2BA7-551C-D37A-2BBC822209EE}"/>
          </ac:spMkLst>
        </pc:spChg>
        <pc:spChg chg="mod">
          <ac:chgData name="Armaan Kumar" userId="a351e95c-5450-4e5f-a2d5-0f74c8f92915" providerId="ADAL" clId="{168FE2C6-A561-4C00-8270-E1D83101A49A}" dt="2025-03-30T15:08:39.723" v="9596"/>
          <ac:spMkLst>
            <pc:docMk/>
            <pc:sldMk cId="2803849648" sldId="2202"/>
            <ac:spMk id="4" creationId="{98EAA6AC-B5F2-1FBB-8DAF-D3ACECD9C358}"/>
          </ac:spMkLst>
        </pc:spChg>
        <pc:spChg chg="add mod">
          <ac:chgData name="Armaan Kumar" userId="a351e95c-5450-4e5f-a2d5-0f74c8f92915" providerId="ADAL" clId="{168FE2C6-A561-4C00-8270-E1D83101A49A}" dt="2025-03-30T15:01:06.574" v="9481"/>
          <ac:spMkLst>
            <pc:docMk/>
            <pc:sldMk cId="2803849648" sldId="2202"/>
            <ac:spMk id="9" creationId="{90F2BFD6-1654-07B9-771F-B08688B3F1BD}"/>
          </ac:spMkLst>
        </pc:spChg>
        <pc:spChg chg="add mod">
          <ac:chgData name="Armaan Kumar" userId="a351e95c-5450-4e5f-a2d5-0f74c8f92915" providerId="ADAL" clId="{168FE2C6-A561-4C00-8270-E1D83101A49A}" dt="2025-03-30T14:12:49.263" v="8940"/>
          <ac:spMkLst>
            <pc:docMk/>
            <pc:sldMk cId="2803849648" sldId="2202"/>
            <ac:spMk id="10" creationId="{5890DF59-CA32-25C9-6EAA-54E45D76C496}"/>
          </ac:spMkLst>
        </pc:spChg>
        <pc:spChg chg="add mod">
          <ac:chgData name="Armaan Kumar" userId="a351e95c-5450-4e5f-a2d5-0f74c8f92915" providerId="ADAL" clId="{168FE2C6-A561-4C00-8270-E1D83101A49A}" dt="2025-03-30T14:12:49.263" v="8940"/>
          <ac:spMkLst>
            <pc:docMk/>
            <pc:sldMk cId="2803849648" sldId="2202"/>
            <ac:spMk id="11" creationId="{2E1DA717-81E7-C0A3-E391-5BC3BB30C45C}"/>
          </ac:spMkLst>
        </pc:spChg>
        <pc:spChg chg="mod">
          <ac:chgData name="Armaan Kumar" userId="a351e95c-5450-4e5f-a2d5-0f74c8f92915" providerId="ADAL" clId="{168FE2C6-A561-4C00-8270-E1D83101A49A}" dt="2025-03-30T15:14:19.831" v="9666" actId="21"/>
          <ac:spMkLst>
            <pc:docMk/>
            <pc:sldMk cId="2803849648" sldId="2202"/>
            <ac:spMk id="12" creationId="{9FAC53CC-D6F9-EA6D-0207-3C970DC6DB35}"/>
          </ac:spMkLst>
        </pc:spChg>
        <pc:spChg chg="mod">
          <ac:chgData name="Armaan Kumar" userId="a351e95c-5450-4e5f-a2d5-0f74c8f92915" providerId="ADAL" clId="{168FE2C6-A561-4C00-8270-E1D83101A49A}" dt="2025-03-30T15:15:13.267" v="9708" actId="20577"/>
          <ac:spMkLst>
            <pc:docMk/>
            <pc:sldMk cId="2803849648" sldId="2202"/>
            <ac:spMk id="13" creationId="{C88C65A6-3DA9-F78E-53E4-AC025E64DD38}"/>
          </ac:spMkLst>
        </pc:spChg>
        <pc:spChg chg="mod">
          <ac:chgData name="Armaan Kumar" userId="a351e95c-5450-4e5f-a2d5-0f74c8f92915" providerId="ADAL" clId="{168FE2C6-A561-4C00-8270-E1D83101A49A}" dt="2025-03-30T15:01:18.898" v="9483" actId="20577"/>
          <ac:spMkLst>
            <pc:docMk/>
            <pc:sldMk cId="2803849648" sldId="2202"/>
            <ac:spMk id="14" creationId="{036F7A20-8953-4844-1F89-F3B18ABC9674}"/>
          </ac:spMkLst>
        </pc:spChg>
        <pc:spChg chg="add mod">
          <ac:chgData name="Armaan Kumar" userId="a351e95c-5450-4e5f-a2d5-0f74c8f92915" providerId="ADAL" clId="{168FE2C6-A561-4C00-8270-E1D83101A49A}" dt="2025-03-30T14:12:49.263" v="8940"/>
          <ac:spMkLst>
            <pc:docMk/>
            <pc:sldMk cId="2803849648" sldId="2202"/>
            <ac:spMk id="15" creationId="{67E45848-15C9-9274-D5B8-C2AD2BC7A6F8}"/>
          </ac:spMkLst>
        </pc:spChg>
        <pc:spChg chg="add mod">
          <ac:chgData name="Armaan Kumar" userId="a351e95c-5450-4e5f-a2d5-0f74c8f92915" providerId="ADAL" clId="{168FE2C6-A561-4C00-8270-E1D83101A49A}" dt="2025-03-30T15:18:59.315" v="9731" actId="20577"/>
          <ac:spMkLst>
            <pc:docMk/>
            <pc:sldMk cId="2803849648" sldId="2202"/>
            <ac:spMk id="17" creationId="{FAA12DDD-6273-3CD9-98DB-78F9950DE3D6}"/>
          </ac:spMkLst>
        </pc:spChg>
        <pc:spChg chg="add mod">
          <ac:chgData name="Armaan Kumar" userId="a351e95c-5450-4e5f-a2d5-0f74c8f92915" providerId="ADAL" clId="{168FE2C6-A561-4C00-8270-E1D83101A49A}" dt="2025-03-30T15:15:49.403" v="9710"/>
          <ac:spMkLst>
            <pc:docMk/>
            <pc:sldMk cId="2803849648" sldId="2202"/>
            <ac:spMk id="18" creationId="{86B52D74-DCB0-0526-9EF3-D0D02854370D}"/>
          </ac:spMkLst>
        </pc:spChg>
        <pc:spChg chg="add mod">
          <ac:chgData name="Armaan Kumar" userId="a351e95c-5450-4e5f-a2d5-0f74c8f92915" providerId="ADAL" clId="{168FE2C6-A561-4C00-8270-E1D83101A49A}" dt="2025-03-30T14:57:31.144" v="9451" actId="20577"/>
          <ac:spMkLst>
            <pc:docMk/>
            <pc:sldMk cId="2803849648" sldId="2202"/>
            <ac:spMk id="19" creationId="{6A786C0F-6476-0537-946F-B79874A079FB}"/>
          </ac:spMkLst>
        </pc:spChg>
        <pc:spChg chg="add mod">
          <ac:chgData name="Armaan Kumar" userId="a351e95c-5450-4e5f-a2d5-0f74c8f92915" providerId="ADAL" clId="{168FE2C6-A561-4C00-8270-E1D83101A49A}" dt="2025-03-30T14:12:49.263" v="8940"/>
          <ac:spMkLst>
            <pc:docMk/>
            <pc:sldMk cId="2803849648" sldId="2202"/>
            <ac:spMk id="20" creationId="{E599FE9E-F08E-0AEF-5D17-CF8ED4B3D110}"/>
          </ac:spMkLst>
        </pc:spChg>
        <pc:spChg chg="add mod">
          <ac:chgData name="Armaan Kumar" userId="a351e95c-5450-4e5f-a2d5-0f74c8f92915" providerId="ADAL" clId="{168FE2C6-A561-4C00-8270-E1D83101A49A}" dt="2025-04-01T04:56:48.786" v="14693" actId="20577"/>
          <ac:spMkLst>
            <pc:docMk/>
            <pc:sldMk cId="2803849648" sldId="2202"/>
            <ac:spMk id="22" creationId="{13B3C554-537E-F10A-947F-2655A709E413}"/>
          </ac:spMkLst>
        </pc:spChg>
        <pc:spChg chg="add mod">
          <ac:chgData name="Armaan Kumar" userId="a351e95c-5450-4e5f-a2d5-0f74c8f92915" providerId="ADAL" clId="{168FE2C6-A561-4C00-8270-E1D83101A49A}" dt="2025-04-02T13:48:23.489" v="19473" actId="20577"/>
          <ac:spMkLst>
            <pc:docMk/>
            <pc:sldMk cId="2803849648" sldId="2202"/>
            <ac:spMk id="23" creationId="{6034E5E6-9F8B-EE36-ED76-A1ED4A533498}"/>
          </ac:spMkLst>
        </pc:spChg>
        <pc:spChg chg="add mod ord">
          <ac:chgData name="Armaan Kumar" userId="a351e95c-5450-4e5f-a2d5-0f74c8f92915" providerId="ADAL" clId="{168FE2C6-A561-4C00-8270-E1D83101A49A}" dt="2025-03-30T15:07:14.642" v="9551" actId="167"/>
          <ac:spMkLst>
            <pc:docMk/>
            <pc:sldMk cId="2803849648" sldId="2202"/>
            <ac:spMk id="27" creationId="{6D514475-9EED-6D07-F4BF-9BEFD182B83C}"/>
          </ac:spMkLst>
        </pc:spChg>
        <pc:spChg chg="add mod ord">
          <ac:chgData name="Armaan Kumar" userId="a351e95c-5450-4e5f-a2d5-0f74c8f92915" providerId="ADAL" clId="{168FE2C6-A561-4C00-8270-E1D83101A49A}" dt="2025-03-30T15:07:28.041" v="9554" actId="167"/>
          <ac:spMkLst>
            <pc:docMk/>
            <pc:sldMk cId="2803849648" sldId="2202"/>
            <ac:spMk id="28" creationId="{1D4CABE4-BB92-5060-5E3A-62BE879DB4C6}"/>
          </ac:spMkLst>
        </pc:spChg>
        <pc:spChg chg="add mod ord">
          <ac:chgData name="Armaan Kumar" userId="a351e95c-5450-4e5f-a2d5-0f74c8f92915" providerId="ADAL" clId="{168FE2C6-A561-4C00-8270-E1D83101A49A}" dt="2025-03-30T15:07:42.126" v="9558" actId="1076"/>
          <ac:spMkLst>
            <pc:docMk/>
            <pc:sldMk cId="2803849648" sldId="2202"/>
            <ac:spMk id="29" creationId="{01CC332E-6A23-402B-3FDF-B5E049F7B477}"/>
          </ac:spMkLst>
        </pc:spChg>
        <pc:picChg chg="add mod">
          <ac:chgData name="Armaan Kumar" userId="a351e95c-5450-4e5f-a2d5-0f74c8f92915" providerId="ADAL" clId="{168FE2C6-A561-4C00-8270-E1D83101A49A}" dt="2025-03-30T14:45:22.798" v="9041" actId="1076"/>
          <ac:picMkLst>
            <pc:docMk/>
            <pc:sldMk cId="2803849648" sldId="2202"/>
            <ac:picMk id="24" creationId="{E0858504-1378-F1A7-27DB-AC227F7F66F9}"/>
          </ac:picMkLst>
        </pc:picChg>
        <pc:picChg chg="add mod">
          <ac:chgData name="Armaan Kumar" userId="a351e95c-5450-4e5f-a2d5-0f74c8f92915" providerId="ADAL" clId="{168FE2C6-A561-4C00-8270-E1D83101A49A}" dt="2025-03-30T15:49:47.617" v="9995" actId="18613"/>
          <ac:picMkLst>
            <pc:docMk/>
            <pc:sldMk cId="2803849648" sldId="2202"/>
            <ac:picMk id="25" creationId="{6AC9C92B-2201-B23F-4F79-1EF708DDB0BC}"/>
          </ac:picMkLst>
        </pc:picChg>
        <pc:picChg chg="add mod">
          <ac:chgData name="Armaan Kumar" userId="a351e95c-5450-4e5f-a2d5-0f74c8f92915" providerId="ADAL" clId="{168FE2C6-A561-4C00-8270-E1D83101A49A}" dt="2025-03-30T15:49:52.986" v="9996" actId="18613"/>
          <ac:picMkLst>
            <pc:docMk/>
            <pc:sldMk cId="2803849648" sldId="2202"/>
            <ac:picMk id="26" creationId="{E30AEBAE-DD88-3746-7191-F14C3E64B6E6}"/>
          </ac:picMkLst>
        </pc:picChg>
      </pc:sldChg>
      <pc:sldChg chg="addSp delSp modSp new mod">
        <pc:chgData name="Armaan Kumar" userId="a351e95c-5450-4e5f-a2d5-0f74c8f92915" providerId="ADAL" clId="{168FE2C6-A561-4C00-8270-E1D83101A49A}" dt="2025-04-02T13:13:41.051" v="19466" actId="1037"/>
        <pc:sldMkLst>
          <pc:docMk/>
          <pc:sldMk cId="807869692" sldId="2203"/>
        </pc:sldMkLst>
        <pc:spChg chg="mod">
          <ac:chgData name="Armaan Kumar" userId="a351e95c-5450-4e5f-a2d5-0f74c8f92915" providerId="ADAL" clId="{168FE2C6-A561-4C00-8270-E1D83101A49A}" dt="2025-04-01T13:20:37.026" v="14749" actId="20577"/>
          <ac:spMkLst>
            <pc:docMk/>
            <pc:sldMk cId="807869692" sldId="2203"/>
            <ac:spMk id="2" creationId="{C419F548-3B72-045A-075D-14DE0C372F39}"/>
          </ac:spMkLst>
        </pc:spChg>
        <pc:spChg chg="add mod">
          <ac:chgData name="Armaan Kumar" userId="a351e95c-5450-4e5f-a2d5-0f74c8f92915" providerId="ADAL" clId="{168FE2C6-A561-4C00-8270-E1D83101A49A}" dt="2025-04-02T13:13:41.051" v="19466" actId="1037"/>
          <ac:spMkLst>
            <pc:docMk/>
            <pc:sldMk cId="807869692" sldId="2203"/>
            <ac:spMk id="3" creationId="{0CD95456-9592-7419-D4C5-AB1666A648AE}"/>
          </ac:spMkLst>
        </pc:spChg>
        <pc:spChg chg="mod">
          <ac:chgData name="Armaan Kumar" userId="a351e95c-5450-4e5f-a2d5-0f74c8f92915" providerId="ADAL" clId="{168FE2C6-A561-4C00-8270-E1D83101A49A}" dt="2025-03-30T14:49:15.759" v="9136" actId="20577"/>
          <ac:spMkLst>
            <pc:docMk/>
            <pc:sldMk cId="807869692" sldId="2203"/>
            <ac:spMk id="4" creationId="{A4BC5B77-C0CD-1A16-F05F-23850F46E927}"/>
          </ac:spMkLst>
        </pc:spChg>
        <pc:spChg chg="add mod">
          <ac:chgData name="Armaan Kumar" userId="a351e95c-5450-4e5f-a2d5-0f74c8f92915" providerId="ADAL" clId="{168FE2C6-A561-4C00-8270-E1D83101A49A}" dt="2025-04-01T13:20:32.300" v="14736" actId="1076"/>
          <ac:spMkLst>
            <pc:docMk/>
            <pc:sldMk cId="807869692" sldId="2203"/>
            <ac:spMk id="6" creationId="{5E06860B-9857-6E2A-0EDF-116927C09F32}"/>
          </ac:spMkLst>
        </pc:spChg>
        <pc:spChg chg="add mod">
          <ac:chgData name="Armaan Kumar" userId="a351e95c-5450-4e5f-a2d5-0f74c8f92915" providerId="ADAL" clId="{168FE2C6-A561-4C00-8270-E1D83101A49A}" dt="2025-04-01T13:20:32.300" v="14736" actId="1076"/>
          <ac:spMkLst>
            <pc:docMk/>
            <pc:sldMk cId="807869692" sldId="2203"/>
            <ac:spMk id="7" creationId="{4E1146ED-61C1-AB9C-EABB-00FFB0353CFA}"/>
          </ac:spMkLst>
        </pc:spChg>
        <pc:spChg chg="add mod">
          <ac:chgData name="Armaan Kumar" userId="a351e95c-5450-4e5f-a2d5-0f74c8f92915" providerId="ADAL" clId="{168FE2C6-A561-4C00-8270-E1D83101A49A}" dt="2025-04-01T13:20:32.300" v="14736" actId="1076"/>
          <ac:spMkLst>
            <pc:docMk/>
            <pc:sldMk cId="807869692" sldId="2203"/>
            <ac:spMk id="8" creationId="{24A69260-365A-3CFF-8012-F04485BE3E11}"/>
          </ac:spMkLst>
        </pc:spChg>
        <pc:spChg chg="add mod">
          <ac:chgData name="Armaan Kumar" userId="a351e95c-5450-4e5f-a2d5-0f74c8f92915" providerId="ADAL" clId="{168FE2C6-A561-4C00-8270-E1D83101A49A}" dt="2025-04-01T13:20:32.300" v="14736" actId="1076"/>
          <ac:spMkLst>
            <pc:docMk/>
            <pc:sldMk cId="807869692" sldId="2203"/>
            <ac:spMk id="9" creationId="{F542ECCE-A83B-AAB2-AC65-87E030490D1B}"/>
          </ac:spMkLst>
        </pc:spChg>
        <pc:spChg chg="add mod">
          <ac:chgData name="Armaan Kumar" userId="a351e95c-5450-4e5f-a2d5-0f74c8f92915" providerId="ADAL" clId="{168FE2C6-A561-4C00-8270-E1D83101A49A}" dt="2025-04-01T13:20:32.300" v="14736" actId="1076"/>
          <ac:spMkLst>
            <pc:docMk/>
            <pc:sldMk cId="807869692" sldId="2203"/>
            <ac:spMk id="10" creationId="{4EAE832B-7247-C0F5-CF47-46688B1042EB}"/>
          </ac:spMkLst>
        </pc:spChg>
        <pc:spChg chg="add del mod">
          <ac:chgData name="Armaan Kumar" userId="a351e95c-5450-4e5f-a2d5-0f74c8f92915" providerId="ADAL" clId="{168FE2C6-A561-4C00-8270-E1D83101A49A}" dt="2025-04-01T13:15:57.287" v="14700" actId="478"/>
          <ac:spMkLst>
            <pc:docMk/>
            <pc:sldMk cId="807869692" sldId="2203"/>
            <ac:spMk id="13" creationId="{78C9B135-315B-C60B-8D86-5ADD0F592051}"/>
          </ac:spMkLst>
        </pc:spChg>
        <pc:spChg chg="add del mod">
          <ac:chgData name="Armaan Kumar" userId="a351e95c-5450-4e5f-a2d5-0f74c8f92915" providerId="ADAL" clId="{168FE2C6-A561-4C00-8270-E1D83101A49A}" dt="2025-04-01T04:48:00.382" v="14640" actId="478"/>
          <ac:spMkLst>
            <pc:docMk/>
            <pc:sldMk cId="807869692" sldId="2203"/>
            <ac:spMk id="14" creationId="{3A5E9357-A6FA-324F-4CCF-EE625625A279}"/>
          </ac:spMkLst>
        </pc:spChg>
        <pc:spChg chg="add mod ord">
          <ac:chgData name="Armaan Kumar" userId="a351e95c-5450-4e5f-a2d5-0f74c8f92915" providerId="ADAL" clId="{168FE2C6-A561-4C00-8270-E1D83101A49A}" dt="2025-04-01T13:20:32.300" v="14736" actId="1076"/>
          <ac:spMkLst>
            <pc:docMk/>
            <pc:sldMk cId="807869692" sldId="2203"/>
            <ac:spMk id="15" creationId="{09A3E195-69FC-F9AE-CDCD-0AB7B7A13290}"/>
          </ac:spMkLst>
        </pc:spChg>
        <pc:spChg chg="add del mod">
          <ac:chgData name="Armaan Kumar" userId="a351e95c-5450-4e5f-a2d5-0f74c8f92915" providerId="ADAL" clId="{168FE2C6-A561-4C00-8270-E1D83101A49A}" dt="2025-04-01T04:48:27.234" v="14647" actId="478"/>
          <ac:spMkLst>
            <pc:docMk/>
            <pc:sldMk cId="807869692" sldId="2203"/>
            <ac:spMk id="16" creationId="{081D7A52-6363-868D-3C20-2ABF6225D613}"/>
          </ac:spMkLst>
        </pc:spChg>
        <pc:spChg chg="add del mod ord">
          <ac:chgData name="Armaan Kumar" userId="a351e95c-5450-4e5f-a2d5-0f74c8f92915" providerId="ADAL" clId="{168FE2C6-A561-4C00-8270-E1D83101A49A}" dt="2025-04-01T13:20:11.758" v="14734" actId="478"/>
          <ac:spMkLst>
            <pc:docMk/>
            <pc:sldMk cId="807869692" sldId="2203"/>
            <ac:spMk id="19" creationId="{523306EF-376F-6461-C771-167998DB23AC}"/>
          </ac:spMkLst>
        </pc:spChg>
        <pc:spChg chg="add del mod">
          <ac:chgData name="Armaan Kumar" userId="a351e95c-5450-4e5f-a2d5-0f74c8f92915" providerId="ADAL" clId="{168FE2C6-A561-4C00-8270-E1D83101A49A}" dt="2025-04-01T13:16:02.203" v="14702" actId="478"/>
          <ac:spMkLst>
            <pc:docMk/>
            <pc:sldMk cId="807869692" sldId="2203"/>
            <ac:spMk id="20" creationId="{AEC6DDB5-DA4F-8BAB-4EB6-EA980D44A64E}"/>
          </ac:spMkLst>
        </pc:spChg>
        <pc:spChg chg="add del mod">
          <ac:chgData name="Armaan Kumar" userId="a351e95c-5450-4e5f-a2d5-0f74c8f92915" providerId="ADAL" clId="{168FE2C6-A561-4C00-8270-E1D83101A49A}" dt="2025-04-01T13:16:04.621" v="14703" actId="478"/>
          <ac:spMkLst>
            <pc:docMk/>
            <pc:sldMk cId="807869692" sldId="2203"/>
            <ac:spMk id="21" creationId="{8F79E73B-07F6-AFB5-5C9E-6CFF180E3457}"/>
          </ac:spMkLst>
        </pc:spChg>
        <pc:spChg chg="add del mod">
          <ac:chgData name="Armaan Kumar" userId="a351e95c-5450-4e5f-a2d5-0f74c8f92915" providerId="ADAL" clId="{168FE2C6-A561-4C00-8270-E1D83101A49A}" dt="2025-04-01T13:15:52.025" v="14697" actId="478"/>
          <ac:spMkLst>
            <pc:docMk/>
            <pc:sldMk cId="807869692" sldId="2203"/>
            <ac:spMk id="22" creationId="{E745D303-A7E0-CA5A-0AB7-FB048C7FC792}"/>
          </ac:spMkLst>
        </pc:spChg>
        <pc:picChg chg="add del mod">
          <ac:chgData name="Armaan Kumar" userId="a351e95c-5450-4e5f-a2d5-0f74c8f92915" providerId="ADAL" clId="{168FE2C6-A561-4C00-8270-E1D83101A49A}" dt="2025-04-01T13:15:53.688" v="14698" actId="478"/>
          <ac:picMkLst>
            <pc:docMk/>
            <pc:sldMk cId="807869692" sldId="2203"/>
            <ac:picMk id="3" creationId="{8A2497F6-054F-DDF1-669B-85D48342C8CD}"/>
          </ac:picMkLst>
        </pc:picChg>
        <pc:picChg chg="add del mod">
          <ac:chgData name="Armaan Kumar" userId="a351e95c-5450-4e5f-a2d5-0f74c8f92915" providerId="ADAL" clId="{168FE2C6-A561-4C00-8270-E1D83101A49A}" dt="2025-04-01T13:15:59.840" v="14701" actId="478"/>
          <ac:picMkLst>
            <pc:docMk/>
            <pc:sldMk cId="807869692" sldId="2203"/>
            <ac:picMk id="5" creationId="{89F7066A-F2E3-A390-8C01-924EF3C9F39D}"/>
          </ac:picMkLst>
        </pc:picChg>
        <pc:picChg chg="add del mod">
          <ac:chgData name="Armaan Kumar" userId="a351e95c-5450-4e5f-a2d5-0f74c8f92915" providerId="ADAL" clId="{168FE2C6-A561-4C00-8270-E1D83101A49A}" dt="2025-04-01T13:16:05.534" v="14704" actId="478"/>
          <ac:picMkLst>
            <pc:docMk/>
            <pc:sldMk cId="807869692" sldId="2203"/>
            <ac:picMk id="11" creationId="{4A69B9F8-E912-BE69-AE07-D416C0950BCE}"/>
          </ac:picMkLst>
        </pc:picChg>
        <pc:picChg chg="add mod modCrop">
          <ac:chgData name="Armaan Kumar" userId="a351e95c-5450-4e5f-a2d5-0f74c8f92915" providerId="ADAL" clId="{168FE2C6-A561-4C00-8270-E1D83101A49A}" dt="2025-04-01T13:20:32.300" v="14736" actId="1076"/>
          <ac:picMkLst>
            <pc:docMk/>
            <pc:sldMk cId="807869692" sldId="2203"/>
            <ac:picMk id="12" creationId="{0AD480C2-D3C0-7237-651C-49E05721BE00}"/>
          </ac:picMkLst>
        </pc:picChg>
        <pc:picChg chg="add mod">
          <ac:chgData name="Armaan Kumar" userId="a351e95c-5450-4e5f-a2d5-0f74c8f92915" providerId="ADAL" clId="{168FE2C6-A561-4C00-8270-E1D83101A49A}" dt="2025-04-02T13:13:41.051" v="19466" actId="1037"/>
          <ac:picMkLst>
            <pc:docMk/>
            <pc:sldMk cId="807869692" sldId="2203"/>
            <ac:picMk id="1026" creationId="{2A9B9FE7-E5E5-1401-0520-0AD10F95A7D4}"/>
          </ac:picMkLst>
        </pc:picChg>
        <pc:picChg chg="add del mod">
          <ac:chgData name="Armaan Kumar" userId="a351e95c-5450-4e5f-a2d5-0f74c8f92915" providerId="ADAL" clId="{168FE2C6-A561-4C00-8270-E1D83101A49A}" dt="2025-04-01T04:42:47.297" v="14371" actId="478"/>
          <ac:picMkLst>
            <pc:docMk/>
            <pc:sldMk cId="807869692" sldId="2203"/>
            <ac:picMk id="2052" creationId="{3B301CE4-5EAE-F72C-B3BD-09185D65E22C}"/>
          </ac:picMkLst>
        </pc:picChg>
        <pc:cxnChg chg="add del mod">
          <ac:chgData name="Armaan Kumar" userId="a351e95c-5450-4e5f-a2d5-0f74c8f92915" providerId="ADAL" clId="{168FE2C6-A561-4C00-8270-E1D83101A49A}" dt="2025-04-01T13:20:13.948" v="14735" actId="478"/>
          <ac:cxnSpMkLst>
            <pc:docMk/>
            <pc:sldMk cId="807869692" sldId="2203"/>
            <ac:cxnSpMk id="18" creationId="{544FB635-2DFB-4315-26A7-22DFE2D35F32}"/>
          </ac:cxnSpMkLst>
        </pc:cxnChg>
      </pc:sldChg>
      <pc:sldChg chg="addSp delSp modSp mod modShow">
        <pc:chgData name="Armaan Kumar" userId="a351e95c-5450-4e5f-a2d5-0f74c8f92915" providerId="ADAL" clId="{168FE2C6-A561-4C00-8270-E1D83101A49A}" dt="2025-03-31T01:05:08.241" v="11527" actId="729"/>
        <pc:sldMkLst>
          <pc:docMk/>
          <pc:sldMk cId="2791576213" sldId="2205"/>
        </pc:sldMkLst>
      </pc:sldChg>
      <pc:sldChg chg="addSp delSp modSp add del mod">
        <pc:chgData name="Armaan Kumar" userId="a351e95c-5450-4e5f-a2d5-0f74c8f92915" providerId="ADAL" clId="{168FE2C6-A561-4C00-8270-E1D83101A49A}" dt="2025-03-31T00:20:00.343" v="11046" actId="47"/>
        <pc:sldMkLst>
          <pc:docMk/>
          <pc:sldMk cId="3148264271" sldId="2207"/>
        </pc:sldMkLst>
      </pc:sldChg>
      <pc:sldChg chg="addSp delSp modSp add mod">
        <pc:chgData name="Armaan Kumar" userId="a351e95c-5450-4e5f-a2d5-0f74c8f92915" providerId="ADAL" clId="{168FE2C6-A561-4C00-8270-E1D83101A49A}" dt="2025-03-31T03:02:02.346" v="12114" actId="1076"/>
        <pc:sldMkLst>
          <pc:docMk/>
          <pc:sldMk cId="2512498619" sldId="2209"/>
        </pc:sldMkLst>
        <pc:spChg chg="mod">
          <ac:chgData name="Armaan Kumar" userId="a351e95c-5450-4e5f-a2d5-0f74c8f92915" providerId="ADAL" clId="{168FE2C6-A561-4C00-8270-E1D83101A49A}" dt="2025-03-31T00:25:55.739" v="11096" actId="27636"/>
          <ac:spMkLst>
            <pc:docMk/>
            <pc:sldMk cId="2512498619" sldId="2209"/>
            <ac:spMk id="2" creationId="{6CD34B8B-69FF-F4D1-FDDD-531BBF3C03AC}"/>
          </ac:spMkLst>
        </pc:spChg>
        <pc:spChg chg="add mod">
          <ac:chgData name="Armaan Kumar" userId="a351e95c-5450-4e5f-a2d5-0f74c8f92915" providerId="ADAL" clId="{168FE2C6-A561-4C00-8270-E1D83101A49A}" dt="2025-03-31T00:43:44.440" v="11354" actId="207"/>
          <ac:spMkLst>
            <pc:docMk/>
            <pc:sldMk cId="2512498619" sldId="2209"/>
            <ac:spMk id="3" creationId="{1C652BBE-A614-1DBE-25F0-4DB0C9D83A03}"/>
          </ac:spMkLst>
        </pc:spChg>
        <pc:spChg chg="add del mod">
          <ac:chgData name="Armaan Kumar" userId="a351e95c-5450-4e5f-a2d5-0f74c8f92915" providerId="ADAL" clId="{168FE2C6-A561-4C00-8270-E1D83101A49A}" dt="2025-03-31T00:56:31.438" v="11419" actId="207"/>
          <ac:spMkLst>
            <pc:docMk/>
            <pc:sldMk cId="2512498619" sldId="2209"/>
            <ac:spMk id="6" creationId="{745C97BB-9C2B-CE94-CC8B-4278B0D1310C}"/>
          </ac:spMkLst>
        </pc:spChg>
        <pc:spChg chg="mod">
          <ac:chgData name="Armaan Kumar" userId="a351e95c-5450-4e5f-a2d5-0f74c8f92915" providerId="ADAL" clId="{168FE2C6-A561-4C00-8270-E1D83101A49A}" dt="2025-03-31T01:01:00.910" v="11470" actId="14100"/>
          <ac:spMkLst>
            <pc:docMk/>
            <pc:sldMk cId="2512498619" sldId="2209"/>
            <ac:spMk id="7" creationId="{FCF3EAE4-0A48-550E-437F-A10A9056A31E}"/>
          </ac:spMkLst>
        </pc:spChg>
        <pc:spChg chg="mod">
          <ac:chgData name="Armaan Kumar" userId="a351e95c-5450-4e5f-a2d5-0f74c8f92915" providerId="ADAL" clId="{168FE2C6-A561-4C00-8270-E1D83101A49A}" dt="2025-03-31T01:00:55.832" v="11465" actId="14100"/>
          <ac:spMkLst>
            <pc:docMk/>
            <pc:sldMk cId="2512498619" sldId="2209"/>
            <ac:spMk id="8" creationId="{7795129B-EABC-5967-E244-5DD9EE24DC70}"/>
          </ac:spMkLst>
        </pc:spChg>
        <pc:spChg chg="add mod">
          <ac:chgData name="Armaan Kumar" userId="a351e95c-5450-4e5f-a2d5-0f74c8f92915" providerId="ADAL" clId="{168FE2C6-A561-4C00-8270-E1D83101A49A}" dt="2025-03-31T00:30:02.162" v="11191" actId="1076"/>
          <ac:spMkLst>
            <pc:docMk/>
            <pc:sldMk cId="2512498619" sldId="2209"/>
            <ac:spMk id="9" creationId="{D2BC90F8-341B-E1EA-7281-86F3B9B44F80}"/>
          </ac:spMkLst>
        </pc:spChg>
        <pc:spChg chg="add mod">
          <ac:chgData name="Armaan Kumar" userId="a351e95c-5450-4e5f-a2d5-0f74c8f92915" providerId="ADAL" clId="{168FE2C6-A561-4C00-8270-E1D83101A49A}" dt="2025-03-31T00:29:49.953" v="11190" actId="1076"/>
          <ac:spMkLst>
            <pc:docMk/>
            <pc:sldMk cId="2512498619" sldId="2209"/>
            <ac:spMk id="10" creationId="{8D28E409-704F-284D-320A-10E7AE1E4A9C}"/>
          </ac:spMkLst>
        </pc:spChg>
        <pc:spChg chg="add">
          <ac:chgData name="Armaan Kumar" userId="a351e95c-5450-4e5f-a2d5-0f74c8f92915" providerId="ADAL" clId="{168FE2C6-A561-4C00-8270-E1D83101A49A}" dt="2025-03-31T00:42:09.814" v="11329"/>
          <ac:spMkLst>
            <pc:docMk/>
            <pc:sldMk cId="2512498619" sldId="2209"/>
            <ac:spMk id="23" creationId="{AFB146F0-D027-01E1-1883-EE75335C7B1B}"/>
          </ac:spMkLst>
        </pc:spChg>
        <pc:spChg chg="add mod">
          <ac:chgData name="Armaan Kumar" userId="a351e95c-5450-4e5f-a2d5-0f74c8f92915" providerId="ADAL" clId="{168FE2C6-A561-4C00-8270-E1D83101A49A}" dt="2025-03-31T00:42:28.164" v="11330"/>
          <ac:spMkLst>
            <pc:docMk/>
            <pc:sldMk cId="2512498619" sldId="2209"/>
            <ac:spMk id="24" creationId="{D969378E-0AA6-9D3E-02A9-0819DB8D6C4C}"/>
          </ac:spMkLst>
        </pc:spChg>
        <pc:spChg chg="add mod">
          <ac:chgData name="Armaan Kumar" userId="a351e95c-5450-4e5f-a2d5-0f74c8f92915" providerId="ADAL" clId="{168FE2C6-A561-4C00-8270-E1D83101A49A}" dt="2025-03-31T00:42:55.097" v="11336" actId="1076"/>
          <ac:spMkLst>
            <pc:docMk/>
            <pc:sldMk cId="2512498619" sldId="2209"/>
            <ac:spMk id="25" creationId="{6C07E516-93C8-D308-EB94-7FFB59CC89DE}"/>
          </ac:spMkLst>
        </pc:spChg>
        <pc:picChg chg="add mod">
          <ac:chgData name="Armaan Kumar" userId="a351e95c-5450-4e5f-a2d5-0f74c8f92915" providerId="ADAL" clId="{168FE2C6-A561-4C00-8270-E1D83101A49A}" dt="2025-03-31T00:48:38.804" v="11384" actId="1076"/>
          <ac:picMkLst>
            <pc:docMk/>
            <pc:sldMk cId="2512498619" sldId="2209"/>
            <ac:picMk id="12" creationId="{F5B06D0B-5808-A171-E72F-4F12FEC85F47}"/>
          </ac:picMkLst>
        </pc:picChg>
        <pc:picChg chg="add mod">
          <ac:chgData name="Armaan Kumar" userId="a351e95c-5450-4e5f-a2d5-0f74c8f92915" providerId="ADAL" clId="{168FE2C6-A561-4C00-8270-E1D83101A49A}" dt="2025-03-31T00:49:07.522" v="11391" actId="1076"/>
          <ac:picMkLst>
            <pc:docMk/>
            <pc:sldMk cId="2512498619" sldId="2209"/>
            <ac:picMk id="13" creationId="{6E51E622-0204-22BA-0049-C73086AF2667}"/>
          </ac:picMkLst>
        </pc:picChg>
        <pc:picChg chg="add mod">
          <ac:chgData name="Armaan Kumar" userId="a351e95c-5450-4e5f-a2d5-0f74c8f92915" providerId="ADAL" clId="{168FE2C6-A561-4C00-8270-E1D83101A49A}" dt="2025-03-31T00:48:56.126" v="11388" actId="1076"/>
          <ac:picMkLst>
            <pc:docMk/>
            <pc:sldMk cId="2512498619" sldId="2209"/>
            <ac:picMk id="28" creationId="{4E6AF047-689D-C0CE-C660-3065D119180A}"/>
          </ac:picMkLst>
        </pc:picChg>
        <pc:picChg chg="add mod">
          <ac:chgData name="Armaan Kumar" userId="a351e95c-5450-4e5f-a2d5-0f74c8f92915" providerId="ADAL" clId="{168FE2C6-A561-4C00-8270-E1D83101A49A}" dt="2025-03-31T00:48:50.659" v="11387" actId="1076"/>
          <ac:picMkLst>
            <pc:docMk/>
            <pc:sldMk cId="2512498619" sldId="2209"/>
            <ac:picMk id="35" creationId="{E1189883-A7AE-3D24-90AD-0F01E99F85DB}"/>
          </ac:picMkLst>
        </pc:picChg>
        <pc:picChg chg="add mod">
          <ac:chgData name="Armaan Kumar" userId="a351e95c-5450-4e5f-a2d5-0f74c8f92915" providerId="ADAL" clId="{168FE2C6-A561-4C00-8270-E1D83101A49A}" dt="2025-03-31T03:01:06.708" v="12022" actId="1037"/>
          <ac:picMkLst>
            <pc:docMk/>
            <pc:sldMk cId="2512498619" sldId="2209"/>
            <ac:picMk id="42" creationId="{6D9BD1DE-DFEC-85BB-6416-4BDEF5DEC56B}"/>
          </ac:picMkLst>
        </pc:picChg>
        <pc:picChg chg="add mod">
          <ac:chgData name="Armaan Kumar" userId="a351e95c-5450-4e5f-a2d5-0f74c8f92915" providerId="ADAL" clId="{168FE2C6-A561-4C00-8270-E1D83101A49A}" dt="2025-03-31T03:01:58.952" v="12113" actId="1076"/>
          <ac:picMkLst>
            <pc:docMk/>
            <pc:sldMk cId="2512498619" sldId="2209"/>
            <ac:picMk id="43" creationId="{C78D2783-9FC9-AA58-2407-AE5D3243E2F5}"/>
          </ac:picMkLst>
        </pc:picChg>
        <pc:picChg chg="add mod">
          <ac:chgData name="Armaan Kumar" userId="a351e95c-5450-4e5f-a2d5-0f74c8f92915" providerId="ADAL" clId="{168FE2C6-A561-4C00-8270-E1D83101A49A}" dt="2025-03-31T00:42:55.097" v="11336" actId="1076"/>
          <ac:picMkLst>
            <pc:docMk/>
            <pc:sldMk cId="2512498619" sldId="2209"/>
            <ac:picMk id="2060" creationId="{AEDBB7EC-5689-F29A-4CB0-2FC180D955C9}"/>
          </ac:picMkLst>
        </pc:picChg>
        <pc:picChg chg="add mod">
          <ac:chgData name="Armaan Kumar" userId="a351e95c-5450-4e5f-a2d5-0f74c8f92915" providerId="ADAL" clId="{168FE2C6-A561-4C00-8270-E1D83101A49A}" dt="2025-03-31T03:02:02.346" v="12114" actId="1076"/>
          <ac:picMkLst>
            <pc:docMk/>
            <pc:sldMk cId="2512498619" sldId="2209"/>
            <ac:picMk id="4098" creationId="{184387F5-4781-03AF-8C56-F05C22CFFBC6}"/>
          </ac:picMkLst>
        </pc:picChg>
        <pc:picChg chg="add mod">
          <ac:chgData name="Armaan Kumar" userId="a351e95c-5450-4e5f-a2d5-0f74c8f92915" providerId="ADAL" clId="{168FE2C6-A561-4C00-8270-E1D83101A49A}" dt="2025-03-31T03:01:43.547" v="12112" actId="1076"/>
          <ac:picMkLst>
            <pc:docMk/>
            <pc:sldMk cId="2512498619" sldId="2209"/>
            <ac:picMk id="4100" creationId="{999C2797-EAAE-C634-E33F-74E125482148}"/>
          </ac:picMkLst>
        </pc:picChg>
        <pc:cxnChg chg="add mod">
          <ac:chgData name="Armaan Kumar" userId="a351e95c-5450-4e5f-a2d5-0f74c8f92915" providerId="ADAL" clId="{168FE2C6-A561-4C00-8270-E1D83101A49A}" dt="2025-03-31T01:01:35.642" v="11474" actId="1076"/>
          <ac:cxnSpMkLst>
            <pc:docMk/>
            <pc:sldMk cId="2512498619" sldId="2209"/>
            <ac:cxnSpMk id="45" creationId="{1DEEF954-14B5-9EA5-B01F-D691FD975E67}"/>
          </ac:cxnSpMkLst>
        </pc:cxnChg>
        <pc:cxnChg chg="add mod">
          <ac:chgData name="Armaan Kumar" userId="a351e95c-5450-4e5f-a2d5-0f74c8f92915" providerId="ADAL" clId="{168FE2C6-A561-4C00-8270-E1D83101A49A}" dt="2025-03-31T01:01:57.514" v="11520" actId="1038"/>
          <ac:cxnSpMkLst>
            <pc:docMk/>
            <pc:sldMk cId="2512498619" sldId="2209"/>
            <ac:cxnSpMk id="46" creationId="{73B69C57-31F9-4A96-7528-B9DC5D82320F}"/>
          </ac:cxnSpMkLst>
        </pc:cxnChg>
      </pc:sldChg>
      <pc:sldChg chg="modSp mod">
        <pc:chgData name="Armaan Kumar" userId="a351e95c-5450-4e5f-a2d5-0f74c8f92915" providerId="ADAL" clId="{168FE2C6-A561-4C00-8270-E1D83101A49A}" dt="2025-03-31T02:51:44.536" v="11903" actId="1076"/>
        <pc:sldMkLst>
          <pc:docMk/>
          <pc:sldMk cId="769096934" sldId="2210"/>
        </pc:sldMkLst>
        <pc:grpChg chg="mod">
          <ac:chgData name="Armaan Kumar" userId="a351e95c-5450-4e5f-a2d5-0f74c8f92915" providerId="ADAL" clId="{168FE2C6-A561-4C00-8270-E1D83101A49A}" dt="2025-03-31T02:51:44.536" v="11903" actId="1076"/>
          <ac:grpSpMkLst>
            <pc:docMk/>
            <pc:sldMk cId="769096934" sldId="2210"/>
            <ac:grpSpMk id="13" creationId="{EF8AB33B-733A-F81D-4C0B-46B9A69AAC71}"/>
          </ac:grpSpMkLst>
        </pc:grpChg>
      </pc:sldChg>
      <pc:sldChg chg="addSp delSp modSp add mod">
        <pc:chgData name="Armaan Kumar" userId="a351e95c-5450-4e5f-a2d5-0f74c8f92915" providerId="ADAL" clId="{168FE2C6-A561-4C00-8270-E1D83101A49A}" dt="2025-04-01T18:14:50.527" v="15185" actId="207"/>
        <pc:sldMkLst>
          <pc:docMk/>
          <pc:sldMk cId="3484494390" sldId="2211"/>
        </pc:sldMkLst>
        <pc:spChg chg="add mod">
          <ac:chgData name="Armaan Kumar" userId="a351e95c-5450-4e5f-a2d5-0f74c8f92915" providerId="ADAL" clId="{168FE2C6-A561-4C00-8270-E1D83101A49A}" dt="2025-04-01T18:14:50.527" v="15185" actId="207"/>
          <ac:spMkLst>
            <pc:docMk/>
            <pc:sldMk cId="3484494390" sldId="2211"/>
            <ac:spMk id="22" creationId="{AFB08BE9-37A5-DFC1-BCF7-42E26B1632A6}"/>
          </ac:spMkLst>
        </pc:spChg>
      </pc:sldChg>
      <pc:sldChg chg="addSp delSp modSp add mod">
        <pc:chgData name="Armaan Kumar" userId="a351e95c-5450-4e5f-a2d5-0f74c8f92915" providerId="ADAL" clId="{168FE2C6-A561-4C00-8270-E1D83101A49A}" dt="2025-03-31T05:41:26.380" v="12422"/>
        <pc:sldMkLst>
          <pc:docMk/>
          <pc:sldMk cId="1820830921" sldId="2213"/>
        </pc:sldMkLst>
        <pc:spChg chg="add mod">
          <ac:chgData name="Armaan Kumar" userId="a351e95c-5450-4e5f-a2d5-0f74c8f92915" providerId="ADAL" clId="{168FE2C6-A561-4C00-8270-E1D83101A49A}" dt="2025-03-31T02:14:18.863" v="11832" actId="207"/>
          <ac:spMkLst>
            <pc:docMk/>
            <pc:sldMk cId="1820830921" sldId="2213"/>
            <ac:spMk id="9" creationId="{282A67F6-1511-2C44-19D3-8E3A70B6C38C}"/>
          </ac:spMkLst>
        </pc:spChg>
        <pc:spChg chg="add mod">
          <ac:chgData name="Armaan Kumar" userId="a351e95c-5450-4e5f-a2d5-0f74c8f92915" providerId="ADAL" clId="{168FE2C6-A561-4C00-8270-E1D83101A49A}" dt="2025-03-31T02:14:23.809" v="11833" actId="207"/>
          <ac:spMkLst>
            <pc:docMk/>
            <pc:sldMk cId="1820830921" sldId="2213"/>
            <ac:spMk id="10" creationId="{584EE90B-9EAE-2082-5D21-3146D0735A32}"/>
          </ac:spMkLst>
        </pc:spChg>
        <pc:spChg chg="add mod">
          <ac:chgData name="Armaan Kumar" userId="a351e95c-5450-4e5f-a2d5-0f74c8f92915" providerId="ADAL" clId="{168FE2C6-A561-4C00-8270-E1D83101A49A}" dt="2025-03-31T02:14:31.621" v="11834" actId="207"/>
          <ac:spMkLst>
            <pc:docMk/>
            <pc:sldMk cId="1820830921" sldId="2213"/>
            <ac:spMk id="11" creationId="{D2533D0A-376D-51EC-3487-CCC3599B3ED9}"/>
          </ac:spMkLst>
        </pc:spChg>
        <pc:spChg chg="add mod">
          <ac:chgData name="Armaan Kumar" userId="a351e95c-5450-4e5f-a2d5-0f74c8f92915" providerId="ADAL" clId="{168FE2C6-A561-4C00-8270-E1D83101A49A}" dt="2025-03-31T02:16:21.710" v="11842" actId="1076"/>
          <ac:spMkLst>
            <pc:docMk/>
            <pc:sldMk cId="1820830921" sldId="2213"/>
            <ac:spMk id="14" creationId="{E1A140DF-9E9E-40CE-B33A-828F954627B5}"/>
          </ac:spMkLst>
        </pc:spChg>
        <pc:spChg chg="add mod">
          <ac:chgData name="Armaan Kumar" userId="a351e95c-5450-4e5f-a2d5-0f74c8f92915" providerId="ADAL" clId="{168FE2C6-A561-4C00-8270-E1D83101A49A}" dt="2025-03-31T02:16:25.828" v="11843" actId="1076"/>
          <ac:spMkLst>
            <pc:docMk/>
            <pc:sldMk cId="1820830921" sldId="2213"/>
            <ac:spMk id="15" creationId="{8A8A28E7-87C7-21EF-2751-DF838415F56F}"/>
          </ac:spMkLst>
        </pc:spChg>
        <pc:spChg chg="add mod">
          <ac:chgData name="Armaan Kumar" userId="a351e95c-5450-4e5f-a2d5-0f74c8f92915" providerId="ADAL" clId="{168FE2C6-A561-4C00-8270-E1D83101A49A}" dt="2025-03-31T02:16:08.287" v="11839" actId="1076"/>
          <ac:spMkLst>
            <pc:docMk/>
            <pc:sldMk cId="1820830921" sldId="2213"/>
            <ac:spMk id="18" creationId="{F52DA4F7-071B-D933-6A98-C523BC2ACECC}"/>
          </ac:spMkLst>
        </pc:spChg>
        <pc:spChg chg="add mod">
          <ac:chgData name="Armaan Kumar" userId="a351e95c-5450-4e5f-a2d5-0f74c8f92915" providerId="ADAL" clId="{168FE2C6-A561-4C00-8270-E1D83101A49A}" dt="2025-03-31T02:15:57.937" v="11838" actId="207"/>
          <ac:spMkLst>
            <pc:docMk/>
            <pc:sldMk cId="1820830921" sldId="2213"/>
            <ac:spMk id="19" creationId="{814AF4B5-E4A8-3BB6-9C5E-AAEEE0B0FBDA}"/>
          </ac:spMkLst>
        </pc:spChg>
        <pc:graphicFrameChg chg="add mod modGraphic">
          <ac:chgData name="Armaan Kumar" userId="a351e95c-5450-4e5f-a2d5-0f74c8f92915" providerId="ADAL" clId="{168FE2C6-A561-4C00-8270-E1D83101A49A}" dt="2025-03-31T05:41:26.380" v="12422"/>
          <ac:graphicFrameMkLst>
            <pc:docMk/>
            <pc:sldMk cId="1820830921" sldId="2213"/>
            <ac:graphicFrameMk id="7" creationId="{E0F1B0F6-866A-B49C-FE6B-0DD023BB3CBC}"/>
          </ac:graphicFrameMkLst>
        </pc:graphicFrameChg>
      </pc:sldChg>
      <pc:sldChg chg="modSp mod modShow">
        <pc:chgData name="Armaan Kumar" userId="a351e95c-5450-4e5f-a2d5-0f74c8f92915" providerId="ADAL" clId="{168FE2C6-A561-4C00-8270-E1D83101A49A}" dt="2025-03-31T04:18:36.196" v="12369" actId="729"/>
        <pc:sldMkLst>
          <pc:docMk/>
          <pc:sldMk cId="3488532050" sldId="2214"/>
        </pc:sldMkLst>
      </pc:sldChg>
      <pc:sldChg chg="addSp delSp modSp new mod">
        <pc:chgData name="Armaan Kumar" userId="a351e95c-5450-4e5f-a2d5-0f74c8f92915" providerId="ADAL" clId="{168FE2C6-A561-4C00-8270-E1D83101A49A}" dt="2025-03-31T15:38:55.442" v="12432" actId="20577"/>
        <pc:sldMkLst>
          <pc:docMk/>
          <pc:sldMk cId="605004554" sldId="2215"/>
        </pc:sldMkLst>
        <pc:spChg chg="mod">
          <ac:chgData name="Armaan Kumar" userId="a351e95c-5450-4e5f-a2d5-0f74c8f92915" providerId="ADAL" clId="{168FE2C6-A561-4C00-8270-E1D83101A49A}" dt="2025-03-31T03:28:17.043" v="12332" actId="20577"/>
          <ac:spMkLst>
            <pc:docMk/>
            <pc:sldMk cId="605004554" sldId="2215"/>
            <ac:spMk id="2" creationId="{B8FFE6F6-14FC-BEDC-4662-BDD0FDF2F220}"/>
          </ac:spMkLst>
        </pc:spChg>
        <pc:spChg chg="mod">
          <ac:chgData name="Armaan Kumar" userId="a351e95c-5450-4e5f-a2d5-0f74c8f92915" providerId="ADAL" clId="{168FE2C6-A561-4C00-8270-E1D83101A49A}" dt="2025-03-31T03:28:07.256" v="12330"/>
          <ac:spMkLst>
            <pc:docMk/>
            <pc:sldMk cId="605004554" sldId="2215"/>
            <ac:spMk id="4" creationId="{3419B576-F86B-C8C4-89E5-B7AB0A53B09B}"/>
          </ac:spMkLst>
        </pc:spChg>
        <pc:spChg chg="add del mod">
          <ac:chgData name="Armaan Kumar" userId="a351e95c-5450-4e5f-a2d5-0f74c8f92915" providerId="ADAL" clId="{168FE2C6-A561-4C00-8270-E1D83101A49A}" dt="2025-03-31T03:14:31.680" v="12171" actId="478"/>
          <ac:spMkLst>
            <pc:docMk/>
            <pc:sldMk cId="605004554" sldId="2215"/>
            <ac:spMk id="6" creationId="{D4946CA1-5075-50E6-D39C-981AC798F57C}"/>
          </ac:spMkLst>
        </pc:spChg>
        <pc:spChg chg="add del mod">
          <ac:chgData name="Armaan Kumar" userId="a351e95c-5450-4e5f-a2d5-0f74c8f92915" providerId="ADAL" clId="{168FE2C6-A561-4C00-8270-E1D83101A49A}" dt="2025-03-31T03:52:36.062" v="12357" actId="14100"/>
          <ac:spMkLst>
            <pc:docMk/>
            <pc:sldMk cId="605004554" sldId="2215"/>
            <ac:spMk id="7" creationId="{0A325F2A-B25B-0DED-8C8F-C9BBD625D179}"/>
          </ac:spMkLst>
        </pc:spChg>
        <pc:spChg chg="add del mod">
          <ac:chgData name="Armaan Kumar" userId="a351e95c-5450-4e5f-a2d5-0f74c8f92915" providerId="ADAL" clId="{168FE2C6-A561-4C00-8270-E1D83101A49A}" dt="2025-03-31T03:52:47.067" v="12359" actId="14100"/>
          <ac:spMkLst>
            <pc:docMk/>
            <pc:sldMk cId="605004554" sldId="2215"/>
            <ac:spMk id="8" creationId="{1D2DA766-01DE-DD03-DCCF-846BF18E4586}"/>
          </ac:spMkLst>
        </pc:spChg>
        <pc:spChg chg="add mod">
          <ac:chgData name="Armaan Kumar" userId="a351e95c-5450-4e5f-a2d5-0f74c8f92915" providerId="ADAL" clId="{168FE2C6-A561-4C00-8270-E1D83101A49A}" dt="2025-03-31T15:38:55.442" v="12432" actId="20577"/>
          <ac:spMkLst>
            <pc:docMk/>
            <pc:sldMk cId="605004554" sldId="2215"/>
            <ac:spMk id="11" creationId="{65E7BEF1-A9A0-EC1D-B783-15851C599ADF}"/>
          </ac:spMkLst>
        </pc:spChg>
        <pc:spChg chg="add mod">
          <ac:chgData name="Armaan Kumar" userId="a351e95c-5450-4e5f-a2d5-0f74c8f92915" providerId="ADAL" clId="{168FE2C6-A561-4C00-8270-E1D83101A49A}" dt="2025-03-31T03:27:27.337" v="12327" actId="1076"/>
          <ac:spMkLst>
            <pc:docMk/>
            <pc:sldMk cId="605004554" sldId="2215"/>
            <ac:spMk id="15" creationId="{7A26B6E1-53DB-9722-DEBD-CB2306A0D12C}"/>
          </ac:spMkLst>
        </pc:spChg>
        <pc:spChg chg="add mod">
          <ac:chgData name="Armaan Kumar" userId="a351e95c-5450-4e5f-a2d5-0f74c8f92915" providerId="ADAL" clId="{168FE2C6-A561-4C00-8270-E1D83101A49A}" dt="2025-03-31T03:21:50.835" v="12244" actId="122"/>
          <ac:spMkLst>
            <pc:docMk/>
            <pc:sldMk cId="605004554" sldId="2215"/>
            <ac:spMk id="19" creationId="{1D8C2A98-98A8-87D2-5F20-05810D7ECBB8}"/>
          </ac:spMkLst>
        </pc:spChg>
        <pc:spChg chg="add mod">
          <ac:chgData name="Armaan Kumar" userId="a351e95c-5450-4e5f-a2d5-0f74c8f92915" providerId="ADAL" clId="{168FE2C6-A561-4C00-8270-E1D83101A49A}" dt="2025-03-31T03:21:09.671" v="12234" actId="14100"/>
          <ac:spMkLst>
            <pc:docMk/>
            <pc:sldMk cId="605004554" sldId="2215"/>
            <ac:spMk id="20" creationId="{5F73D322-C56E-077E-CEA9-A5390CEB7323}"/>
          </ac:spMkLst>
        </pc:spChg>
        <pc:spChg chg="add mod ord">
          <ac:chgData name="Armaan Kumar" userId="a351e95c-5450-4e5f-a2d5-0f74c8f92915" providerId="ADAL" clId="{168FE2C6-A561-4C00-8270-E1D83101A49A}" dt="2025-03-31T03:21:29.854" v="12240" actId="1076"/>
          <ac:spMkLst>
            <pc:docMk/>
            <pc:sldMk cId="605004554" sldId="2215"/>
            <ac:spMk id="21" creationId="{8F3AED8A-6759-0E0B-149E-39A338E228B8}"/>
          </ac:spMkLst>
        </pc:spChg>
        <pc:spChg chg="add mod">
          <ac:chgData name="Armaan Kumar" userId="a351e95c-5450-4e5f-a2d5-0f74c8f92915" providerId="ADAL" clId="{168FE2C6-A561-4C00-8270-E1D83101A49A}" dt="2025-03-31T03:25:46.368" v="12314" actId="1076"/>
          <ac:spMkLst>
            <pc:docMk/>
            <pc:sldMk cId="605004554" sldId="2215"/>
            <ac:spMk id="22" creationId="{AD4C4200-8D2C-96A8-B82C-FAA3CEA75F3E}"/>
          </ac:spMkLst>
        </pc:spChg>
        <pc:spChg chg="add mod">
          <ac:chgData name="Armaan Kumar" userId="a351e95c-5450-4e5f-a2d5-0f74c8f92915" providerId="ADAL" clId="{168FE2C6-A561-4C00-8270-E1D83101A49A}" dt="2025-03-31T03:25:46.368" v="12314" actId="1076"/>
          <ac:spMkLst>
            <pc:docMk/>
            <pc:sldMk cId="605004554" sldId="2215"/>
            <ac:spMk id="23" creationId="{618B0FF2-6890-ACA9-9340-3573CD6E21CD}"/>
          </ac:spMkLst>
        </pc:spChg>
        <pc:spChg chg="add mod">
          <ac:chgData name="Armaan Kumar" userId="a351e95c-5450-4e5f-a2d5-0f74c8f92915" providerId="ADAL" clId="{168FE2C6-A561-4C00-8270-E1D83101A49A}" dt="2025-03-31T03:25:37.884" v="12313" actId="1076"/>
          <ac:spMkLst>
            <pc:docMk/>
            <pc:sldMk cId="605004554" sldId="2215"/>
            <ac:spMk id="24" creationId="{FF9E2B43-A852-6782-D0C4-3F4E27137DE2}"/>
          </ac:spMkLst>
        </pc:spChg>
        <pc:spChg chg="add mod">
          <ac:chgData name="Armaan Kumar" userId="a351e95c-5450-4e5f-a2d5-0f74c8f92915" providerId="ADAL" clId="{168FE2C6-A561-4C00-8270-E1D83101A49A}" dt="2025-03-31T03:25:46.368" v="12314" actId="1076"/>
          <ac:spMkLst>
            <pc:docMk/>
            <pc:sldMk cId="605004554" sldId="2215"/>
            <ac:spMk id="26" creationId="{FF777E86-51DE-A14A-FE2F-181E4E8799D4}"/>
          </ac:spMkLst>
        </pc:spChg>
        <pc:spChg chg="add mod">
          <ac:chgData name="Armaan Kumar" userId="a351e95c-5450-4e5f-a2d5-0f74c8f92915" providerId="ADAL" clId="{168FE2C6-A561-4C00-8270-E1D83101A49A}" dt="2025-03-31T03:25:46.368" v="12314" actId="1076"/>
          <ac:spMkLst>
            <pc:docMk/>
            <pc:sldMk cId="605004554" sldId="2215"/>
            <ac:spMk id="27" creationId="{6DEE03D9-3224-37BF-6713-E13E1D0B7916}"/>
          </ac:spMkLst>
        </pc:spChg>
        <pc:spChg chg="add mod">
          <ac:chgData name="Armaan Kumar" userId="a351e95c-5450-4e5f-a2d5-0f74c8f92915" providerId="ADAL" clId="{168FE2C6-A561-4C00-8270-E1D83101A49A}" dt="2025-03-31T03:25:46.368" v="12314" actId="1076"/>
          <ac:spMkLst>
            <pc:docMk/>
            <pc:sldMk cId="605004554" sldId="2215"/>
            <ac:spMk id="28" creationId="{A5223269-01C8-1D88-EFB3-CC5E5839B96E}"/>
          </ac:spMkLst>
        </pc:spChg>
        <pc:spChg chg="add mod">
          <ac:chgData name="Armaan Kumar" userId="a351e95c-5450-4e5f-a2d5-0f74c8f92915" providerId="ADAL" clId="{168FE2C6-A561-4C00-8270-E1D83101A49A}" dt="2025-03-31T03:25:13.138" v="12307" actId="14100"/>
          <ac:spMkLst>
            <pc:docMk/>
            <pc:sldMk cId="605004554" sldId="2215"/>
            <ac:spMk id="29" creationId="{B18FF6ED-4D44-DA2C-E4F9-E01AAFC314C2}"/>
          </ac:spMkLst>
        </pc:spChg>
        <pc:cxnChg chg="add mod">
          <ac:chgData name="Armaan Kumar" userId="a351e95c-5450-4e5f-a2d5-0f74c8f92915" providerId="ADAL" clId="{168FE2C6-A561-4C00-8270-E1D83101A49A}" dt="2025-03-31T03:28:55.236" v="12351" actId="1037"/>
          <ac:cxnSpMkLst>
            <pc:docMk/>
            <pc:sldMk cId="605004554" sldId="2215"/>
            <ac:cxnSpMk id="17" creationId="{069D0274-526D-9B3B-1AFA-85BA2645412E}"/>
          </ac:cxnSpMkLst>
        </pc:cxnChg>
        <pc:cxnChg chg="add mod">
          <ac:chgData name="Armaan Kumar" userId="a351e95c-5450-4e5f-a2d5-0f74c8f92915" providerId="ADAL" clId="{168FE2C6-A561-4C00-8270-E1D83101A49A}" dt="2025-03-31T03:53:05.870" v="12361" actId="1076"/>
          <ac:cxnSpMkLst>
            <pc:docMk/>
            <pc:sldMk cId="605004554" sldId="2215"/>
            <ac:cxnSpMk id="32" creationId="{D7700483-0A34-6F27-292F-21BCDDDEE087}"/>
          </ac:cxnSpMkLst>
        </pc:cxnChg>
      </pc:sldChg>
      <pc:sldChg chg="add del">
        <pc:chgData name="Armaan Kumar" userId="a351e95c-5450-4e5f-a2d5-0f74c8f92915" providerId="ADAL" clId="{168FE2C6-A561-4C00-8270-E1D83101A49A}" dt="2025-03-31T03:08:38.495" v="12136" actId="47"/>
        <pc:sldMkLst>
          <pc:docMk/>
          <pc:sldMk cId="4186513336" sldId="2215"/>
        </pc:sldMkLst>
      </pc:sldChg>
      <pc:sldChg chg="addSp delSp modSp new del mod">
        <pc:chgData name="Armaan Kumar" userId="a351e95c-5450-4e5f-a2d5-0f74c8f92915" providerId="ADAL" clId="{168FE2C6-A561-4C00-8270-E1D83101A49A}" dt="2025-03-31T05:39:18.841" v="12418" actId="47"/>
        <pc:sldMkLst>
          <pc:docMk/>
          <pc:sldMk cId="3463256065" sldId="2216"/>
        </pc:sldMkLst>
      </pc:sldChg>
      <pc:sldChg chg="del">
        <pc:chgData name="Armaan Kumar" userId="a351e95c-5450-4e5f-a2d5-0f74c8f92915" providerId="ADAL" clId="{168FE2C6-A561-4C00-8270-E1D83101A49A}" dt="2025-03-31T19:37:38.298" v="12445" actId="47"/>
        <pc:sldMkLst>
          <pc:docMk/>
          <pc:sldMk cId="2561940492" sldId="2225"/>
        </pc:sldMkLst>
      </pc:sldChg>
      <pc:sldChg chg="addSp delSp modSp mod modShow">
        <pc:chgData name="Armaan Kumar" userId="a351e95c-5450-4e5f-a2d5-0f74c8f92915" providerId="ADAL" clId="{168FE2C6-A561-4C00-8270-E1D83101A49A}" dt="2025-04-02T04:03:18.498" v="19310" actId="1076"/>
        <pc:sldMkLst>
          <pc:docMk/>
          <pc:sldMk cId="3295877462" sldId="2230"/>
        </pc:sldMkLst>
        <pc:spChg chg="del mod">
          <ac:chgData name="Armaan Kumar" userId="a351e95c-5450-4e5f-a2d5-0f74c8f92915" providerId="ADAL" clId="{168FE2C6-A561-4C00-8270-E1D83101A49A}" dt="2025-04-02T04:01:41.921" v="19289" actId="478"/>
          <ac:spMkLst>
            <pc:docMk/>
            <pc:sldMk cId="3295877462" sldId="2230"/>
            <ac:spMk id="5" creationId="{4AC930C9-DFFD-9E5D-0E0F-D73E5EA44CB7}"/>
          </ac:spMkLst>
        </pc:spChg>
        <pc:spChg chg="mod">
          <ac:chgData name="Armaan Kumar" userId="a351e95c-5450-4e5f-a2d5-0f74c8f92915" providerId="ADAL" clId="{168FE2C6-A561-4C00-8270-E1D83101A49A}" dt="2025-04-02T03:06:58.341" v="19011" actId="1076"/>
          <ac:spMkLst>
            <pc:docMk/>
            <pc:sldMk cId="3295877462" sldId="2230"/>
            <ac:spMk id="10" creationId="{1A97EDF5-85B0-89A8-E605-D246CC0A6D58}"/>
          </ac:spMkLst>
        </pc:spChg>
        <pc:spChg chg="mod">
          <ac:chgData name="Armaan Kumar" userId="a351e95c-5450-4e5f-a2d5-0f74c8f92915" providerId="ADAL" clId="{168FE2C6-A561-4C00-8270-E1D83101A49A}" dt="2025-04-02T04:01:38.614" v="19288" actId="2085"/>
          <ac:spMkLst>
            <pc:docMk/>
            <pc:sldMk cId="3295877462" sldId="2230"/>
            <ac:spMk id="11" creationId="{5CFC5308-3857-5770-A83E-EDB20A0A5E70}"/>
          </ac:spMkLst>
        </pc:spChg>
        <pc:spChg chg="mod">
          <ac:chgData name="Armaan Kumar" userId="a351e95c-5450-4e5f-a2d5-0f74c8f92915" providerId="ADAL" clId="{168FE2C6-A561-4C00-8270-E1D83101A49A}" dt="2025-04-02T00:36:32.040" v="17574" actId="207"/>
          <ac:spMkLst>
            <pc:docMk/>
            <pc:sldMk cId="3295877462" sldId="2230"/>
            <ac:spMk id="12" creationId="{0D8B1259-5266-022F-693A-42347BAFDAE7}"/>
          </ac:spMkLst>
        </pc:spChg>
        <pc:spChg chg="mod">
          <ac:chgData name="Armaan Kumar" userId="a351e95c-5450-4e5f-a2d5-0f74c8f92915" providerId="ADAL" clId="{168FE2C6-A561-4C00-8270-E1D83101A49A}" dt="2025-04-02T04:03:05.116" v="19308" actId="1076"/>
          <ac:spMkLst>
            <pc:docMk/>
            <pc:sldMk cId="3295877462" sldId="2230"/>
            <ac:spMk id="13" creationId="{4ABFBCED-65AC-A571-119C-62DA27A1E89F}"/>
          </ac:spMkLst>
        </pc:spChg>
        <pc:spChg chg="add del mod ord">
          <ac:chgData name="Armaan Kumar" userId="a351e95c-5450-4e5f-a2d5-0f74c8f92915" providerId="ADAL" clId="{168FE2C6-A561-4C00-8270-E1D83101A49A}" dt="2025-03-31T22:16:40.449" v="13363" actId="14100"/>
          <ac:spMkLst>
            <pc:docMk/>
            <pc:sldMk cId="3295877462" sldId="2230"/>
            <ac:spMk id="14" creationId="{CBA3385E-78CB-9A1E-AF6D-0983FFCBD5E4}"/>
          </ac:spMkLst>
        </pc:spChg>
        <pc:spChg chg="mod">
          <ac:chgData name="Armaan Kumar" userId="a351e95c-5450-4e5f-a2d5-0f74c8f92915" providerId="ADAL" clId="{168FE2C6-A561-4C00-8270-E1D83101A49A}" dt="2025-04-02T04:03:11.367" v="19309" actId="1076"/>
          <ac:spMkLst>
            <pc:docMk/>
            <pc:sldMk cId="3295877462" sldId="2230"/>
            <ac:spMk id="15" creationId="{6E71D38F-5FB6-C05E-8F2A-1119ADD3EF8B}"/>
          </ac:spMkLst>
        </pc:spChg>
        <pc:spChg chg="add mod">
          <ac:chgData name="Armaan Kumar" userId="a351e95c-5450-4e5f-a2d5-0f74c8f92915" providerId="ADAL" clId="{168FE2C6-A561-4C00-8270-E1D83101A49A}" dt="2025-03-31T22:16:53.904" v="13391" actId="14100"/>
          <ac:spMkLst>
            <pc:docMk/>
            <pc:sldMk cId="3295877462" sldId="2230"/>
            <ac:spMk id="16" creationId="{7C36F3A4-F5C0-B52E-67B7-DEAB8680AAD6}"/>
          </ac:spMkLst>
        </pc:spChg>
        <pc:spChg chg="mod">
          <ac:chgData name="Armaan Kumar" userId="a351e95c-5450-4e5f-a2d5-0f74c8f92915" providerId="ADAL" clId="{168FE2C6-A561-4C00-8270-E1D83101A49A}" dt="2025-04-02T00:36:34.219" v="17575" actId="207"/>
          <ac:spMkLst>
            <pc:docMk/>
            <pc:sldMk cId="3295877462" sldId="2230"/>
            <ac:spMk id="18" creationId="{0F232DAB-117B-4974-8762-D475F3AA024C}"/>
          </ac:spMkLst>
        </pc:spChg>
        <pc:spChg chg="mod">
          <ac:chgData name="Armaan Kumar" userId="a351e95c-5450-4e5f-a2d5-0f74c8f92915" providerId="ADAL" clId="{168FE2C6-A561-4C00-8270-E1D83101A49A}" dt="2025-04-02T04:03:18.498" v="19310" actId="1076"/>
          <ac:spMkLst>
            <pc:docMk/>
            <pc:sldMk cId="3295877462" sldId="2230"/>
            <ac:spMk id="19" creationId="{CEA44CA2-6226-AB0C-06D9-E649E04057FB}"/>
          </ac:spMkLst>
        </pc:spChg>
        <pc:spChg chg="add mod ord">
          <ac:chgData name="Armaan Kumar" userId="a351e95c-5450-4e5f-a2d5-0f74c8f92915" providerId="ADAL" clId="{168FE2C6-A561-4C00-8270-E1D83101A49A}" dt="2025-04-02T00:32:25.723" v="17550" actId="2085"/>
          <ac:spMkLst>
            <pc:docMk/>
            <pc:sldMk cId="3295877462" sldId="2230"/>
            <ac:spMk id="20" creationId="{470DF247-E91C-8BA2-1240-2B9D3BD37804}"/>
          </ac:spMkLst>
        </pc:spChg>
        <pc:spChg chg="add mod ord">
          <ac:chgData name="Armaan Kumar" userId="a351e95c-5450-4e5f-a2d5-0f74c8f92915" providerId="ADAL" clId="{168FE2C6-A561-4C00-8270-E1D83101A49A}" dt="2025-04-02T04:01:47.111" v="19292" actId="1076"/>
          <ac:spMkLst>
            <pc:docMk/>
            <pc:sldMk cId="3295877462" sldId="2230"/>
            <ac:spMk id="22" creationId="{8EF1AF1D-179E-AE91-994B-9F1261F1C5E9}"/>
          </ac:spMkLst>
        </pc:spChg>
        <pc:spChg chg="add del mod">
          <ac:chgData name="Armaan Kumar" userId="a351e95c-5450-4e5f-a2d5-0f74c8f92915" providerId="ADAL" clId="{168FE2C6-A561-4C00-8270-E1D83101A49A}" dt="2025-04-02T04:01:59.487" v="19295" actId="478"/>
          <ac:spMkLst>
            <pc:docMk/>
            <pc:sldMk cId="3295877462" sldId="2230"/>
            <ac:spMk id="24" creationId="{F7ACE023-9FFD-F162-EE47-86CECB0F78E9}"/>
          </ac:spMkLst>
        </pc:spChg>
        <pc:spChg chg="mod">
          <ac:chgData name="Armaan Kumar" userId="a351e95c-5450-4e5f-a2d5-0f74c8f92915" providerId="ADAL" clId="{168FE2C6-A561-4C00-8270-E1D83101A49A}" dt="2025-04-02T00:36:36.551" v="17576" actId="207"/>
          <ac:spMkLst>
            <pc:docMk/>
            <pc:sldMk cId="3295877462" sldId="2230"/>
            <ac:spMk id="25" creationId="{7BE2FE5A-CB39-307E-48B7-D8B76E5304AE}"/>
          </ac:spMkLst>
        </pc:spChg>
        <pc:spChg chg="add mod ord">
          <ac:chgData name="Armaan Kumar" userId="a351e95c-5450-4e5f-a2d5-0f74c8f92915" providerId="ADAL" clId="{168FE2C6-A561-4C00-8270-E1D83101A49A}" dt="2025-04-02T00:33:17.042" v="17558" actId="167"/>
          <ac:spMkLst>
            <pc:docMk/>
            <pc:sldMk cId="3295877462" sldId="2230"/>
            <ac:spMk id="26" creationId="{B563781F-6558-1624-8EC6-4C0F6D63B1EE}"/>
          </ac:spMkLst>
        </pc:spChg>
        <pc:spChg chg="mod">
          <ac:chgData name="Armaan Kumar" userId="a351e95c-5450-4e5f-a2d5-0f74c8f92915" providerId="ADAL" clId="{168FE2C6-A561-4C00-8270-E1D83101A49A}" dt="2025-04-02T00:36:40.918" v="17577" actId="207"/>
          <ac:spMkLst>
            <pc:docMk/>
            <pc:sldMk cId="3295877462" sldId="2230"/>
            <ac:spMk id="28" creationId="{D22BC075-CEB8-DE95-A114-6232CE80B36B}"/>
          </ac:spMkLst>
        </pc:spChg>
        <pc:spChg chg="add mod ord">
          <ac:chgData name="Armaan Kumar" userId="a351e95c-5450-4e5f-a2d5-0f74c8f92915" providerId="ADAL" clId="{168FE2C6-A561-4C00-8270-E1D83101A49A}" dt="2025-04-02T00:33:37.643" v="17562" actId="1076"/>
          <ac:spMkLst>
            <pc:docMk/>
            <pc:sldMk cId="3295877462" sldId="2230"/>
            <ac:spMk id="30" creationId="{7327054B-52D7-D1B8-7F86-52C03C8DA44C}"/>
          </ac:spMkLst>
        </pc:spChg>
        <pc:spChg chg="add mod">
          <ac:chgData name="Armaan Kumar" userId="a351e95c-5450-4e5f-a2d5-0f74c8f92915" providerId="ADAL" clId="{168FE2C6-A561-4C00-8270-E1D83101A49A}" dt="2025-04-02T04:01:56.158" v="19294" actId="1076"/>
          <ac:spMkLst>
            <pc:docMk/>
            <pc:sldMk cId="3295877462" sldId="2230"/>
            <ac:spMk id="32" creationId="{46D068C2-0B34-77D1-7016-4E115DC9866E}"/>
          </ac:spMkLst>
        </pc:spChg>
        <pc:spChg chg="add mod">
          <ac:chgData name="Armaan Kumar" userId="a351e95c-5450-4e5f-a2d5-0f74c8f92915" providerId="ADAL" clId="{168FE2C6-A561-4C00-8270-E1D83101A49A}" dt="2025-04-02T04:02:52.755" v="19307" actId="14100"/>
          <ac:spMkLst>
            <pc:docMk/>
            <pc:sldMk cId="3295877462" sldId="2230"/>
            <ac:spMk id="33" creationId="{BA582D4F-168A-9366-2C19-F9978F4920CD}"/>
          </ac:spMkLst>
        </pc:spChg>
        <pc:graphicFrameChg chg="mod modGraphic">
          <ac:chgData name="Armaan Kumar" userId="a351e95c-5450-4e5f-a2d5-0f74c8f92915" providerId="ADAL" clId="{168FE2C6-A561-4C00-8270-E1D83101A49A}" dt="2025-03-31T22:16:34.856" v="13362" actId="14100"/>
          <ac:graphicFrameMkLst>
            <pc:docMk/>
            <pc:sldMk cId="3295877462" sldId="2230"/>
            <ac:graphicFrameMk id="3" creationId="{BDF05900-847B-46BD-2D9C-CD26C8125E96}"/>
          </ac:graphicFrameMkLst>
        </pc:graphicFrameChg>
        <pc:graphicFrameChg chg="add mod modGraphic">
          <ac:chgData name="Armaan Kumar" userId="a351e95c-5450-4e5f-a2d5-0f74c8f92915" providerId="ADAL" clId="{168FE2C6-A561-4C00-8270-E1D83101A49A}" dt="2025-03-31T22:19:29.381" v="13441"/>
          <ac:graphicFrameMkLst>
            <pc:docMk/>
            <pc:sldMk cId="3295877462" sldId="2230"/>
            <ac:graphicFrameMk id="21" creationId="{B58695DF-25CF-FD59-B42F-545CD329FBE5}"/>
          </ac:graphicFrameMkLst>
        </pc:graphicFrameChg>
        <pc:cxnChg chg="add mod">
          <ac:chgData name="Armaan Kumar" userId="a351e95c-5450-4e5f-a2d5-0f74c8f92915" providerId="ADAL" clId="{168FE2C6-A561-4C00-8270-E1D83101A49A}" dt="2025-04-01T20:17:18.995" v="15514" actId="1076"/>
          <ac:cxnSpMkLst>
            <pc:docMk/>
            <pc:sldMk cId="3295877462" sldId="2230"/>
            <ac:cxnSpMk id="23" creationId="{B03C78DD-0CDE-059A-EBBB-B5D0F8FEA61C}"/>
          </ac:cxnSpMkLst>
        </pc:cxnChg>
        <pc:cxnChg chg="add mod">
          <ac:chgData name="Armaan Kumar" userId="a351e95c-5450-4e5f-a2d5-0f74c8f92915" providerId="ADAL" clId="{168FE2C6-A561-4C00-8270-E1D83101A49A}" dt="2025-04-01T20:17:23.918" v="15515" actId="1076"/>
          <ac:cxnSpMkLst>
            <pc:docMk/>
            <pc:sldMk cId="3295877462" sldId="2230"/>
            <ac:cxnSpMk id="29" creationId="{2BC3B759-2BFB-A5B7-D820-088F6DCBEF44}"/>
          </ac:cxnSpMkLst>
        </pc:cxnChg>
        <pc:cxnChg chg="add mod">
          <ac:chgData name="Armaan Kumar" userId="a351e95c-5450-4e5f-a2d5-0f74c8f92915" providerId="ADAL" clId="{168FE2C6-A561-4C00-8270-E1D83101A49A}" dt="2025-03-31T22:18:46.515" v="13434" actId="692"/>
          <ac:cxnSpMkLst>
            <pc:docMk/>
            <pc:sldMk cId="3295877462" sldId="2230"/>
            <ac:cxnSpMk id="44" creationId="{9FFA3D58-1C86-6BF7-357E-6E176F52D56F}"/>
          </ac:cxnSpMkLst>
        </pc:cxnChg>
      </pc:sldChg>
      <pc:sldChg chg="add del">
        <pc:chgData name="Armaan Kumar" userId="a351e95c-5450-4e5f-a2d5-0f74c8f92915" providerId="ADAL" clId="{168FE2C6-A561-4C00-8270-E1D83101A49A}" dt="2025-03-31T23:31:59.060" v="13444" actId="47"/>
        <pc:sldMkLst>
          <pc:docMk/>
          <pc:sldMk cId="3663630294" sldId="2232"/>
        </pc:sldMkLst>
      </pc:sldChg>
      <pc:sldChg chg="del">
        <pc:chgData name="Armaan Kumar" userId="a351e95c-5450-4e5f-a2d5-0f74c8f92915" providerId="ADAL" clId="{168FE2C6-A561-4C00-8270-E1D83101A49A}" dt="2025-04-01T00:16:43.483" v="14343" actId="47"/>
        <pc:sldMkLst>
          <pc:docMk/>
          <pc:sldMk cId="3969090011" sldId="2232"/>
        </pc:sldMkLst>
      </pc:sldChg>
      <pc:sldChg chg="addSp delSp modSp new mod modShow">
        <pc:chgData name="Armaan Kumar" userId="a351e95c-5450-4e5f-a2d5-0f74c8f92915" providerId="ADAL" clId="{168FE2C6-A561-4C00-8270-E1D83101A49A}" dt="2025-04-01T17:39:59.495" v="15085" actId="14100"/>
        <pc:sldMkLst>
          <pc:docMk/>
          <pc:sldMk cId="3020980299" sldId="2233"/>
        </pc:sldMkLst>
        <pc:spChg chg="mod">
          <ac:chgData name="Armaan Kumar" userId="a351e95c-5450-4e5f-a2d5-0f74c8f92915" providerId="ADAL" clId="{168FE2C6-A561-4C00-8270-E1D83101A49A}" dt="2025-03-31T23:32:48.172" v="13498" actId="20577"/>
          <ac:spMkLst>
            <pc:docMk/>
            <pc:sldMk cId="3020980299" sldId="2233"/>
            <ac:spMk id="2" creationId="{4BEAB25D-9770-5568-CCD0-346CB6D2F6BD}"/>
          </ac:spMkLst>
        </pc:spChg>
        <pc:spChg chg="mod">
          <ac:chgData name="Armaan Kumar" userId="a351e95c-5450-4e5f-a2d5-0f74c8f92915" providerId="ADAL" clId="{168FE2C6-A561-4C00-8270-E1D83101A49A}" dt="2025-03-31T23:32:18.977" v="13446"/>
          <ac:spMkLst>
            <pc:docMk/>
            <pc:sldMk cId="3020980299" sldId="2233"/>
            <ac:spMk id="4" creationId="{7FF5CFB3-AA40-DE1D-4FFF-A7376F32E2D9}"/>
          </ac:spMkLst>
        </pc:spChg>
        <pc:spChg chg="add mod">
          <ac:chgData name="Armaan Kumar" userId="a351e95c-5450-4e5f-a2d5-0f74c8f92915" providerId="ADAL" clId="{168FE2C6-A561-4C00-8270-E1D83101A49A}" dt="2025-04-01T00:20:58.234" v="14362" actId="14100"/>
          <ac:spMkLst>
            <pc:docMk/>
            <pc:sldMk cId="3020980299" sldId="2233"/>
            <ac:spMk id="6" creationId="{F414B54D-F947-BA8E-605B-7AD5F393A4AE}"/>
          </ac:spMkLst>
        </pc:spChg>
        <pc:spChg chg="add mod">
          <ac:chgData name="Armaan Kumar" userId="a351e95c-5450-4e5f-a2d5-0f74c8f92915" providerId="ADAL" clId="{168FE2C6-A561-4C00-8270-E1D83101A49A}" dt="2025-04-01T17:39:33.292" v="15079" actId="14100"/>
          <ac:spMkLst>
            <pc:docMk/>
            <pc:sldMk cId="3020980299" sldId="2233"/>
            <ac:spMk id="7" creationId="{D00CAA80-CB04-81AB-3CAD-9FAF44F08745}"/>
          </ac:spMkLst>
        </pc:spChg>
        <pc:spChg chg="add mod">
          <ac:chgData name="Armaan Kumar" userId="a351e95c-5450-4e5f-a2d5-0f74c8f92915" providerId="ADAL" clId="{168FE2C6-A561-4C00-8270-E1D83101A49A}" dt="2025-04-01T00:21:11.426" v="14364" actId="14100"/>
          <ac:spMkLst>
            <pc:docMk/>
            <pc:sldMk cId="3020980299" sldId="2233"/>
            <ac:spMk id="9" creationId="{05FFDCBB-D9FC-349B-9BE6-C3C3F48F8E06}"/>
          </ac:spMkLst>
        </pc:spChg>
        <pc:spChg chg="add mod">
          <ac:chgData name="Armaan Kumar" userId="a351e95c-5450-4e5f-a2d5-0f74c8f92915" providerId="ADAL" clId="{168FE2C6-A561-4C00-8270-E1D83101A49A}" dt="2025-04-01T17:39:59.495" v="15085" actId="14100"/>
          <ac:spMkLst>
            <pc:docMk/>
            <pc:sldMk cId="3020980299" sldId="2233"/>
            <ac:spMk id="35" creationId="{65B8F884-A2C4-C2E4-C37A-E966B971F62D}"/>
          </ac:spMkLst>
        </pc:spChg>
        <pc:spChg chg="add mod">
          <ac:chgData name="Armaan Kumar" userId="a351e95c-5450-4e5f-a2d5-0f74c8f92915" providerId="ADAL" clId="{168FE2C6-A561-4C00-8270-E1D83101A49A}" dt="2025-04-01T17:39:55.244" v="15083" actId="14100"/>
          <ac:spMkLst>
            <pc:docMk/>
            <pc:sldMk cId="3020980299" sldId="2233"/>
            <ac:spMk id="36" creationId="{0AA035A6-11D7-1E2C-A047-C4731A8195D1}"/>
          </ac:spMkLst>
        </pc:spChg>
        <pc:spChg chg="add mod">
          <ac:chgData name="Armaan Kumar" userId="a351e95c-5450-4e5f-a2d5-0f74c8f92915" providerId="ADAL" clId="{168FE2C6-A561-4C00-8270-E1D83101A49A}" dt="2025-04-01T00:20:08.238" v="14355" actId="14100"/>
          <ac:spMkLst>
            <pc:docMk/>
            <pc:sldMk cId="3020980299" sldId="2233"/>
            <ac:spMk id="37" creationId="{31E73160-9553-D9DB-59C6-4DFD1889418D}"/>
          </ac:spMkLst>
        </pc:spChg>
        <pc:spChg chg="add mod">
          <ac:chgData name="Armaan Kumar" userId="a351e95c-5450-4e5f-a2d5-0f74c8f92915" providerId="ADAL" clId="{168FE2C6-A561-4C00-8270-E1D83101A49A}" dt="2025-04-01T17:39:57.632" v="15084" actId="14100"/>
          <ac:spMkLst>
            <pc:docMk/>
            <pc:sldMk cId="3020980299" sldId="2233"/>
            <ac:spMk id="39" creationId="{BD19B092-6FEA-A491-6BBE-6B3D0BCF1A88}"/>
          </ac:spMkLst>
        </pc:spChg>
        <pc:spChg chg="add mod">
          <ac:chgData name="Armaan Kumar" userId="a351e95c-5450-4e5f-a2d5-0f74c8f92915" providerId="ADAL" clId="{168FE2C6-A561-4C00-8270-E1D83101A49A}" dt="2025-04-01T17:39:53.048" v="15082" actId="14100"/>
          <ac:spMkLst>
            <pc:docMk/>
            <pc:sldMk cId="3020980299" sldId="2233"/>
            <ac:spMk id="41" creationId="{7A1616D4-F606-99E8-A993-0C32A960BFBA}"/>
          </ac:spMkLst>
        </pc:spChg>
        <pc:spChg chg="add mod">
          <ac:chgData name="Armaan Kumar" userId="a351e95c-5450-4e5f-a2d5-0f74c8f92915" providerId="ADAL" clId="{168FE2C6-A561-4C00-8270-E1D83101A49A}" dt="2025-04-01T00:20:06.031" v="14354" actId="14100"/>
          <ac:spMkLst>
            <pc:docMk/>
            <pc:sldMk cId="3020980299" sldId="2233"/>
            <ac:spMk id="42" creationId="{1EBDA04D-4090-DDDD-A0EB-EEA000D080F7}"/>
          </ac:spMkLst>
        </pc:spChg>
        <pc:spChg chg="add del mod">
          <ac:chgData name="Armaan Kumar" userId="a351e95c-5450-4e5f-a2d5-0f74c8f92915" providerId="ADAL" clId="{168FE2C6-A561-4C00-8270-E1D83101A49A}" dt="2025-04-01T00:00:36.411" v="13725" actId="478"/>
          <ac:spMkLst>
            <pc:docMk/>
            <pc:sldMk cId="3020980299" sldId="2233"/>
            <ac:spMk id="43" creationId="{D12184D4-62EC-09CA-401F-9CDAA4BAD07D}"/>
          </ac:spMkLst>
        </pc:spChg>
        <pc:spChg chg="add del mod">
          <ac:chgData name="Armaan Kumar" userId="a351e95c-5450-4e5f-a2d5-0f74c8f92915" providerId="ADAL" clId="{168FE2C6-A561-4C00-8270-E1D83101A49A}" dt="2025-04-01T00:00:32.496" v="13723" actId="478"/>
          <ac:spMkLst>
            <pc:docMk/>
            <pc:sldMk cId="3020980299" sldId="2233"/>
            <ac:spMk id="44" creationId="{FDD8C8C0-357F-C955-3550-1A7A18942300}"/>
          </ac:spMkLst>
        </pc:spChg>
        <pc:spChg chg="add del mod">
          <ac:chgData name="Armaan Kumar" userId="a351e95c-5450-4e5f-a2d5-0f74c8f92915" providerId="ADAL" clId="{168FE2C6-A561-4C00-8270-E1D83101A49A}" dt="2025-04-01T00:00:34.676" v="13724" actId="478"/>
          <ac:spMkLst>
            <pc:docMk/>
            <pc:sldMk cId="3020980299" sldId="2233"/>
            <ac:spMk id="45" creationId="{9A73ED4A-7FF5-806F-DFE7-A8F3DA64F49E}"/>
          </ac:spMkLst>
        </pc:spChg>
        <pc:spChg chg="add mod">
          <ac:chgData name="Armaan Kumar" userId="a351e95c-5450-4e5f-a2d5-0f74c8f92915" providerId="ADAL" clId="{168FE2C6-A561-4C00-8270-E1D83101A49A}" dt="2025-04-01T00:10:22.058" v="14128" actId="1076"/>
          <ac:spMkLst>
            <pc:docMk/>
            <pc:sldMk cId="3020980299" sldId="2233"/>
            <ac:spMk id="46" creationId="{1D39456A-8660-839B-8592-8D80A83E8146}"/>
          </ac:spMkLst>
        </pc:spChg>
        <pc:spChg chg="add del mod">
          <ac:chgData name="Armaan Kumar" userId="a351e95c-5450-4e5f-a2d5-0f74c8f92915" providerId="ADAL" clId="{168FE2C6-A561-4C00-8270-E1D83101A49A}" dt="2025-04-01T00:05:02.741" v="13852" actId="478"/>
          <ac:spMkLst>
            <pc:docMk/>
            <pc:sldMk cId="3020980299" sldId="2233"/>
            <ac:spMk id="52" creationId="{82ACF0B3-22EC-5201-7396-2CB174D17BDD}"/>
          </ac:spMkLst>
        </pc:spChg>
        <pc:spChg chg="add mod">
          <ac:chgData name="Armaan Kumar" userId="a351e95c-5450-4e5f-a2d5-0f74c8f92915" providerId="ADAL" clId="{168FE2C6-A561-4C00-8270-E1D83101A49A}" dt="2025-04-01T00:09:39.813" v="14121" actId="404"/>
          <ac:spMkLst>
            <pc:docMk/>
            <pc:sldMk cId="3020980299" sldId="2233"/>
            <ac:spMk id="55" creationId="{D43BB493-3D21-0461-69BB-DE102C3C6804}"/>
          </ac:spMkLst>
        </pc:spChg>
        <pc:spChg chg="add mod">
          <ac:chgData name="Armaan Kumar" userId="a351e95c-5450-4e5f-a2d5-0f74c8f92915" providerId="ADAL" clId="{168FE2C6-A561-4C00-8270-E1D83101A49A}" dt="2025-04-01T00:09:34.970" v="14120" actId="255"/>
          <ac:spMkLst>
            <pc:docMk/>
            <pc:sldMk cId="3020980299" sldId="2233"/>
            <ac:spMk id="56" creationId="{1D857426-AD1A-6827-26F3-A6632A477C5A}"/>
          </ac:spMkLst>
        </pc:spChg>
        <pc:spChg chg="add mod">
          <ac:chgData name="Armaan Kumar" userId="a351e95c-5450-4e5f-a2d5-0f74c8f92915" providerId="ADAL" clId="{168FE2C6-A561-4C00-8270-E1D83101A49A}" dt="2025-04-01T00:05:11.600" v="13855"/>
          <ac:spMkLst>
            <pc:docMk/>
            <pc:sldMk cId="3020980299" sldId="2233"/>
            <ac:spMk id="57" creationId="{04372383-4F8B-AA6A-B6CF-7156E931F7E0}"/>
          </ac:spMkLst>
        </pc:spChg>
        <pc:spChg chg="add del mod">
          <ac:chgData name="Armaan Kumar" userId="a351e95c-5450-4e5f-a2d5-0f74c8f92915" providerId="ADAL" clId="{168FE2C6-A561-4C00-8270-E1D83101A49A}" dt="2025-04-01T00:08:42.743" v="14102" actId="478"/>
          <ac:spMkLst>
            <pc:docMk/>
            <pc:sldMk cId="3020980299" sldId="2233"/>
            <ac:spMk id="61" creationId="{08821272-937C-C45E-D9B0-1E6CBA9FBD36}"/>
          </ac:spMkLst>
        </pc:spChg>
        <pc:spChg chg="add del mod">
          <ac:chgData name="Armaan Kumar" userId="a351e95c-5450-4e5f-a2d5-0f74c8f92915" providerId="ADAL" clId="{168FE2C6-A561-4C00-8270-E1D83101A49A}" dt="2025-04-01T00:08:07.157" v="14085" actId="478"/>
          <ac:spMkLst>
            <pc:docMk/>
            <pc:sldMk cId="3020980299" sldId="2233"/>
            <ac:spMk id="62" creationId="{380F6F74-4C59-01B7-0903-23E0B7454AA3}"/>
          </ac:spMkLst>
        </pc:spChg>
        <pc:spChg chg="add del mod">
          <ac:chgData name="Armaan Kumar" userId="a351e95c-5450-4e5f-a2d5-0f74c8f92915" providerId="ADAL" clId="{168FE2C6-A561-4C00-8270-E1D83101A49A}" dt="2025-04-01T00:07:17.218" v="14065" actId="478"/>
          <ac:spMkLst>
            <pc:docMk/>
            <pc:sldMk cId="3020980299" sldId="2233"/>
            <ac:spMk id="63" creationId="{E7CF2614-69B4-3B42-36FD-0654EB024074}"/>
          </ac:spMkLst>
        </pc:spChg>
        <pc:spChg chg="add del mod">
          <ac:chgData name="Armaan Kumar" userId="a351e95c-5450-4e5f-a2d5-0f74c8f92915" providerId="ADAL" clId="{168FE2C6-A561-4C00-8270-E1D83101A49A}" dt="2025-04-01T00:08:07.161" v="14087"/>
          <ac:spMkLst>
            <pc:docMk/>
            <pc:sldMk cId="3020980299" sldId="2233"/>
            <ac:spMk id="64" creationId="{80D48E50-D927-914D-5D47-FD05D677115C}"/>
          </ac:spMkLst>
        </pc:spChg>
        <pc:spChg chg="add del mod">
          <ac:chgData name="Armaan Kumar" userId="a351e95c-5450-4e5f-a2d5-0f74c8f92915" providerId="ADAL" clId="{168FE2C6-A561-4C00-8270-E1D83101A49A}" dt="2025-04-01T00:07:23.861" v="14066" actId="478"/>
          <ac:spMkLst>
            <pc:docMk/>
            <pc:sldMk cId="3020980299" sldId="2233"/>
            <ac:spMk id="65" creationId="{FC150AFB-981D-E162-B836-77115123846E}"/>
          </ac:spMkLst>
        </pc:spChg>
        <pc:spChg chg="add del mod">
          <ac:chgData name="Armaan Kumar" userId="a351e95c-5450-4e5f-a2d5-0f74c8f92915" providerId="ADAL" clId="{168FE2C6-A561-4C00-8270-E1D83101A49A}" dt="2025-04-01T00:08:20.271" v="14094"/>
          <ac:spMkLst>
            <pc:docMk/>
            <pc:sldMk cId="3020980299" sldId="2233"/>
            <ac:spMk id="66" creationId="{44A37DD7-94F7-F533-18D6-531574AB2B84}"/>
          </ac:spMkLst>
        </pc:spChg>
        <pc:spChg chg="add mod">
          <ac:chgData name="Armaan Kumar" userId="a351e95c-5450-4e5f-a2d5-0f74c8f92915" providerId="ADAL" clId="{168FE2C6-A561-4C00-8270-E1D83101A49A}" dt="2025-04-01T00:14:23.817" v="14333" actId="1076"/>
          <ac:spMkLst>
            <pc:docMk/>
            <pc:sldMk cId="3020980299" sldId="2233"/>
            <ac:spMk id="68" creationId="{147AF058-B3F5-D501-3EB4-ABDB0B82C98D}"/>
          </ac:spMkLst>
        </pc:spChg>
        <pc:spChg chg="add mod">
          <ac:chgData name="Armaan Kumar" userId="a351e95c-5450-4e5f-a2d5-0f74c8f92915" providerId="ADAL" clId="{168FE2C6-A561-4C00-8270-E1D83101A49A}" dt="2025-04-01T00:14:42.812" v="14336" actId="1076"/>
          <ac:spMkLst>
            <pc:docMk/>
            <pc:sldMk cId="3020980299" sldId="2233"/>
            <ac:spMk id="69" creationId="{D6A157A9-2F52-8F4D-7290-F558D2536530}"/>
          </ac:spMkLst>
        </pc:spChg>
        <pc:spChg chg="add mod">
          <ac:chgData name="Armaan Kumar" userId="a351e95c-5450-4e5f-a2d5-0f74c8f92915" providerId="ADAL" clId="{168FE2C6-A561-4C00-8270-E1D83101A49A}" dt="2025-04-01T00:14:13.608" v="14330" actId="14100"/>
          <ac:spMkLst>
            <pc:docMk/>
            <pc:sldMk cId="3020980299" sldId="2233"/>
            <ac:spMk id="70" creationId="{2975B488-FCEF-8D9B-8828-36B846266404}"/>
          </ac:spMkLst>
        </pc:spChg>
        <pc:cxnChg chg="add mod">
          <ac:chgData name="Armaan Kumar" userId="a351e95c-5450-4e5f-a2d5-0f74c8f92915" providerId="ADAL" clId="{168FE2C6-A561-4C00-8270-E1D83101A49A}" dt="2025-04-01T00:15:36.789" v="14340" actId="692"/>
          <ac:cxnSpMkLst>
            <pc:docMk/>
            <pc:sldMk cId="3020980299" sldId="2233"/>
            <ac:cxnSpMk id="48" creationId="{0F99C6A0-F12F-9198-11A7-247B363DFEC6}"/>
          </ac:cxnSpMkLst>
        </pc:cxnChg>
        <pc:cxnChg chg="add mod">
          <ac:chgData name="Armaan Kumar" userId="a351e95c-5450-4e5f-a2d5-0f74c8f92915" providerId="ADAL" clId="{168FE2C6-A561-4C00-8270-E1D83101A49A}" dt="2025-04-01T00:15:41.768" v="14341" actId="692"/>
          <ac:cxnSpMkLst>
            <pc:docMk/>
            <pc:sldMk cId="3020980299" sldId="2233"/>
            <ac:cxnSpMk id="49" creationId="{6108E124-8706-9CEB-2EEE-0DB76CA792E7}"/>
          </ac:cxnSpMkLst>
        </pc:cxnChg>
        <pc:cxnChg chg="add mod">
          <ac:chgData name="Armaan Kumar" userId="a351e95c-5450-4e5f-a2d5-0f74c8f92915" providerId="ADAL" clId="{168FE2C6-A561-4C00-8270-E1D83101A49A}" dt="2025-04-01T00:15:45.926" v="14342" actId="692"/>
          <ac:cxnSpMkLst>
            <pc:docMk/>
            <pc:sldMk cId="3020980299" sldId="2233"/>
            <ac:cxnSpMk id="59" creationId="{4A12486D-5EAC-0105-21DE-3307ECE6356E}"/>
          </ac:cxnSpMkLst>
        </pc:cxnChg>
      </pc:sldChg>
      <pc:sldChg chg="addSp modSp mod ord">
        <pc:chgData name="Armaan Kumar" userId="a351e95c-5450-4e5f-a2d5-0f74c8f92915" providerId="ADAL" clId="{168FE2C6-A561-4C00-8270-E1D83101A49A}" dt="2025-04-02T04:12:51.085" v="19342" actId="207"/>
        <pc:sldMkLst>
          <pc:docMk/>
          <pc:sldMk cId="3465619800" sldId="2240"/>
        </pc:sldMkLst>
        <pc:spChg chg="mod">
          <ac:chgData name="Armaan Kumar" userId="a351e95c-5450-4e5f-a2d5-0f74c8f92915" providerId="ADAL" clId="{168FE2C6-A561-4C00-8270-E1D83101A49A}" dt="2025-04-02T04:08:54.902" v="19335" actId="255"/>
          <ac:spMkLst>
            <pc:docMk/>
            <pc:sldMk cId="3465619800" sldId="2240"/>
            <ac:spMk id="5" creationId="{B63024AE-0E0D-0C5A-2C5A-C58B025D832C}"/>
          </ac:spMkLst>
        </pc:spChg>
        <pc:spChg chg="mod">
          <ac:chgData name="Armaan Kumar" userId="a351e95c-5450-4e5f-a2d5-0f74c8f92915" providerId="ADAL" clId="{168FE2C6-A561-4C00-8270-E1D83101A49A}" dt="2025-04-02T04:12:51.085" v="19342" actId="207"/>
          <ac:spMkLst>
            <pc:docMk/>
            <pc:sldMk cId="3465619800" sldId="2240"/>
            <ac:spMk id="27" creationId="{1E159925-0D20-908A-AD2E-341FA6BA7091}"/>
          </ac:spMkLst>
        </pc:spChg>
        <pc:spChg chg="mod">
          <ac:chgData name="Armaan Kumar" userId="a351e95c-5450-4e5f-a2d5-0f74c8f92915" providerId="ADAL" clId="{168FE2C6-A561-4C00-8270-E1D83101A49A}" dt="2025-04-02T04:12:51.085" v="19342" actId="207"/>
          <ac:spMkLst>
            <pc:docMk/>
            <pc:sldMk cId="3465619800" sldId="2240"/>
            <ac:spMk id="28" creationId="{6EDD8041-B0C3-0508-6490-9399EBE1D56E}"/>
          </ac:spMkLst>
        </pc:spChg>
        <pc:spChg chg="mod">
          <ac:chgData name="Armaan Kumar" userId="a351e95c-5450-4e5f-a2d5-0f74c8f92915" providerId="ADAL" clId="{168FE2C6-A561-4C00-8270-E1D83101A49A}" dt="2025-04-02T04:12:51.085" v="19342" actId="207"/>
          <ac:spMkLst>
            <pc:docMk/>
            <pc:sldMk cId="3465619800" sldId="2240"/>
            <ac:spMk id="29" creationId="{2C2246DD-1BAC-7F14-65A4-A36A1AF2E38C}"/>
          </ac:spMkLst>
        </pc:spChg>
        <pc:spChg chg="mod">
          <ac:chgData name="Armaan Kumar" userId="a351e95c-5450-4e5f-a2d5-0f74c8f92915" providerId="ADAL" clId="{168FE2C6-A561-4C00-8270-E1D83101A49A}" dt="2025-04-02T04:12:51.085" v="19342" actId="207"/>
          <ac:spMkLst>
            <pc:docMk/>
            <pc:sldMk cId="3465619800" sldId="2240"/>
            <ac:spMk id="30" creationId="{703E5582-A971-1FBA-4D29-484737216CB7}"/>
          </ac:spMkLst>
        </pc:spChg>
        <pc:spChg chg="mod">
          <ac:chgData name="Armaan Kumar" userId="a351e95c-5450-4e5f-a2d5-0f74c8f92915" providerId="ADAL" clId="{168FE2C6-A561-4C00-8270-E1D83101A49A}" dt="2025-04-02T04:12:51.085" v="19342" actId="207"/>
          <ac:spMkLst>
            <pc:docMk/>
            <pc:sldMk cId="3465619800" sldId="2240"/>
            <ac:spMk id="31" creationId="{7AEBB98F-2C9F-1992-399F-AE8E48B15B9F}"/>
          </ac:spMkLst>
        </pc:spChg>
        <pc:spChg chg="mod">
          <ac:chgData name="Armaan Kumar" userId="a351e95c-5450-4e5f-a2d5-0f74c8f92915" providerId="ADAL" clId="{168FE2C6-A561-4C00-8270-E1D83101A49A}" dt="2025-04-02T04:08:54.902" v="19335" actId="255"/>
          <ac:spMkLst>
            <pc:docMk/>
            <pc:sldMk cId="3465619800" sldId="2240"/>
            <ac:spMk id="32" creationId="{7CC530D1-430F-B6E2-3E78-19E9A17311A2}"/>
          </ac:spMkLst>
        </pc:spChg>
        <pc:spChg chg="mod">
          <ac:chgData name="Armaan Kumar" userId="a351e95c-5450-4e5f-a2d5-0f74c8f92915" providerId="ADAL" clId="{168FE2C6-A561-4C00-8270-E1D83101A49A}" dt="2025-04-02T04:08:54.902" v="19335" actId="255"/>
          <ac:spMkLst>
            <pc:docMk/>
            <pc:sldMk cId="3465619800" sldId="2240"/>
            <ac:spMk id="33" creationId="{EAC0BCD2-19A0-B5A1-DF06-3CBFE615C32F}"/>
          </ac:spMkLst>
        </pc:spChg>
        <pc:spChg chg="mod">
          <ac:chgData name="Armaan Kumar" userId="a351e95c-5450-4e5f-a2d5-0f74c8f92915" providerId="ADAL" clId="{168FE2C6-A561-4C00-8270-E1D83101A49A}" dt="2025-04-02T04:08:54.902" v="19335" actId="255"/>
          <ac:spMkLst>
            <pc:docMk/>
            <pc:sldMk cId="3465619800" sldId="2240"/>
            <ac:spMk id="34" creationId="{60EFC85E-6413-9627-EF1F-62A8FA653522}"/>
          </ac:spMkLst>
        </pc:spChg>
        <pc:spChg chg="mod">
          <ac:chgData name="Armaan Kumar" userId="a351e95c-5450-4e5f-a2d5-0f74c8f92915" providerId="ADAL" clId="{168FE2C6-A561-4C00-8270-E1D83101A49A}" dt="2025-04-02T04:08:54.902" v="19335" actId="255"/>
          <ac:spMkLst>
            <pc:docMk/>
            <pc:sldMk cId="3465619800" sldId="2240"/>
            <ac:spMk id="35" creationId="{B05BA212-B4B9-EBE8-9E7F-3DC673E6561C}"/>
          </ac:spMkLst>
        </pc:spChg>
        <pc:picChg chg="mod">
          <ac:chgData name="Armaan Kumar" userId="a351e95c-5450-4e5f-a2d5-0f74c8f92915" providerId="ADAL" clId="{168FE2C6-A561-4C00-8270-E1D83101A49A}" dt="2025-04-02T04:07:25.723" v="19329" actId="1038"/>
          <ac:picMkLst>
            <pc:docMk/>
            <pc:sldMk cId="3465619800" sldId="2240"/>
            <ac:picMk id="15" creationId="{34DB8AE4-AE38-0C1A-595A-1C17CD9A73F0}"/>
          </ac:picMkLst>
        </pc:picChg>
        <pc:picChg chg="mod">
          <ac:chgData name="Armaan Kumar" userId="a351e95c-5450-4e5f-a2d5-0f74c8f92915" providerId="ADAL" clId="{168FE2C6-A561-4C00-8270-E1D83101A49A}" dt="2025-04-02T04:07:29.520" v="19331" actId="1038"/>
          <ac:picMkLst>
            <pc:docMk/>
            <pc:sldMk cId="3465619800" sldId="2240"/>
            <ac:picMk id="18" creationId="{988E179A-7392-1ACC-63D9-7868CD9D15CC}"/>
          </ac:picMkLst>
        </pc:picChg>
        <pc:cxnChg chg="add mod">
          <ac:chgData name="Armaan Kumar" userId="a351e95c-5450-4e5f-a2d5-0f74c8f92915" providerId="ADAL" clId="{168FE2C6-A561-4C00-8270-E1D83101A49A}" dt="2025-04-02T04:07:15.197" v="19325" actId="14100"/>
          <ac:cxnSpMkLst>
            <pc:docMk/>
            <pc:sldMk cId="3465619800" sldId="2240"/>
            <ac:cxnSpMk id="14" creationId="{3F4F234A-87AD-FD08-80BC-C1DED91BED5F}"/>
          </ac:cxnSpMkLst>
        </pc:cxnChg>
      </pc:sldChg>
      <pc:sldChg chg="modSp add del mod">
        <pc:chgData name="Armaan Kumar" userId="a351e95c-5450-4e5f-a2d5-0f74c8f92915" providerId="ADAL" clId="{168FE2C6-A561-4C00-8270-E1D83101A49A}" dt="2025-04-01T04:36:33.755" v="14370" actId="47"/>
        <pc:sldMkLst>
          <pc:docMk/>
          <pc:sldMk cId="2200298878" sldId="2250"/>
        </pc:sldMkLst>
        <pc:spChg chg="mod">
          <ac:chgData name="Armaan Kumar" userId="a351e95c-5450-4e5f-a2d5-0f74c8f92915" providerId="ADAL" clId="{168FE2C6-A561-4C00-8270-E1D83101A49A}" dt="2025-04-01T04:36:24.140" v="14369" actId="1076"/>
          <ac:spMkLst>
            <pc:docMk/>
            <pc:sldMk cId="2200298878" sldId="2250"/>
            <ac:spMk id="2" creationId="{894E6A17-0C55-6DD5-FF93-B257C09DD1BE}"/>
          </ac:spMkLst>
        </pc:spChg>
      </pc:sldChg>
      <pc:sldChg chg="addSp delSp modSp add mod">
        <pc:chgData name="Armaan Kumar" userId="a351e95c-5450-4e5f-a2d5-0f74c8f92915" providerId="ADAL" clId="{168FE2C6-A561-4C00-8270-E1D83101A49A}" dt="2025-04-01T18:07:47.523" v="15183" actId="207"/>
        <pc:sldMkLst>
          <pc:docMk/>
          <pc:sldMk cId="2659131323" sldId="2251"/>
        </pc:sldMkLst>
        <pc:spChg chg="del">
          <ac:chgData name="Armaan Kumar" userId="a351e95c-5450-4e5f-a2d5-0f74c8f92915" providerId="ADAL" clId="{168FE2C6-A561-4C00-8270-E1D83101A49A}" dt="2025-04-01T17:09:03.150" v="14756" actId="478"/>
          <ac:spMkLst>
            <pc:docMk/>
            <pc:sldMk cId="2659131323" sldId="2251"/>
            <ac:spMk id="2" creationId="{554B9A0F-E809-4B42-DCF9-54D625E31199}"/>
          </ac:spMkLst>
        </pc:spChg>
        <pc:spChg chg="del">
          <ac:chgData name="Armaan Kumar" userId="a351e95c-5450-4e5f-a2d5-0f74c8f92915" providerId="ADAL" clId="{168FE2C6-A561-4C00-8270-E1D83101A49A}" dt="2025-04-01T17:09:00.138" v="14755" actId="478"/>
          <ac:spMkLst>
            <pc:docMk/>
            <pc:sldMk cId="2659131323" sldId="2251"/>
            <ac:spMk id="3" creationId="{60826358-F32B-1A9E-6FAA-FDAC0DD69E6A}"/>
          </ac:spMkLst>
        </pc:spChg>
        <pc:spChg chg="del">
          <ac:chgData name="Armaan Kumar" userId="a351e95c-5450-4e5f-a2d5-0f74c8f92915" providerId="ADAL" clId="{168FE2C6-A561-4C00-8270-E1D83101A49A}" dt="2025-04-01T17:09:00.138" v="14755" actId="478"/>
          <ac:spMkLst>
            <pc:docMk/>
            <pc:sldMk cId="2659131323" sldId="2251"/>
            <ac:spMk id="4" creationId="{3A4C05F4-CA0B-A1F9-9CA9-2FEB635BA4A2}"/>
          </ac:spMkLst>
        </pc:spChg>
        <pc:spChg chg="del">
          <ac:chgData name="Armaan Kumar" userId="a351e95c-5450-4e5f-a2d5-0f74c8f92915" providerId="ADAL" clId="{168FE2C6-A561-4C00-8270-E1D83101A49A}" dt="2025-04-01T17:09:00.138" v="14755" actId="478"/>
          <ac:spMkLst>
            <pc:docMk/>
            <pc:sldMk cId="2659131323" sldId="2251"/>
            <ac:spMk id="6" creationId="{57CA7103-7F8C-BC8A-F876-09387A8472EC}"/>
          </ac:spMkLst>
        </pc:spChg>
        <pc:spChg chg="add del mod">
          <ac:chgData name="Armaan Kumar" userId="a351e95c-5450-4e5f-a2d5-0f74c8f92915" providerId="ADAL" clId="{168FE2C6-A561-4C00-8270-E1D83101A49A}" dt="2025-04-01T17:09:13.004" v="14757" actId="478"/>
          <ac:spMkLst>
            <pc:docMk/>
            <pc:sldMk cId="2659131323" sldId="2251"/>
            <ac:spMk id="8" creationId="{32E56E1E-61EF-FBBC-A803-2F27F5AFAED1}"/>
          </ac:spMkLst>
        </pc:spChg>
        <pc:spChg chg="del">
          <ac:chgData name="Armaan Kumar" userId="a351e95c-5450-4e5f-a2d5-0f74c8f92915" providerId="ADAL" clId="{168FE2C6-A561-4C00-8270-E1D83101A49A}" dt="2025-04-01T17:09:00.138" v="14755" actId="478"/>
          <ac:spMkLst>
            <pc:docMk/>
            <pc:sldMk cId="2659131323" sldId="2251"/>
            <ac:spMk id="9" creationId="{355B2406-89B8-2DEF-6620-CCCCC631D175}"/>
          </ac:spMkLst>
        </pc:spChg>
        <pc:spChg chg="add mod">
          <ac:chgData name="Armaan Kumar" userId="a351e95c-5450-4e5f-a2d5-0f74c8f92915" providerId="ADAL" clId="{168FE2C6-A561-4C00-8270-E1D83101A49A}" dt="2025-04-01T18:02:28.140" v="15170" actId="14100"/>
          <ac:spMkLst>
            <pc:docMk/>
            <pc:sldMk cId="2659131323" sldId="2251"/>
            <ac:spMk id="11" creationId="{946BBCFA-6E0A-9A95-B647-BCADC65D3C95}"/>
          </ac:spMkLst>
        </pc:spChg>
        <pc:spChg chg="add mod">
          <ac:chgData name="Armaan Kumar" userId="a351e95c-5450-4e5f-a2d5-0f74c8f92915" providerId="ADAL" clId="{168FE2C6-A561-4C00-8270-E1D83101A49A}" dt="2025-04-01T18:01:27.687" v="15160" actId="14100"/>
          <ac:spMkLst>
            <pc:docMk/>
            <pc:sldMk cId="2659131323" sldId="2251"/>
            <ac:spMk id="12" creationId="{FA2B9466-E622-66D7-8D37-36E636844BBC}"/>
          </ac:spMkLst>
        </pc:spChg>
        <pc:spChg chg="del">
          <ac:chgData name="Armaan Kumar" userId="a351e95c-5450-4e5f-a2d5-0f74c8f92915" providerId="ADAL" clId="{168FE2C6-A561-4C00-8270-E1D83101A49A}" dt="2025-04-01T17:09:00.138" v="14755" actId="478"/>
          <ac:spMkLst>
            <pc:docMk/>
            <pc:sldMk cId="2659131323" sldId="2251"/>
            <ac:spMk id="13" creationId="{44FAFDEA-3F3E-2585-7FC6-1A18348D7128}"/>
          </ac:spMkLst>
        </pc:spChg>
        <pc:spChg chg="add del mod">
          <ac:chgData name="Armaan Kumar" userId="a351e95c-5450-4e5f-a2d5-0f74c8f92915" providerId="ADAL" clId="{168FE2C6-A561-4C00-8270-E1D83101A49A}" dt="2025-04-01T17:11:54.966" v="14782" actId="478"/>
          <ac:spMkLst>
            <pc:docMk/>
            <pc:sldMk cId="2659131323" sldId="2251"/>
            <ac:spMk id="14" creationId="{82FF728D-9C8E-71DA-9214-C21301C64146}"/>
          </ac:spMkLst>
        </pc:spChg>
        <pc:spChg chg="del">
          <ac:chgData name="Armaan Kumar" userId="a351e95c-5450-4e5f-a2d5-0f74c8f92915" providerId="ADAL" clId="{168FE2C6-A561-4C00-8270-E1D83101A49A}" dt="2025-04-01T17:09:00.138" v="14755" actId="478"/>
          <ac:spMkLst>
            <pc:docMk/>
            <pc:sldMk cId="2659131323" sldId="2251"/>
            <ac:spMk id="15" creationId="{EE75CD70-1A46-6BD9-B0A1-AF952173CD9D}"/>
          </ac:spMkLst>
        </pc:spChg>
        <pc:spChg chg="del">
          <ac:chgData name="Armaan Kumar" userId="a351e95c-5450-4e5f-a2d5-0f74c8f92915" providerId="ADAL" clId="{168FE2C6-A561-4C00-8270-E1D83101A49A}" dt="2025-04-01T17:09:00.138" v="14755" actId="478"/>
          <ac:spMkLst>
            <pc:docMk/>
            <pc:sldMk cId="2659131323" sldId="2251"/>
            <ac:spMk id="16" creationId="{1D3366B4-C8D1-1918-AFB2-EB1E56104996}"/>
          </ac:spMkLst>
        </pc:spChg>
        <pc:spChg chg="del">
          <ac:chgData name="Armaan Kumar" userId="a351e95c-5450-4e5f-a2d5-0f74c8f92915" providerId="ADAL" clId="{168FE2C6-A561-4C00-8270-E1D83101A49A}" dt="2025-04-01T17:09:00.138" v="14755" actId="478"/>
          <ac:spMkLst>
            <pc:docMk/>
            <pc:sldMk cId="2659131323" sldId="2251"/>
            <ac:spMk id="18" creationId="{A68F68AB-C002-3CE4-AD20-5775C04D526E}"/>
          </ac:spMkLst>
        </pc:spChg>
        <pc:spChg chg="add mod">
          <ac:chgData name="Armaan Kumar" userId="a351e95c-5450-4e5f-a2d5-0f74c8f92915" providerId="ADAL" clId="{168FE2C6-A561-4C00-8270-E1D83101A49A}" dt="2025-04-01T17:53:09.035" v="15123" actId="1076"/>
          <ac:spMkLst>
            <pc:docMk/>
            <pc:sldMk cId="2659131323" sldId="2251"/>
            <ac:spMk id="19" creationId="{C1685A57-2BDF-BC9B-A38C-FD5C8F3D94CB}"/>
          </ac:spMkLst>
        </pc:spChg>
        <pc:spChg chg="del">
          <ac:chgData name="Armaan Kumar" userId="a351e95c-5450-4e5f-a2d5-0f74c8f92915" providerId="ADAL" clId="{168FE2C6-A561-4C00-8270-E1D83101A49A}" dt="2025-04-01T17:09:00.138" v="14755" actId="478"/>
          <ac:spMkLst>
            <pc:docMk/>
            <pc:sldMk cId="2659131323" sldId="2251"/>
            <ac:spMk id="20" creationId="{3CEC6698-1053-3BA7-4BE5-077CED76F156}"/>
          </ac:spMkLst>
        </pc:spChg>
        <pc:spChg chg="add mod">
          <ac:chgData name="Armaan Kumar" userId="a351e95c-5450-4e5f-a2d5-0f74c8f92915" providerId="ADAL" clId="{168FE2C6-A561-4C00-8270-E1D83101A49A}" dt="2025-04-01T17:53:15.472" v="15124" actId="1076"/>
          <ac:spMkLst>
            <pc:docMk/>
            <pc:sldMk cId="2659131323" sldId="2251"/>
            <ac:spMk id="21" creationId="{6FF000F5-F3AD-F6E1-0A2C-3356F4E108FC}"/>
          </ac:spMkLst>
        </pc:spChg>
        <pc:spChg chg="add mod ord">
          <ac:chgData name="Armaan Kumar" userId="a351e95c-5450-4e5f-a2d5-0f74c8f92915" providerId="ADAL" clId="{168FE2C6-A561-4C00-8270-E1D83101A49A}" dt="2025-04-01T17:56:12.863" v="15146" actId="1076"/>
          <ac:spMkLst>
            <pc:docMk/>
            <pc:sldMk cId="2659131323" sldId="2251"/>
            <ac:spMk id="22" creationId="{16F5E0C7-E821-7721-F854-ACFDF289F513}"/>
          </ac:spMkLst>
        </pc:spChg>
        <pc:spChg chg="add mod">
          <ac:chgData name="Armaan Kumar" userId="a351e95c-5450-4e5f-a2d5-0f74c8f92915" providerId="ADAL" clId="{168FE2C6-A561-4C00-8270-E1D83101A49A}" dt="2025-04-01T17:56:12.863" v="15146" actId="1076"/>
          <ac:spMkLst>
            <pc:docMk/>
            <pc:sldMk cId="2659131323" sldId="2251"/>
            <ac:spMk id="23" creationId="{B35C1B97-0281-3D00-0020-BE2E82DCB714}"/>
          </ac:spMkLst>
        </pc:spChg>
        <pc:spChg chg="add mod">
          <ac:chgData name="Armaan Kumar" userId="a351e95c-5450-4e5f-a2d5-0f74c8f92915" providerId="ADAL" clId="{168FE2C6-A561-4C00-8270-E1D83101A49A}" dt="2025-04-01T17:54:02.223" v="15134" actId="1076"/>
          <ac:spMkLst>
            <pc:docMk/>
            <pc:sldMk cId="2659131323" sldId="2251"/>
            <ac:spMk id="24" creationId="{B4A991DE-62E6-F96C-9272-D48646FF4DCD}"/>
          </ac:spMkLst>
        </pc:spChg>
        <pc:spChg chg="add mod">
          <ac:chgData name="Armaan Kumar" userId="a351e95c-5450-4e5f-a2d5-0f74c8f92915" providerId="ADAL" clId="{168FE2C6-A561-4C00-8270-E1D83101A49A}" dt="2025-04-01T17:56:18.467" v="15147" actId="1076"/>
          <ac:spMkLst>
            <pc:docMk/>
            <pc:sldMk cId="2659131323" sldId="2251"/>
            <ac:spMk id="25" creationId="{DB11B5D4-A27D-EC8D-579B-F62D68B4B927}"/>
          </ac:spMkLst>
        </pc:spChg>
        <pc:spChg chg="add del mod">
          <ac:chgData name="Armaan Kumar" userId="a351e95c-5450-4e5f-a2d5-0f74c8f92915" providerId="ADAL" clId="{168FE2C6-A561-4C00-8270-E1D83101A49A}" dt="2025-04-01T17:19:16.973" v="14835" actId="478"/>
          <ac:spMkLst>
            <pc:docMk/>
            <pc:sldMk cId="2659131323" sldId="2251"/>
            <ac:spMk id="29" creationId="{172FD471-5043-C2FE-9788-0132A13F2B31}"/>
          </ac:spMkLst>
        </pc:spChg>
        <pc:spChg chg="add del">
          <ac:chgData name="Armaan Kumar" userId="a351e95c-5450-4e5f-a2d5-0f74c8f92915" providerId="ADAL" clId="{168FE2C6-A561-4C00-8270-E1D83101A49A}" dt="2025-04-01T17:18:49.226" v="14833" actId="478"/>
          <ac:spMkLst>
            <pc:docMk/>
            <pc:sldMk cId="2659131323" sldId="2251"/>
            <ac:spMk id="30" creationId="{1F8467F2-91D6-6415-08BD-5453B03AA56D}"/>
          </ac:spMkLst>
        </pc:spChg>
        <pc:spChg chg="add mod ord">
          <ac:chgData name="Armaan Kumar" userId="a351e95c-5450-4e5f-a2d5-0f74c8f92915" providerId="ADAL" clId="{168FE2C6-A561-4C00-8270-E1D83101A49A}" dt="2025-04-01T18:07:47.523" v="15183" actId="207"/>
          <ac:spMkLst>
            <pc:docMk/>
            <pc:sldMk cId="2659131323" sldId="2251"/>
            <ac:spMk id="31" creationId="{66920EFA-5FFC-594C-B0F2-476E46F243FE}"/>
          </ac:spMkLst>
        </pc:spChg>
        <pc:spChg chg="add del mod">
          <ac:chgData name="Armaan Kumar" userId="a351e95c-5450-4e5f-a2d5-0f74c8f92915" providerId="ADAL" clId="{168FE2C6-A561-4C00-8270-E1D83101A49A}" dt="2025-04-01T17:26:54.984" v="14946" actId="478"/>
          <ac:spMkLst>
            <pc:docMk/>
            <pc:sldMk cId="2659131323" sldId="2251"/>
            <ac:spMk id="32" creationId="{15DEA614-ADEC-4CB5-2A8A-1BF037346368}"/>
          </ac:spMkLst>
        </pc:spChg>
        <pc:spChg chg="add del mod">
          <ac:chgData name="Armaan Kumar" userId="a351e95c-5450-4e5f-a2d5-0f74c8f92915" providerId="ADAL" clId="{168FE2C6-A561-4C00-8270-E1D83101A49A}" dt="2025-04-01T17:27:49.691" v="14953" actId="478"/>
          <ac:spMkLst>
            <pc:docMk/>
            <pc:sldMk cId="2659131323" sldId="2251"/>
            <ac:spMk id="33" creationId="{CB9870E6-D69C-1FD0-F3BD-B82A065F2700}"/>
          </ac:spMkLst>
        </pc:spChg>
        <pc:spChg chg="add mod">
          <ac:chgData name="Armaan Kumar" userId="a351e95c-5450-4e5f-a2d5-0f74c8f92915" providerId="ADAL" clId="{168FE2C6-A561-4C00-8270-E1D83101A49A}" dt="2025-04-01T18:00:42.628" v="15156" actId="208"/>
          <ac:spMkLst>
            <pc:docMk/>
            <pc:sldMk cId="2659131323" sldId="2251"/>
            <ac:spMk id="44" creationId="{314E9630-EAF6-738E-63F9-9C5E2DE4ACF7}"/>
          </ac:spMkLst>
        </pc:spChg>
        <pc:spChg chg="add mod">
          <ac:chgData name="Armaan Kumar" userId="a351e95c-5450-4e5f-a2d5-0f74c8f92915" providerId="ADAL" clId="{168FE2C6-A561-4C00-8270-E1D83101A49A}" dt="2025-04-01T18:01:16.006" v="15159" actId="208"/>
          <ac:spMkLst>
            <pc:docMk/>
            <pc:sldMk cId="2659131323" sldId="2251"/>
            <ac:spMk id="45" creationId="{BADCCDE6-2632-35C7-1B32-4CE2326C9FD1}"/>
          </ac:spMkLst>
        </pc:spChg>
        <pc:cxnChg chg="add del mod">
          <ac:chgData name="Armaan Kumar" userId="a351e95c-5450-4e5f-a2d5-0f74c8f92915" providerId="ADAL" clId="{168FE2C6-A561-4C00-8270-E1D83101A49A}" dt="2025-04-01T17:17:39.220" v="14828" actId="478"/>
          <ac:cxnSpMkLst>
            <pc:docMk/>
            <pc:sldMk cId="2659131323" sldId="2251"/>
            <ac:cxnSpMk id="27" creationId="{BF90C68D-C314-3D6D-39EC-C9E938343AAC}"/>
          </ac:cxnSpMkLst>
        </pc:cxnChg>
        <pc:cxnChg chg="add del">
          <ac:chgData name="Armaan Kumar" userId="a351e95c-5450-4e5f-a2d5-0f74c8f92915" providerId="ADAL" clId="{168FE2C6-A561-4C00-8270-E1D83101A49A}" dt="2025-04-01T17:28:22.340" v="14955" actId="478"/>
          <ac:cxnSpMkLst>
            <pc:docMk/>
            <pc:sldMk cId="2659131323" sldId="2251"/>
            <ac:cxnSpMk id="35" creationId="{7CE8AF45-7284-A8A5-AAFC-511B50E24CD1}"/>
          </ac:cxnSpMkLst>
        </pc:cxnChg>
        <pc:cxnChg chg="add del mod">
          <ac:chgData name="Armaan Kumar" userId="a351e95c-5450-4e5f-a2d5-0f74c8f92915" providerId="ADAL" clId="{168FE2C6-A561-4C00-8270-E1D83101A49A}" dt="2025-04-01T17:31:11.153" v="15054" actId="478"/>
          <ac:cxnSpMkLst>
            <pc:docMk/>
            <pc:sldMk cId="2659131323" sldId="2251"/>
            <ac:cxnSpMk id="37" creationId="{71F3378D-F237-3BED-05E6-3D608A346477}"/>
          </ac:cxnSpMkLst>
        </pc:cxnChg>
        <pc:cxnChg chg="add del mod">
          <ac:chgData name="Armaan Kumar" userId="a351e95c-5450-4e5f-a2d5-0f74c8f92915" providerId="ADAL" clId="{168FE2C6-A561-4C00-8270-E1D83101A49A}" dt="2025-04-01T17:42:11.555" v="15096" actId="478"/>
          <ac:cxnSpMkLst>
            <pc:docMk/>
            <pc:sldMk cId="2659131323" sldId="2251"/>
            <ac:cxnSpMk id="40" creationId="{722724F3-BC27-FF34-1380-CD05006767C9}"/>
          </ac:cxnSpMkLst>
        </pc:cxnChg>
        <pc:cxnChg chg="add del mod">
          <ac:chgData name="Armaan Kumar" userId="a351e95c-5450-4e5f-a2d5-0f74c8f92915" providerId="ADAL" clId="{168FE2C6-A561-4C00-8270-E1D83101A49A}" dt="2025-04-01T17:56:02.931" v="15144" actId="478"/>
          <ac:cxnSpMkLst>
            <pc:docMk/>
            <pc:sldMk cId="2659131323" sldId="2251"/>
            <ac:cxnSpMk id="41" creationId="{59307957-C7E9-7FF8-1138-799AA88614F7}"/>
          </ac:cxnSpMkLst>
        </pc:cxnChg>
        <pc:cxnChg chg="add del mod">
          <ac:chgData name="Armaan Kumar" userId="a351e95c-5450-4e5f-a2d5-0f74c8f92915" providerId="ADAL" clId="{168FE2C6-A561-4C00-8270-E1D83101A49A}" dt="2025-04-01T17:56:07.979" v="15145" actId="478"/>
          <ac:cxnSpMkLst>
            <pc:docMk/>
            <pc:sldMk cId="2659131323" sldId="2251"/>
            <ac:cxnSpMk id="43" creationId="{05D8D42A-C8E2-2ACA-D74E-4AFEA30A5521}"/>
          </ac:cxnSpMkLst>
        </pc:cxnChg>
        <pc:cxnChg chg="add mod">
          <ac:chgData name="Armaan Kumar" userId="a351e95c-5450-4e5f-a2d5-0f74c8f92915" providerId="ADAL" clId="{168FE2C6-A561-4C00-8270-E1D83101A49A}" dt="2025-04-01T18:03:05.402" v="15172" actId="208"/>
          <ac:cxnSpMkLst>
            <pc:docMk/>
            <pc:sldMk cId="2659131323" sldId="2251"/>
            <ac:cxnSpMk id="47" creationId="{84CE12A2-4B85-EA71-0DEC-AC6F41C26FDF}"/>
          </ac:cxnSpMkLst>
        </pc:cxnChg>
      </pc:sldChg>
      <pc:sldChg chg="addSp delSp modSp mod">
        <pc:chgData name="Armaan Kumar" userId="a351e95c-5450-4e5f-a2d5-0f74c8f92915" providerId="ADAL" clId="{168FE2C6-A561-4C00-8270-E1D83101A49A}" dt="2025-04-02T03:40:00.939" v="19189" actId="478"/>
        <pc:sldMkLst>
          <pc:docMk/>
          <pc:sldMk cId="540644153" sldId="2252"/>
        </pc:sldMkLst>
        <pc:spChg chg="mod">
          <ac:chgData name="Armaan Kumar" userId="a351e95c-5450-4e5f-a2d5-0f74c8f92915" providerId="ADAL" clId="{168FE2C6-A561-4C00-8270-E1D83101A49A}" dt="2025-04-02T03:32:53.589" v="19179" actId="1076"/>
          <ac:spMkLst>
            <pc:docMk/>
            <pc:sldMk cId="540644153" sldId="2252"/>
            <ac:spMk id="2" creationId="{6D187A21-1729-BA4B-92B0-86A8141733EA}"/>
          </ac:spMkLst>
        </pc:spChg>
        <pc:spChg chg="del">
          <ac:chgData name="Armaan Kumar" userId="a351e95c-5450-4e5f-a2d5-0f74c8f92915" providerId="ADAL" clId="{168FE2C6-A561-4C00-8270-E1D83101A49A}" dt="2025-04-02T03:31:24.397" v="19166" actId="478"/>
          <ac:spMkLst>
            <pc:docMk/>
            <pc:sldMk cId="540644153" sldId="2252"/>
            <ac:spMk id="3" creationId="{EABC8708-8BDB-8EF9-D502-CAAC1D556D7F}"/>
          </ac:spMkLst>
        </pc:spChg>
        <pc:spChg chg="mod">
          <ac:chgData name="Armaan Kumar" userId="a351e95c-5450-4e5f-a2d5-0f74c8f92915" providerId="ADAL" clId="{168FE2C6-A561-4C00-8270-E1D83101A49A}" dt="2025-04-02T03:33:37.038" v="19183" actId="1076"/>
          <ac:spMkLst>
            <pc:docMk/>
            <pc:sldMk cId="540644153" sldId="2252"/>
            <ac:spMk id="4" creationId="{3CE8B7BE-EB4D-C195-8714-77343E850288}"/>
          </ac:spMkLst>
        </pc:spChg>
        <pc:spChg chg="del">
          <ac:chgData name="Armaan Kumar" userId="a351e95c-5450-4e5f-a2d5-0f74c8f92915" providerId="ADAL" clId="{168FE2C6-A561-4C00-8270-E1D83101A49A}" dt="2025-04-02T03:31:24.397" v="19166" actId="478"/>
          <ac:spMkLst>
            <pc:docMk/>
            <pc:sldMk cId="540644153" sldId="2252"/>
            <ac:spMk id="7" creationId="{C492F847-A6CB-561D-CBD2-C3B663268F38}"/>
          </ac:spMkLst>
        </pc:spChg>
        <pc:spChg chg="del">
          <ac:chgData name="Armaan Kumar" userId="a351e95c-5450-4e5f-a2d5-0f74c8f92915" providerId="ADAL" clId="{168FE2C6-A561-4C00-8270-E1D83101A49A}" dt="2025-04-02T03:31:24.397" v="19166" actId="478"/>
          <ac:spMkLst>
            <pc:docMk/>
            <pc:sldMk cId="540644153" sldId="2252"/>
            <ac:spMk id="8" creationId="{B368191C-3008-23D2-34A5-7666D33A0127}"/>
          </ac:spMkLst>
        </pc:spChg>
        <pc:spChg chg="del">
          <ac:chgData name="Armaan Kumar" userId="a351e95c-5450-4e5f-a2d5-0f74c8f92915" providerId="ADAL" clId="{168FE2C6-A561-4C00-8270-E1D83101A49A}" dt="2025-04-02T03:31:24.397" v="19166" actId="478"/>
          <ac:spMkLst>
            <pc:docMk/>
            <pc:sldMk cId="540644153" sldId="2252"/>
            <ac:spMk id="9" creationId="{592459DF-9AA0-E2BC-CC9D-8817C6C701EB}"/>
          </ac:spMkLst>
        </pc:spChg>
        <pc:spChg chg="mod">
          <ac:chgData name="Armaan Kumar" userId="a351e95c-5450-4e5f-a2d5-0f74c8f92915" providerId="ADAL" clId="{168FE2C6-A561-4C00-8270-E1D83101A49A}" dt="2025-04-02T03:28:11.529" v="19148" actId="20577"/>
          <ac:spMkLst>
            <pc:docMk/>
            <pc:sldMk cId="540644153" sldId="2252"/>
            <ac:spMk id="10" creationId="{1CB2C8AC-BC52-305A-62BE-5128A6E3AA65}"/>
          </ac:spMkLst>
        </pc:spChg>
        <pc:spChg chg="del">
          <ac:chgData name="Armaan Kumar" userId="a351e95c-5450-4e5f-a2d5-0f74c8f92915" providerId="ADAL" clId="{168FE2C6-A561-4C00-8270-E1D83101A49A}" dt="2025-04-02T03:31:24.397" v="19166" actId="478"/>
          <ac:spMkLst>
            <pc:docMk/>
            <pc:sldMk cId="540644153" sldId="2252"/>
            <ac:spMk id="11" creationId="{834B3429-3C2F-C93F-C2C4-AFE4C7EBFE00}"/>
          </ac:spMkLst>
        </pc:spChg>
        <pc:spChg chg="del">
          <ac:chgData name="Armaan Kumar" userId="a351e95c-5450-4e5f-a2d5-0f74c8f92915" providerId="ADAL" clId="{168FE2C6-A561-4C00-8270-E1D83101A49A}" dt="2025-04-02T03:31:26.365" v="19167" actId="478"/>
          <ac:spMkLst>
            <pc:docMk/>
            <pc:sldMk cId="540644153" sldId="2252"/>
            <ac:spMk id="13" creationId="{8882EFDF-6EBF-E2BF-280B-39F442F43602}"/>
          </ac:spMkLst>
        </pc:spChg>
        <pc:spChg chg="add del">
          <ac:chgData name="Armaan Kumar" userId="a351e95c-5450-4e5f-a2d5-0f74c8f92915" providerId="ADAL" clId="{168FE2C6-A561-4C00-8270-E1D83101A49A}" dt="2025-04-02T03:32:25.595" v="19175" actId="478"/>
          <ac:spMkLst>
            <pc:docMk/>
            <pc:sldMk cId="540644153" sldId="2252"/>
            <ac:spMk id="15" creationId="{DA2B43AF-EBF2-99EB-82A9-82218507B286}"/>
          </ac:spMkLst>
        </pc:spChg>
        <pc:spChg chg="del">
          <ac:chgData name="Armaan Kumar" userId="a351e95c-5450-4e5f-a2d5-0f74c8f92915" providerId="ADAL" clId="{168FE2C6-A561-4C00-8270-E1D83101A49A}" dt="2025-04-02T03:31:24.397" v="19166" actId="478"/>
          <ac:spMkLst>
            <pc:docMk/>
            <pc:sldMk cId="540644153" sldId="2252"/>
            <ac:spMk id="16" creationId="{FB4D1111-AFEB-921F-D4A9-E0618B56C733}"/>
          </ac:spMkLst>
        </pc:spChg>
        <pc:spChg chg="del">
          <ac:chgData name="Armaan Kumar" userId="a351e95c-5450-4e5f-a2d5-0f74c8f92915" providerId="ADAL" clId="{168FE2C6-A561-4C00-8270-E1D83101A49A}" dt="2025-04-02T03:31:24.397" v="19166" actId="478"/>
          <ac:spMkLst>
            <pc:docMk/>
            <pc:sldMk cId="540644153" sldId="2252"/>
            <ac:spMk id="18" creationId="{FD94EF92-3EBD-F899-C1B3-79B2E8C7156F}"/>
          </ac:spMkLst>
        </pc:spChg>
        <pc:spChg chg="del mod">
          <ac:chgData name="Armaan Kumar" userId="a351e95c-5450-4e5f-a2d5-0f74c8f92915" providerId="ADAL" clId="{168FE2C6-A561-4C00-8270-E1D83101A49A}" dt="2025-04-02T03:31:39.140" v="19171" actId="478"/>
          <ac:spMkLst>
            <pc:docMk/>
            <pc:sldMk cId="540644153" sldId="2252"/>
            <ac:spMk id="19" creationId="{69CBF0B8-97FA-8449-2981-FE5F761B77BE}"/>
          </ac:spMkLst>
        </pc:spChg>
        <pc:spChg chg="del">
          <ac:chgData name="Armaan Kumar" userId="a351e95c-5450-4e5f-a2d5-0f74c8f92915" providerId="ADAL" clId="{168FE2C6-A561-4C00-8270-E1D83101A49A}" dt="2025-04-02T03:31:24.397" v="19166" actId="478"/>
          <ac:spMkLst>
            <pc:docMk/>
            <pc:sldMk cId="540644153" sldId="2252"/>
            <ac:spMk id="20" creationId="{6B7627B8-B5DE-95CB-0648-0A783FD10056}"/>
          </ac:spMkLst>
        </pc:spChg>
        <pc:spChg chg="del">
          <ac:chgData name="Armaan Kumar" userId="a351e95c-5450-4e5f-a2d5-0f74c8f92915" providerId="ADAL" clId="{168FE2C6-A561-4C00-8270-E1D83101A49A}" dt="2025-04-02T03:31:24.397" v="19166" actId="478"/>
          <ac:spMkLst>
            <pc:docMk/>
            <pc:sldMk cId="540644153" sldId="2252"/>
            <ac:spMk id="21" creationId="{9A9801CE-BE2C-B376-BFED-8D559049AE7C}"/>
          </ac:spMkLst>
        </pc:spChg>
        <pc:spChg chg="del mod">
          <ac:chgData name="Armaan Kumar" userId="a351e95c-5450-4e5f-a2d5-0f74c8f92915" providerId="ADAL" clId="{168FE2C6-A561-4C00-8270-E1D83101A49A}" dt="2025-04-02T03:40:00.939" v="19189" actId="478"/>
          <ac:spMkLst>
            <pc:docMk/>
            <pc:sldMk cId="540644153" sldId="2252"/>
            <ac:spMk id="25" creationId="{F52F5E1E-FA52-2E46-C459-BBED1F883A72}"/>
          </ac:spMkLst>
        </pc:spChg>
        <pc:spChg chg="del mod">
          <ac:chgData name="Armaan Kumar" userId="a351e95c-5450-4e5f-a2d5-0f74c8f92915" providerId="ADAL" clId="{168FE2C6-A561-4C00-8270-E1D83101A49A}" dt="2025-04-02T03:31:24.397" v="19166" actId="478"/>
          <ac:spMkLst>
            <pc:docMk/>
            <pc:sldMk cId="540644153" sldId="2252"/>
            <ac:spMk id="29" creationId="{964B5D03-7E36-7200-19CA-E3702BE66D48}"/>
          </ac:spMkLst>
        </pc:spChg>
        <pc:spChg chg="add del mod">
          <ac:chgData name="Armaan Kumar" userId="a351e95c-5450-4e5f-a2d5-0f74c8f92915" providerId="ADAL" clId="{168FE2C6-A561-4C00-8270-E1D83101A49A}" dt="2025-04-02T03:40:00.939" v="19189" actId="478"/>
          <ac:spMkLst>
            <pc:docMk/>
            <pc:sldMk cId="540644153" sldId="2252"/>
            <ac:spMk id="31" creationId="{50436CD2-51D3-8259-7436-A759C25771E7}"/>
          </ac:spMkLst>
        </pc:spChg>
        <pc:spChg chg="add mod">
          <ac:chgData name="Armaan Kumar" userId="a351e95c-5450-4e5f-a2d5-0f74c8f92915" providerId="ADAL" clId="{168FE2C6-A561-4C00-8270-E1D83101A49A}" dt="2025-04-02T03:33:36.502" v="19181" actId="207"/>
          <ac:spMkLst>
            <pc:docMk/>
            <pc:sldMk cId="540644153" sldId="2252"/>
            <ac:spMk id="33" creationId="{DBB67373-7243-9524-BD8B-461C0B5CAA50}"/>
          </ac:spMkLst>
        </pc:spChg>
        <pc:spChg chg="add del mod">
          <ac:chgData name="Armaan Kumar" userId="a351e95c-5450-4e5f-a2d5-0f74c8f92915" providerId="ADAL" clId="{168FE2C6-A561-4C00-8270-E1D83101A49A}" dt="2025-04-02T03:40:00.939" v="19189" actId="478"/>
          <ac:spMkLst>
            <pc:docMk/>
            <pc:sldMk cId="540644153" sldId="2252"/>
            <ac:spMk id="34" creationId="{32492FDC-BB68-45B8-F595-F96447BEE1CC}"/>
          </ac:spMkLst>
        </pc:spChg>
        <pc:spChg chg="mod">
          <ac:chgData name="Armaan Kumar" userId="a351e95c-5450-4e5f-a2d5-0f74c8f92915" providerId="ADAL" clId="{168FE2C6-A561-4C00-8270-E1D83101A49A}" dt="2025-04-02T03:28:24.990" v="19149"/>
          <ac:spMkLst>
            <pc:docMk/>
            <pc:sldMk cId="540644153" sldId="2252"/>
            <ac:spMk id="35" creationId="{36A8B0E6-6984-9E43-4AE6-E7957FDDF00C}"/>
          </ac:spMkLst>
        </pc:spChg>
        <pc:spChg chg="add mod">
          <ac:chgData name="Armaan Kumar" userId="a351e95c-5450-4e5f-a2d5-0f74c8f92915" providerId="ADAL" clId="{168FE2C6-A561-4C00-8270-E1D83101A49A}" dt="2025-04-02T03:32:53.589" v="19179" actId="1076"/>
          <ac:spMkLst>
            <pc:docMk/>
            <pc:sldMk cId="540644153" sldId="2252"/>
            <ac:spMk id="36" creationId="{075E8110-8100-9DA2-E781-9051A22F8B76}"/>
          </ac:spMkLst>
        </pc:spChg>
        <pc:spChg chg="del mod">
          <ac:chgData name="Armaan Kumar" userId="a351e95c-5450-4e5f-a2d5-0f74c8f92915" providerId="ADAL" clId="{168FE2C6-A561-4C00-8270-E1D83101A49A}" dt="2025-04-02T03:40:00.939" v="19189" actId="478"/>
          <ac:spMkLst>
            <pc:docMk/>
            <pc:sldMk cId="540644153" sldId="2252"/>
            <ac:spMk id="37" creationId="{CA49B01C-92B2-1876-C1AA-5924B1E09F52}"/>
          </ac:spMkLst>
        </pc:spChg>
        <pc:spChg chg="add mod">
          <ac:chgData name="Armaan Kumar" userId="a351e95c-5450-4e5f-a2d5-0f74c8f92915" providerId="ADAL" clId="{168FE2C6-A561-4C00-8270-E1D83101A49A}" dt="2025-04-02T03:33:37.038" v="19183" actId="1076"/>
          <ac:spMkLst>
            <pc:docMk/>
            <pc:sldMk cId="540644153" sldId="2252"/>
            <ac:spMk id="38" creationId="{F40751B8-85F1-2A48-FB8D-6ADD9CA76821}"/>
          </ac:spMkLst>
        </pc:spChg>
        <pc:spChg chg="del mod">
          <ac:chgData name="Armaan Kumar" userId="a351e95c-5450-4e5f-a2d5-0f74c8f92915" providerId="ADAL" clId="{168FE2C6-A561-4C00-8270-E1D83101A49A}" dt="2025-04-02T03:40:00.939" v="19189" actId="478"/>
          <ac:spMkLst>
            <pc:docMk/>
            <pc:sldMk cId="540644153" sldId="2252"/>
            <ac:spMk id="39" creationId="{35FD1DF7-B853-AFA1-B3E8-CFC4EC6559FC}"/>
          </ac:spMkLst>
        </pc:spChg>
        <pc:spChg chg="add mod">
          <ac:chgData name="Armaan Kumar" userId="a351e95c-5450-4e5f-a2d5-0f74c8f92915" providerId="ADAL" clId="{168FE2C6-A561-4C00-8270-E1D83101A49A}" dt="2025-04-02T03:32:53.589" v="19179" actId="1076"/>
          <ac:spMkLst>
            <pc:docMk/>
            <pc:sldMk cId="540644153" sldId="2252"/>
            <ac:spMk id="40" creationId="{054DCD1A-6DE0-5EF4-74A5-94A27374EACA}"/>
          </ac:spMkLst>
        </pc:spChg>
        <pc:spChg chg="add del mod">
          <ac:chgData name="Armaan Kumar" userId="a351e95c-5450-4e5f-a2d5-0f74c8f92915" providerId="ADAL" clId="{168FE2C6-A561-4C00-8270-E1D83101A49A}" dt="2025-04-02T03:40:00.939" v="19189" actId="478"/>
          <ac:spMkLst>
            <pc:docMk/>
            <pc:sldMk cId="540644153" sldId="2252"/>
            <ac:spMk id="41" creationId="{A216074D-90EE-264B-B199-6F005E72AF56}"/>
          </ac:spMkLst>
        </pc:spChg>
        <pc:spChg chg="add mod">
          <ac:chgData name="Armaan Kumar" userId="a351e95c-5450-4e5f-a2d5-0f74c8f92915" providerId="ADAL" clId="{168FE2C6-A561-4C00-8270-E1D83101A49A}" dt="2025-04-02T03:33:37.038" v="19183" actId="1076"/>
          <ac:spMkLst>
            <pc:docMk/>
            <pc:sldMk cId="540644153" sldId="2252"/>
            <ac:spMk id="42" creationId="{6C5BB5C1-18E6-AE43-AFDA-7F193BD1AE02}"/>
          </ac:spMkLst>
        </pc:spChg>
        <pc:spChg chg="add del mod">
          <ac:chgData name="Armaan Kumar" userId="a351e95c-5450-4e5f-a2d5-0f74c8f92915" providerId="ADAL" clId="{168FE2C6-A561-4C00-8270-E1D83101A49A}" dt="2025-04-02T03:40:00.939" v="19189" actId="478"/>
          <ac:spMkLst>
            <pc:docMk/>
            <pc:sldMk cId="540644153" sldId="2252"/>
            <ac:spMk id="43" creationId="{5519908B-0FD6-5811-9FD6-33A6DEA5EBE6}"/>
          </ac:spMkLst>
        </pc:spChg>
        <pc:spChg chg="mod">
          <ac:chgData name="Armaan Kumar" userId="a351e95c-5450-4e5f-a2d5-0f74c8f92915" providerId="ADAL" clId="{168FE2C6-A561-4C00-8270-E1D83101A49A}" dt="2025-04-02T03:30:28.566" v="19160"/>
          <ac:spMkLst>
            <pc:docMk/>
            <pc:sldMk cId="540644153" sldId="2252"/>
            <ac:spMk id="44" creationId="{0B818F5E-F2D8-0E64-694D-95B5A57B22C7}"/>
          </ac:spMkLst>
        </pc:spChg>
        <pc:spChg chg="mod">
          <ac:chgData name="Armaan Kumar" userId="a351e95c-5450-4e5f-a2d5-0f74c8f92915" providerId="ADAL" clId="{168FE2C6-A561-4C00-8270-E1D83101A49A}" dt="2025-04-02T03:33:37.038" v="19183" actId="1076"/>
          <ac:spMkLst>
            <pc:docMk/>
            <pc:sldMk cId="540644153" sldId="2252"/>
            <ac:spMk id="45" creationId="{578C6DA5-13A2-8210-5CA2-CAAA1647BB89}"/>
          </ac:spMkLst>
        </pc:spChg>
        <pc:spChg chg="del mod">
          <ac:chgData name="Armaan Kumar" userId="a351e95c-5450-4e5f-a2d5-0f74c8f92915" providerId="ADAL" clId="{168FE2C6-A561-4C00-8270-E1D83101A49A}" dt="2025-04-02T03:40:00.939" v="19189" actId="478"/>
          <ac:spMkLst>
            <pc:docMk/>
            <pc:sldMk cId="540644153" sldId="2252"/>
            <ac:spMk id="46" creationId="{B9E706ED-4422-CDE1-D6E2-EAA17BF3383F}"/>
          </ac:spMkLst>
        </pc:spChg>
        <pc:spChg chg="del mod">
          <ac:chgData name="Armaan Kumar" userId="a351e95c-5450-4e5f-a2d5-0f74c8f92915" providerId="ADAL" clId="{168FE2C6-A561-4C00-8270-E1D83101A49A}" dt="2025-04-02T03:40:00.939" v="19189" actId="478"/>
          <ac:spMkLst>
            <pc:docMk/>
            <pc:sldMk cId="540644153" sldId="2252"/>
            <ac:spMk id="47" creationId="{873C47BD-DE64-4846-CDC0-E0448038413C}"/>
          </ac:spMkLst>
        </pc:spChg>
        <pc:spChg chg="add del mod">
          <ac:chgData name="Armaan Kumar" userId="a351e95c-5450-4e5f-a2d5-0f74c8f92915" providerId="ADAL" clId="{168FE2C6-A561-4C00-8270-E1D83101A49A}" dt="2025-04-02T03:40:00.939" v="19189" actId="478"/>
          <ac:spMkLst>
            <pc:docMk/>
            <pc:sldMk cId="540644153" sldId="2252"/>
            <ac:spMk id="48" creationId="{6E7887DD-54C9-A0AE-8C63-16CF212884B2}"/>
          </ac:spMkLst>
        </pc:spChg>
        <pc:spChg chg="add mod">
          <ac:chgData name="Armaan Kumar" userId="a351e95c-5450-4e5f-a2d5-0f74c8f92915" providerId="ADAL" clId="{168FE2C6-A561-4C00-8270-E1D83101A49A}" dt="2025-04-02T03:33:46.585" v="19187" actId="1038"/>
          <ac:spMkLst>
            <pc:docMk/>
            <pc:sldMk cId="540644153" sldId="2252"/>
            <ac:spMk id="50" creationId="{4AB7245C-9B9B-0661-A587-D28BE847ED9C}"/>
          </ac:spMkLst>
        </pc:spChg>
        <pc:spChg chg="add mod">
          <ac:chgData name="Armaan Kumar" userId="a351e95c-5450-4e5f-a2d5-0f74c8f92915" providerId="ADAL" clId="{168FE2C6-A561-4C00-8270-E1D83101A49A}" dt="2025-04-02T03:33:46.585" v="19187" actId="1038"/>
          <ac:spMkLst>
            <pc:docMk/>
            <pc:sldMk cId="540644153" sldId="2252"/>
            <ac:spMk id="55" creationId="{80925D2B-6C6B-E187-79BB-029427A23D94}"/>
          </ac:spMkLst>
        </pc:spChg>
        <pc:spChg chg="add mod">
          <ac:chgData name="Armaan Kumar" userId="a351e95c-5450-4e5f-a2d5-0f74c8f92915" providerId="ADAL" clId="{168FE2C6-A561-4C00-8270-E1D83101A49A}" dt="2025-04-02T03:33:46.585" v="19187" actId="1038"/>
          <ac:spMkLst>
            <pc:docMk/>
            <pc:sldMk cId="540644153" sldId="2252"/>
            <ac:spMk id="56" creationId="{315F5284-8A08-C13E-CE0F-D3D9315EE917}"/>
          </ac:spMkLst>
        </pc:spChg>
        <pc:spChg chg="add mod">
          <ac:chgData name="Armaan Kumar" userId="a351e95c-5450-4e5f-a2d5-0f74c8f92915" providerId="ADAL" clId="{168FE2C6-A561-4C00-8270-E1D83101A49A}" dt="2025-04-02T03:33:46.585" v="19187" actId="1038"/>
          <ac:spMkLst>
            <pc:docMk/>
            <pc:sldMk cId="540644153" sldId="2252"/>
            <ac:spMk id="58" creationId="{506E1156-3DE7-9C4E-9EFB-91452AF28C28}"/>
          </ac:spMkLst>
        </pc:spChg>
        <pc:spChg chg="add mod">
          <ac:chgData name="Armaan Kumar" userId="a351e95c-5450-4e5f-a2d5-0f74c8f92915" providerId="ADAL" clId="{168FE2C6-A561-4C00-8270-E1D83101A49A}" dt="2025-04-02T03:33:46.585" v="19187" actId="1038"/>
          <ac:spMkLst>
            <pc:docMk/>
            <pc:sldMk cId="540644153" sldId="2252"/>
            <ac:spMk id="59" creationId="{729426D5-804E-B083-5C74-8987D821A83E}"/>
          </ac:spMkLst>
        </pc:spChg>
        <pc:spChg chg="add mod">
          <ac:chgData name="Armaan Kumar" userId="a351e95c-5450-4e5f-a2d5-0f74c8f92915" providerId="ADAL" clId="{168FE2C6-A561-4C00-8270-E1D83101A49A}" dt="2025-04-02T03:33:46.585" v="19187" actId="1038"/>
          <ac:spMkLst>
            <pc:docMk/>
            <pc:sldMk cId="540644153" sldId="2252"/>
            <ac:spMk id="60" creationId="{AFA333C1-B9F9-CB68-72B4-5D8CC1366F33}"/>
          </ac:spMkLst>
        </pc:spChg>
        <pc:spChg chg="add mod">
          <ac:chgData name="Armaan Kumar" userId="a351e95c-5450-4e5f-a2d5-0f74c8f92915" providerId="ADAL" clId="{168FE2C6-A561-4C00-8270-E1D83101A49A}" dt="2025-04-02T03:33:46.585" v="19187" actId="1038"/>
          <ac:spMkLst>
            <pc:docMk/>
            <pc:sldMk cId="540644153" sldId="2252"/>
            <ac:spMk id="64" creationId="{9C87AA95-F460-BDD0-EC13-661E2A878D74}"/>
          </ac:spMkLst>
        </pc:spChg>
        <pc:spChg chg="add mod">
          <ac:chgData name="Armaan Kumar" userId="a351e95c-5450-4e5f-a2d5-0f74c8f92915" providerId="ADAL" clId="{168FE2C6-A561-4C00-8270-E1D83101A49A}" dt="2025-04-02T03:33:46.585" v="19187" actId="1038"/>
          <ac:spMkLst>
            <pc:docMk/>
            <pc:sldMk cId="540644153" sldId="2252"/>
            <ac:spMk id="65" creationId="{B0F82CAC-20D0-6BFC-C434-1958006CA9A6}"/>
          </ac:spMkLst>
        </pc:spChg>
        <pc:spChg chg="add mod">
          <ac:chgData name="Armaan Kumar" userId="a351e95c-5450-4e5f-a2d5-0f74c8f92915" providerId="ADAL" clId="{168FE2C6-A561-4C00-8270-E1D83101A49A}" dt="2025-04-02T03:33:46.585" v="19187" actId="1038"/>
          <ac:spMkLst>
            <pc:docMk/>
            <pc:sldMk cId="540644153" sldId="2252"/>
            <ac:spMk id="67" creationId="{C2BB1C63-4F96-DE67-BA8C-5F108C0EFEEE}"/>
          </ac:spMkLst>
        </pc:spChg>
        <pc:spChg chg="add mod">
          <ac:chgData name="Armaan Kumar" userId="a351e95c-5450-4e5f-a2d5-0f74c8f92915" providerId="ADAL" clId="{168FE2C6-A561-4C00-8270-E1D83101A49A}" dt="2025-04-02T03:33:46.585" v="19187" actId="1038"/>
          <ac:spMkLst>
            <pc:docMk/>
            <pc:sldMk cId="540644153" sldId="2252"/>
            <ac:spMk id="68" creationId="{51BF1A7D-743A-D0E6-2387-D67EA51CCD24}"/>
          </ac:spMkLst>
        </pc:spChg>
        <pc:cxnChg chg="del">
          <ac:chgData name="Armaan Kumar" userId="a351e95c-5450-4e5f-a2d5-0f74c8f92915" providerId="ADAL" clId="{168FE2C6-A561-4C00-8270-E1D83101A49A}" dt="2025-04-02T03:31:39.982" v="19172" actId="478"/>
          <ac:cxnSpMkLst>
            <pc:docMk/>
            <pc:sldMk cId="540644153" sldId="2252"/>
            <ac:cxnSpMk id="32" creationId="{77960530-2529-CCC7-7025-33431E44AA18}"/>
          </ac:cxnSpMkLst>
        </pc:cxnChg>
      </pc:sldChg>
      <pc:sldChg chg="addSp delSp modSp new add del mod">
        <pc:chgData name="Armaan Kumar" userId="a351e95c-5450-4e5f-a2d5-0f74c8f92915" providerId="ADAL" clId="{168FE2C6-A561-4C00-8270-E1D83101A49A}" dt="2025-04-02T04:23:01.695" v="19396" actId="20577"/>
        <pc:sldMkLst>
          <pc:docMk/>
          <pc:sldMk cId="751750684" sldId="2253"/>
        </pc:sldMkLst>
        <pc:spChg chg="mod">
          <ac:chgData name="Armaan Kumar" userId="a351e95c-5450-4e5f-a2d5-0f74c8f92915" providerId="ADAL" clId="{168FE2C6-A561-4C00-8270-E1D83101A49A}" dt="2025-04-01T21:36:20.681" v="15641" actId="20577"/>
          <ac:spMkLst>
            <pc:docMk/>
            <pc:sldMk cId="751750684" sldId="2253"/>
            <ac:spMk id="2" creationId="{C5E96E20-671D-A4B2-5903-B68497000FDB}"/>
          </ac:spMkLst>
        </pc:spChg>
        <pc:spChg chg="del">
          <ac:chgData name="Armaan Kumar" userId="a351e95c-5450-4e5f-a2d5-0f74c8f92915" providerId="ADAL" clId="{168FE2C6-A561-4C00-8270-E1D83101A49A}" dt="2025-04-01T20:04:38.993" v="15379" actId="478"/>
          <ac:spMkLst>
            <pc:docMk/>
            <pc:sldMk cId="751750684" sldId="2253"/>
            <ac:spMk id="3" creationId="{E884D2EE-26A0-D111-2D9A-29E495EC6191}"/>
          </ac:spMkLst>
        </pc:spChg>
        <pc:spChg chg="del mod">
          <ac:chgData name="Armaan Kumar" userId="a351e95c-5450-4e5f-a2d5-0f74c8f92915" providerId="ADAL" clId="{168FE2C6-A561-4C00-8270-E1D83101A49A}" dt="2025-04-01T20:06:01.195" v="15382" actId="478"/>
          <ac:spMkLst>
            <pc:docMk/>
            <pc:sldMk cId="751750684" sldId="2253"/>
            <ac:spMk id="4" creationId="{4D9649B1-C0E3-7AAA-F51C-C0D5089C69A5}"/>
          </ac:spMkLst>
        </pc:spChg>
        <pc:spChg chg="mod">
          <ac:chgData name="Armaan Kumar" userId="a351e95c-5450-4e5f-a2d5-0f74c8f92915" providerId="ADAL" clId="{168FE2C6-A561-4C00-8270-E1D83101A49A}" dt="2025-04-01T20:06:22.780" v="15409" actId="20577"/>
          <ac:spMkLst>
            <pc:docMk/>
            <pc:sldMk cId="751750684" sldId="2253"/>
            <ac:spMk id="8" creationId="{9F208EDE-39C2-7072-5CFC-BF2BBD72C93E}"/>
          </ac:spMkLst>
        </pc:spChg>
        <pc:spChg chg="add mod">
          <ac:chgData name="Armaan Kumar" userId="a351e95c-5450-4e5f-a2d5-0f74c8f92915" providerId="ADAL" clId="{168FE2C6-A561-4C00-8270-E1D83101A49A}" dt="2025-04-01T20:05:52.028" v="15380"/>
          <ac:spMkLst>
            <pc:docMk/>
            <pc:sldMk cId="751750684" sldId="2253"/>
            <ac:spMk id="11" creationId="{0E9A550D-1D0F-3434-BBF8-1A0536807A91}"/>
          </ac:spMkLst>
        </pc:spChg>
        <pc:spChg chg="add mod">
          <ac:chgData name="Armaan Kumar" userId="a351e95c-5450-4e5f-a2d5-0f74c8f92915" providerId="ADAL" clId="{168FE2C6-A561-4C00-8270-E1D83101A49A}" dt="2025-04-01T20:05:52.028" v="15380"/>
          <ac:spMkLst>
            <pc:docMk/>
            <pc:sldMk cId="751750684" sldId="2253"/>
            <ac:spMk id="12" creationId="{AF9407C4-48E4-903B-541F-EF2B4B3EC379}"/>
          </ac:spMkLst>
        </pc:spChg>
        <pc:spChg chg="add mod">
          <ac:chgData name="Armaan Kumar" userId="a351e95c-5450-4e5f-a2d5-0f74c8f92915" providerId="ADAL" clId="{168FE2C6-A561-4C00-8270-E1D83101A49A}" dt="2025-04-01T20:05:52.028" v="15380"/>
          <ac:spMkLst>
            <pc:docMk/>
            <pc:sldMk cId="751750684" sldId="2253"/>
            <ac:spMk id="13" creationId="{03550321-B9A3-CBD7-00E9-F3955670D29C}"/>
          </ac:spMkLst>
        </pc:spChg>
        <pc:spChg chg="add mod">
          <ac:chgData name="Armaan Kumar" userId="a351e95c-5450-4e5f-a2d5-0f74c8f92915" providerId="ADAL" clId="{168FE2C6-A561-4C00-8270-E1D83101A49A}" dt="2025-04-01T20:05:52.028" v="15380"/>
          <ac:spMkLst>
            <pc:docMk/>
            <pc:sldMk cId="751750684" sldId="2253"/>
            <ac:spMk id="14" creationId="{8FECB34A-D305-9066-C078-2AF4D197FCB2}"/>
          </ac:spMkLst>
        </pc:spChg>
        <pc:spChg chg="add mod">
          <ac:chgData name="Armaan Kumar" userId="a351e95c-5450-4e5f-a2d5-0f74c8f92915" providerId="ADAL" clId="{168FE2C6-A561-4C00-8270-E1D83101A49A}" dt="2025-04-01T20:05:52.028" v="15380"/>
          <ac:spMkLst>
            <pc:docMk/>
            <pc:sldMk cId="751750684" sldId="2253"/>
            <ac:spMk id="17" creationId="{93A58C2E-9CAF-E229-2E55-6854FC054A95}"/>
          </ac:spMkLst>
        </pc:spChg>
        <pc:spChg chg="add mod">
          <ac:chgData name="Armaan Kumar" userId="a351e95c-5450-4e5f-a2d5-0f74c8f92915" providerId="ADAL" clId="{168FE2C6-A561-4C00-8270-E1D83101A49A}" dt="2025-04-01T20:05:52.028" v="15380"/>
          <ac:spMkLst>
            <pc:docMk/>
            <pc:sldMk cId="751750684" sldId="2253"/>
            <ac:spMk id="18" creationId="{D6E3F236-9D9D-F11E-1F19-E6CB60E7D07F}"/>
          </ac:spMkLst>
        </pc:spChg>
        <pc:spChg chg="add mod">
          <ac:chgData name="Armaan Kumar" userId="a351e95c-5450-4e5f-a2d5-0f74c8f92915" providerId="ADAL" clId="{168FE2C6-A561-4C00-8270-E1D83101A49A}" dt="2025-04-01T20:05:52.028" v="15380"/>
          <ac:spMkLst>
            <pc:docMk/>
            <pc:sldMk cId="751750684" sldId="2253"/>
            <ac:spMk id="19" creationId="{C0CCE110-46AA-002E-D38B-61D01D70CC8A}"/>
          </ac:spMkLst>
        </pc:spChg>
        <pc:spChg chg="add mod">
          <ac:chgData name="Armaan Kumar" userId="a351e95c-5450-4e5f-a2d5-0f74c8f92915" providerId="ADAL" clId="{168FE2C6-A561-4C00-8270-E1D83101A49A}" dt="2025-04-01T20:08:53.457" v="15417" actId="207"/>
          <ac:spMkLst>
            <pc:docMk/>
            <pc:sldMk cId="751750684" sldId="2253"/>
            <ac:spMk id="23" creationId="{866C0529-1880-22F8-DD51-BC71C62DC9CC}"/>
          </ac:spMkLst>
        </pc:spChg>
        <pc:spChg chg="add mod">
          <ac:chgData name="Armaan Kumar" userId="a351e95c-5450-4e5f-a2d5-0f74c8f92915" providerId="ADAL" clId="{168FE2C6-A561-4C00-8270-E1D83101A49A}" dt="2025-04-02T00:04:37.714" v="17240" actId="207"/>
          <ac:spMkLst>
            <pc:docMk/>
            <pc:sldMk cId="751750684" sldId="2253"/>
            <ac:spMk id="24" creationId="{8AE125F9-A131-CE24-074B-003443030095}"/>
          </ac:spMkLst>
        </pc:spChg>
        <pc:spChg chg="mod">
          <ac:chgData name="Armaan Kumar" userId="a351e95c-5450-4e5f-a2d5-0f74c8f92915" providerId="ADAL" clId="{168FE2C6-A561-4C00-8270-E1D83101A49A}" dt="2025-04-02T00:04:55.333" v="17242" actId="207"/>
          <ac:spMkLst>
            <pc:docMk/>
            <pc:sldMk cId="751750684" sldId="2253"/>
            <ac:spMk id="25" creationId="{3EB57BCC-1828-AFCF-AD28-CB0DBD995D65}"/>
          </ac:spMkLst>
        </pc:spChg>
        <pc:spChg chg="del">
          <ac:chgData name="Armaan Kumar" userId="a351e95c-5450-4e5f-a2d5-0f74c8f92915" providerId="ADAL" clId="{168FE2C6-A561-4C00-8270-E1D83101A49A}" dt="2025-04-01T20:05:58.729" v="15381" actId="478"/>
          <ac:spMkLst>
            <pc:docMk/>
            <pc:sldMk cId="751750684" sldId="2253"/>
            <ac:spMk id="26" creationId="{AC3DF25A-CF24-F79B-175D-55A33C4C9A6A}"/>
          </ac:spMkLst>
        </pc:spChg>
        <pc:spChg chg="add mod">
          <ac:chgData name="Armaan Kumar" userId="a351e95c-5450-4e5f-a2d5-0f74c8f92915" providerId="ADAL" clId="{168FE2C6-A561-4C00-8270-E1D83101A49A}" dt="2025-04-01T20:05:52.028" v="15380"/>
          <ac:spMkLst>
            <pc:docMk/>
            <pc:sldMk cId="751750684" sldId="2253"/>
            <ac:spMk id="27" creationId="{ACC47D06-8B18-E4E4-A637-D235716F83AD}"/>
          </ac:spMkLst>
        </pc:spChg>
        <pc:spChg chg="add del mod">
          <ac:chgData name="Armaan Kumar" userId="a351e95c-5450-4e5f-a2d5-0f74c8f92915" providerId="ADAL" clId="{168FE2C6-A561-4C00-8270-E1D83101A49A}" dt="2025-04-01T20:06:10.650" v="15383" actId="478"/>
          <ac:spMkLst>
            <pc:docMk/>
            <pc:sldMk cId="751750684" sldId="2253"/>
            <ac:spMk id="29" creationId="{BAE3066C-7AD4-581C-7100-AA770B255107}"/>
          </ac:spMkLst>
        </pc:spChg>
        <pc:spChg chg="add mod ord">
          <ac:chgData name="Armaan Kumar" userId="a351e95c-5450-4e5f-a2d5-0f74c8f92915" providerId="ADAL" clId="{168FE2C6-A561-4C00-8270-E1D83101A49A}" dt="2025-04-02T00:13:30.148" v="17309" actId="14100"/>
          <ac:spMkLst>
            <pc:docMk/>
            <pc:sldMk cId="751750684" sldId="2253"/>
            <ac:spMk id="35" creationId="{6EA66379-1811-3920-DB7B-46B3EFF5F1BB}"/>
          </ac:spMkLst>
        </pc:spChg>
        <pc:spChg chg="add mod">
          <ac:chgData name="Armaan Kumar" userId="a351e95c-5450-4e5f-a2d5-0f74c8f92915" providerId="ADAL" clId="{168FE2C6-A561-4C00-8270-E1D83101A49A}" dt="2025-04-02T02:09:13.733" v="18677" actId="692"/>
          <ac:spMkLst>
            <pc:docMk/>
            <pc:sldMk cId="751750684" sldId="2253"/>
            <ac:spMk id="36" creationId="{97657296-7102-4D3C-9941-5A14407A89F5}"/>
          </ac:spMkLst>
        </pc:spChg>
        <pc:graphicFrameChg chg="add mod">
          <ac:chgData name="Armaan Kumar" userId="a351e95c-5450-4e5f-a2d5-0f74c8f92915" providerId="ADAL" clId="{168FE2C6-A561-4C00-8270-E1D83101A49A}" dt="2025-04-01T23:53:24.967" v="17091"/>
          <ac:graphicFrameMkLst>
            <pc:docMk/>
            <pc:sldMk cId="751750684" sldId="2253"/>
            <ac:graphicFrameMk id="3" creationId="{B2D12BA0-9526-18AD-5A14-8F18934B06A7}"/>
          </ac:graphicFrameMkLst>
        </pc:graphicFrameChg>
        <pc:graphicFrameChg chg="add mod">
          <ac:chgData name="Armaan Kumar" userId="a351e95c-5450-4e5f-a2d5-0f74c8f92915" providerId="ADAL" clId="{168FE2C6-A561-4C00-8270-E1D83101A49A}" dt="2025-04-01T23:53:24.967" v="17091"/>
          <ac:graphicFrameMkLst>
            <pc:docMk/>
            <pc:sldMk cId="751750684" sldId="2253"/>
            <ac:graphicFrameMk id="4" creationId="{7B0E7448-A460-C6E5-6F1E-FCA0920D0EAB}"/>
          </ac:graphicFrameMkLst>
        </pc:graphicFrameChg>
        <pc:graphicFrameChg chg="mod modGraphic">
          <ac:chgData name="Armaan Kumar" userId="a351e95c-5450-4e5f-a2d5-0f74c8f92915" providerId="ADAL" clId="{168FE2C6-A561-4C00-8270-E1D83101A49A}" dt="2025-04-02T04:23:01.695" v="19396" actId="20577"/>
          <ac:graphicFrameMkLst>
            <pc:docMk/>
            <pc:sldMk cId="751750684" sldId="2253"/>
            <ac:graphicFrameMk id="7" creationId="{056B59D7-327B-F07D-A4BE-217006271C73}"/>
          </ac:graphicFrameMkLst>
        </pc:graphicFrameChg>
        <pc:graphicFrameChg chg="add del mod">
          <ac:chgData name="Armaan Kumar" userId="a351e95c-5450-4e5f-a2d5-0f74c8f92915" providerId="ADAL" clId="{168FE2C6-A561-4C00-8270-E1D83101A49A}" dt="2025-04-01T23:54:25.158" v="17105" actId="478"/>
          <ac:graphicFrameMkLst>
            <pc:docMk/>
            <pc:sldMk cId="751750684" sldId="2253"/>
            <ac:graphicFrameMk id="26" creationId="{2E3BCB6D-1318-27A8-5EDA-34CC8E77E76C}"/>
          </ac:graphicFrameMkLst>
        </pc:graphicFrameChg>
        <pc:graphicFrameChg chg="add del mod">
          <ac:chgData name="Armaan Kumar" userId="a351e95c-5450-4e5f-a2d5-0f74c8f92915" providerId="ADAL" clId="{168FE2C6-A561-4C00-8270-E1D83101A49A}" dt="2025-04-01T23:54:17.426" v="17101" actId="478"/>
          <ac:graphicFrameMkLst>
            <pc:docMk/>
            <pc:sldMk cId="751750684" sldId="2253"/>
            <ac:graphicFrameMk id="31" creationId="{87C63A38-5D36-C84D-00B7-AF74D1DE9697}"/>
          </ac:graphicFrameMkLst>
        </pc:graphicFrameChg>
      </pc:sldChg>
      <pc:sldChg chg="addSp delSp modSp add mod">
        <pc:chgData name="Armaan Kumar" userId="a351e95c-5450-4e5f-a2d5-0f74c8f92915" providerId="ADAL" clId="{168FE2C6-A561-4C00-8270-E1D83101A49A}" dt="2025-04-02T13:29:13.380" v="19467" actId="14100"/>
        <pc:sldMkLst>
          <pc:docMk/>
          <pc:sldMk cId="1585911357" sldId="2254"/>
        </pc:sldMkLst>
        <pc:spChg chg="mod">
          <ac:chgData name="Armaan Kumar" userId="a351e95c-5450-4e5f-a2d5-0f74c8f92915" providerId="ADAL" clId="{168FE2C6-A561-4C00-8270-E1D83101A49A}" dt="2025-04-02T02:17:49.696" v="18726" actId="1076"/>
          <ac:spMkLst>
            <pc:docMk/>
            <pc:sldMk cId="1585911357" sldId="2254"/>
            <ac:spMk id="2" creationId="{692BEA10-640D-E292-270F-1D989583E6FA}"/>
          </ac:spMkLst>
        </pc:spChg>
        <pc:spChg chg="add mod">
          <ac:chgData name="Armaan Kumar" userId="a351e95c-5450-4e5f-a2d5-0f74c8f92915" providerId="ADAL" clId="{168FE2C6-A561-4C00-8270-E1D83101A49A}" dt="2025-04-02T02:19:18.091" v="18739" actId="14100"/>
          <ac:spMkLst>
            <pc:docMk/>
            <pc:sldMk cId="1585911357" sldId="2254"/>
            <ac:spMk id="3" creationId="{29DA6742-6DF2-DB87-02BC-147E344801C2}"/>
          </ac:spMkLst>
        </pc:spChg>
        <pc:spChg chg="add mod">
          <ac:chgData name="Armaan Kumar" userId="a351e95c-5450-4e5f-a2d5-0f74c8f92915" providerId="ADAL" clId="{168FE2C6-A561-4C00-8270-E1D83101A49A}" dt="2025-04-02T02:19:04.380" v="18737" actId="14100"/>
          <ac:spMkLst>
            <pc:docMk/>
            <pc:sldMk cId="1585911357" sldId="2254"/>
            <ac:spMk id="4" creationId="{9059CEF1-0314-C528-E05D-552E513689CB}"/>
          </ac:spMkLst>
        </pc:spChg>
        <pc:spChg chg="del">
          <ac:chgData name="Armaan Kumar" userId="a351e95c-5450-4e5f-a2d5-0f74c8f92915" providerId="ADAL" clId="{168FE2C6-A561-4C00-8270-E1D83101A49A}" dt="2025-04-01T20:11:05.081" v="15463" actId="478"/>
          <ac:spMkLst>
            <pc:docMk/>
            <pc:sldMk cId="1585911357" sldId="2254"/>
            <ac:spMk id="10" creationId="{F5E835E3-18F0-522A-1B96-985B66D4D82D}"/>
          </ac:spMkLst>
        </pc:spChg>
        <pc:spChg chg="del">
          <ac:chgData name="Armaan Kumar" userId="a351e95c-5450-4e5f-a2d5-0f74c8f92915" providerId="ADAL" clId="{168FE2C6-A561-4C00-8270-E1D83101A49A}" dt="2025-04-02T00:18:54.821" v="17451" actId="478"/>
          <ac:spMkLst>
            <pc:docMk/>
            <pc:sldMk cId="1585911357" sldId="2254"/>
            <ac:spMk id="11" creationId="{A009086F-FE2B-7B3A-98CD-7A49C80600AC}"/>
          </ac:spMkLst>
        </pc:spChg>
        <pc:spChg chg="del">
          <ac:chgData name="Armaan Kumar" userId="a351e95c-5450-4e5f-a2d5-0f74c8f92915" providerId="ADAL" clId="{168FE2C6-A561-4C00-8270-E1D83101A49A}" dt="2025-04-02T00:16:39.310" v="17434" actId="478"/>
          <ac:spMkLst>
            <pc:docMk/>
            <pc:sldMk cId="1585911357" sldId="2254"/>
            <ac:spMk id="12" creationId="{C00D76ED-C878-8F27-1EA1-C76F57E9B67A}"/>
          </ac:spMkLst>
        </pc:spChg>
        <pc:spChg chg="del">
          <ac:chgData name="Armaan Kumar" userId="a351e95c-5450-4e5f-a2d5-0f74c8f92915" providerId="ADAL" clId="{168FE2C6-A561-4C00-8270-E1D83101A49A}" dt="2025-04-01T20:11:05.081" v="15463" actId="478"/>
          <ac:spMkLst>
            <pc:docMk/>
            <pc:sldMk cId="1585911357" sldId="2254"/>
            <ac:spMk id="13" creationId="{2CBD4BD4-8ADC-F0A4-7950-484EAD7A2B0B}"/>
          </ac:spMkLst>
        </pc:spChg>
        <pc:spChg chg="del">
          <ac:chgData name="Armaan Kumar" userId="a351e95c-5450-4e5f-a2d5-0f74c8f92915" providerId="ADAL" clId="{168FE2C6-A561-4C00-8270-E1D83101A49A}" dt="2025-04-01T20:11:05.081" v="15463" actId="478"/>
          <ac:spMkLst>
            <pc:docMk/>
            <pc:sldMk cId="1585911357" sldId="2254"/>
            <ac:spMk id="14" creationId="{65365904-9489-8667-07C0-64614A929D74}"/>
          </ac:spMkLst>
        </pc:spChg>
        <pc:spChg chg="del">
          <ac:chgData name="Armaan Kumar" userId="a351e95c-5450-4e5f-a2d5-0f74c8f92915" providerId="ADAL" clId="{168FE2C6-A561-4C00-8270-E1D83101A49A}" dt="2025-04-01T20:11:05.081" v="15463" actId="478"/>
          <ac:spMkLst>
            <pc:docMk/>
            <pc:sldMk cId="1585911357" sldId="2254"/>
            <ac:spMk id="15" creationId="{2F60BAFC-8A9B-87DE-20AB-C34D6FE4B31B}"/>
          </ac:spMkLst>
        </pc:spChg>
        <pc:spChg chg="del">
          <ac:chgData name="Armaan Kumar" userId="a351e95c-5450-4e5f-a2d5-0f74c8f92915" providerId="ADAL" clId="{168FE2C6-A561-4C00-8270-E1D83101A49A}" dt="2025-04-01T20:11:05.081" v="15463" actId="478"/>
          <ac:spMkLst>
            <pc:docMk/>
            <pc:sldMk cId="1585911357" sldId="2254"/>
            <ac:spMk id="16" creationId="{A8F6A14D-6CA6-F7A1-3735-7CCBDC2CC047}"/>
          </ac:spMkLst>
        </pc:spChg>
        <pc:spChg chg="del">
          <ac:chgData name="Armaan Kumar" userId="a351e95c-5450-4e5f-a2d5-0f74c8f92915" providerId="ADAL" clId="{168FE2C6-A561-4C00-8270-E1D83101A49A}" dt="2025-04-01T20:11:05.081" v="15463" actId="478"/>
          <ac:spMkLst>
            <pc:docMk/>
            <pc:sldMk cId="1585911357" sldId="2254"/>
            <ac:spMk id="17" creationId="{55FB479D-4170-3D8F-0E7A-430839C51C80}"/>
          </ac:spMkLst>
        </pc:spChg>
        <pc:spChg chg="del">
          <ac:chgData name="Armaan Kumar" userId="a351e95c-5450-4e5f-a2d5-0f74c8f92915" providerId="ADAL" clId="{168FE2C6-A561-4C00-8270-E1D83101A49A}" dt="2025-04-01T20:11:05.081" v="15463" actId="478"/>
          <ac:spMkLst>
            <pc:docMk/>
            <pc:sldMk cId="1585911357" sldId="2254"/>
            <ac:spMk id="18" creationId="{50E48BFF-DB25-BB1B-3BB1-BD2A41C8F46C}"/>
          </ac:spMkLst>
        </pc:spChg>
        <pc:spChg chg="del">
          <ac:chgData name="Armaan Kumar" userId="a351e95c-5450-4e5f-a2d5-0f74c8f92915" providerId="ADAL" clId="{168FE2C6-A561-4C00-8270-E1D83101A49A}" dt="2025-04-01T20:11:05.081" v="15463" actId="478"/>
          <ac:spMkLst>
            <pc:docMk/>
            <pc:sldMk cId="1585911357" sldId="2254"/>
            <ac:spMk id="19" creationId="{2384A326-7C2C-428F-6B37-2E75B49E4156}"/>
          </ac:spMkLst>
        </pc:spChg>
        <pc:spChg chg="del">
          <ac:chgData name="Armaan Kumar" userId="a351e95c-5450-4e5f-a2d5-0f74c8f92915" providerId="ADAL" clId="{168FE2C6-A561-4C00-8270-E1D83101A49A}" dt="2025-04-01T20:11:05.081" v="15463" actId="478"/>
          <ac:spMkLst>
            <pc:docMk/>
            <pc:sldMk cId="1585911357" sldId="2254"/>
            <ac:spMk id="24" creationId="{B8BBDD1D-5316-464B-4E57-D6D2F0FC9557}"/>
          </ac:spMkLst>
        </pc:spChg>
        <pc:spChg chg="del">
          <ac:chgData name="Armaan Kumar" userId="a351e95c-5450-4e5f-a2d5-0f74c8f92915" providerId="ADAL" clId="{168FE2C6-A561-4C00-8270-E1D83101A49A}" dt="2025-04-01T20:11:05.081" v="15463" actId="478"/>
          <ac:spMkLst>
            <pc:docMk/>
            <pc:sldMk cId="1585911357" sldId="2254"/>
            <ac:spMk id="25" creationId="{75AA82AF-3394-B971-1A63-4D0D9F20F5A1}"/>
          </ac:spMkLst>
        </pc:spChg>
        <pc:spChg chg="add mod ord">
          <ac:chgData name="Armaan Kumar" userId="a351e95c-5450-4e5f-a2d5-0f74c8f92915" providerId="ADAL" clId="{168FE2C6-A561-4C00-8270-E1D83101A49A}" dt="2025-04-02T13:29:13.380" v="19467" actId="14100"/>
          <ac:spMkLst>
            <pc:docMk/>
            <pc:sldMk cId="1585911357" sldId="2254"/>
            <ac:spMk id="26" creationId="{B6409406-2556-A27C-1B00-9164F466C7F1}"/>
          </ac:spMkLst>
        </pc:spChg>
        <pc:spChg chg="del mod">
          <ac:chgData name="Armaan Kumar" userId="a351e95c-5450-4e5f-a2d5-0f74c8f92915" providerId="ADAL" clId="{168FE2C6-A561-4C00-8270-E1D83101A49A}" dt="2025-04-02T00:16:41.008" v="17436" actId="478"/>
          <ac:spMkLst>
            <pc:docMk/>
            <pc:sldMk cId="1585911357" sldId="2254"/>
            <ac:spMk id="27" creationId="{8CD51DB6-52F3-12A3-EEAD-C824AA7BED84}"/>
          </ac:spMkLst>
        </pc:spChg>
        <pc:spChg chg="add del mod">
          <ac:chgData name="Armaan Kumar" userId="a351e95c-5450-4e5f-a2d5-0f74c8f92915" providerId="ADAL" clId="{168FE2C6-A561-4C00-8270-E1D83101A49A}" dt="2025-04-02T00:16:27.864" v="17430" actId="478"/>
          <ac:spMkLst>
            <pc:docMk/>
            <pc:sldMk cId="1585911357" sldId="2254"/>
            <ac:spMk id="28" creationId="{CDA0BC5F-CC23-725B-854B-73F25002952D}"/>
          </ac:spMkLst>
        </pc:spChg>
        <pc:spChg chg="add del mod">
          <ac:chgData name="Armaan Kumar" userId="a351e95c-5450-4e5f-a2d5-0f74c8f92915" providerId="ADAL" clId="{168FE2C6-A561-4C00-8270-E1D83101A49A}" dt="2025-04-02T00:16:36.444" v="17431" actId="478"/>
          <ac:spMkLst>
            <pc:docMk/>
            <pc:sldMk cId="1585911357" sldId="2254"/>
            <ac:spMk id="29" creationId="{A28A05AF-7DA3-261E-5397-FD9344B31CD8}"/>
          </ac:spMkLst>
        </pc:spChg>
        <pc:spChg chg="add del mod">
          <ac:chgData name="Armaan Kumar" userId="a351e95c-5450-4e5f-a2d5-0f74c8f92915" providerId="ADAL" clId="{168FE2C6-A561-4C00-8270-E1D83101A49A}" dt="2025-04-02T00:16:37.423" v="17432" actId="478"/>
          <ac:spMkLst>
            <pc:docMk/>
            <pc:sldMk cId="1585911357" sldId="2254"/>
            <ac:spMk id="30" creationId="{CC024064-132C-1252-72DD-4C72B2D869BD}"/>
          </ac:spMkLst>
        </pc:spChg>
        <pc:spChg chg="add del mod">
          <ac:chgData name="Armaan Kumar" userId="a351e95c-5450-4e5f-a2d5-0f74c8f92915" providerId="ADAL" clId="{168FE2C6-A561-4C00-8270-E1D83101A49A}" dt="2025-04-02T00:16:37.828" v="17433" actId="478"/>
          <ac:spMkLst>
            <pc:docMk/>
            <pc:sldMk cId="1585911357" sldId="2254"/>
            <ac:spMk id="31" creationId="{ED69B6C4-5885-857D-468B-33B10942B92A}"/>
          </ac:spMkLst>
        </pc:spChg>
        <pc:spChg chg="add del mod">
          <ac:chgData name="Armaan Kumar" userId="a351e95c-5450-4e5f-a2d5-0f74c8f92915" providerId="ADAL" clId="{168FE2C6-A561-4C00-8270-E1D83101A49A}" dt="2025-04-02T00:14:27.425" v="17310" actId="478"/>
          <ac:spMkLst>
            <pc:docMk/>
            <pc:sldMk cId="1585911357" sldId="2254"/>
            <ac:spMk id="32" creationId="{3106DA7A-624E-F19E-723F-537DA2FAFD46}"/>
          </ac:spMkLst>
        </pc:spChg>
        <pc:spChg chg="add mod">
          <ac:chgData name="Armaan Kumar" userId="a351e95c-5450-4e5f-a2d5-0f74c8f92915" providerId="ADAL" clId="{168FE2C6-A561-4C00-8270-E1D83101A49A}" dt="2025-04-02T02:18:04.900" v="18727" actId="1076"/>
          <ac:spMkLst>
            <pc:docMk/>
            <pc:sldMk cId="1585911357" sldId="2254"/>
            <ac:spMk id="33" creationId="{BA0DB8EF-E41F-FD7B-11C6-9D31DADC435D}"/>
          </ac:spMkLst>
        </pc:spChg>
        <pc:spChg chg="add mod">
          <ac:chgData name="Armaan Kumar" userId="a351e95c-5450-4e5f-a2d5-0f74c8f92915" providerId="ADAL" clId="{168FE2C6-A561-4C00-8270-E1D83101A49A}" dt="2025-04-02T02:18:04.900" v="18727" actId="1076"/>
          <ac:spMkLst>
            <pc:docMk/>
            <pc:sldMk cId="1585911357" sldId="2254"/>
            <ac:spMk id="34" creationId="{C1205E2F-C43F-6603-D794-34E194439D4D}"/>
          </ac:spMkLst>
        </pc:spChg>
        <pc:spChg chg="add mod">
          <ac:chgData name="Armaan Kumar" userId="a351e95c-5450-4e5f-a2d5-0f74c8f92915" providerId="ADAL" clId="{168FE2C6-A561-4C00-8270-E1D83101A49A}" dt="2025-04-02T02:18:04.900" v="18727" actId="1076"/>
          <ac:spMkLst>
            <pc:docMk/>
            <pc:sldMk cId="1585911357" sldId="2254"/>
            <ac:spMk id="35" creationId="{250564CA-850E-AD48-2643-2CF01F746563}"/>
          </ac:spMkLst>
        </pc:spChg>
        <pc:spChg chg="add mod">
          <ac:chgData name="Armaan Kumar" userId="a351e95c-5450-4e5f-a2d5-0f74c8f92915" providerId="ADAL" clId="{168FE2C6-A561-4C00-8270-E1D83101A49A}" dt="2025-04-02T02:18:04.900" v="18727" actId="1076"/>
          <ac:spMkLst>
            <pc:docMk/>
            <pc:sldMk cId="1585911357" sldId="2254"/>
            <ac:spMk id="36" creationId="{F388DC82-AEF6-CEFF-A1A0-45546C80FC79}"/>
          </ac:spMkLst>
        </pc:spChg>
        <pc:spChg chg="add mod">
          <ac:chgData name="Armaan Kumar" userId="a351e95c-5450-4e5f-a2d5-0f74c8f92915" providerId="ADAL" clId="{168FE2C6-A561-4C00-8270-E1D83101A49A}" dt="2025-04-02T02:18:04.900" v="18727" actId="1076"/>
          <ac:spMkLst>
            <pc:docMk/>
            <pc:sldMk cId="1585911357" sldId="2254"/>
            <ac:spMk id="37" creationId="{0524AA21-7D78-29DC-56AC-F5FD679DE6ED}"/>
          </ac:spMkLst>
        </pc:spChg>
        <pc:spChg chg="add mod">
          <ac:chgData name="Armaan Kumar" userId="a351e95c-5450-4e5f-a2d5-0f74c8f92915" providerId="ADAL" clId="{168FE2C6-A561-4C00-8270-E1D83101A49A}" dt="2025-04-02T02:18:04.900" v="18727" actId="1076"/>
          <ac:spMkLst>
            <pc:docMk/>
            <pc:sldMk cId="1585911357" sldId="2254"/>
            <ac:spMk id="38" creationId="{61C39439-9E23-0BEF-E57C-84CD94ACA2D2}"/>
          </ac:spMkLst>
        </pc:spChg>
        <pc:spChg chg="add mod">
          <ac:chgData name="Armaan Kumar" userId="a351e95c-5450-4e5f-a2d5-0f74c8f92915" providerId="ADAL" clId="{168FE2C6-A561-4C00-8270-E1D83101A49A}" dt="2025-04-02T02:18:04.900" v="18727" actId="1076"/>
          <ac:spMkLst>
            <pc:docMk/>
            <pc:sldMk cId="1585911357" sldId="2254"/>
            <ac:spMk id="39" creationId="{5206F0AA-A9E1-4DEC-AFA0-00193C60B0C1}"/>
          </ac:spMkLst>
        </pc:spChg>
        <pc:spChg chg="add mod">
          <ac:chgData name="Armaan Kumar" userId="a351e95c-5450-4e5f-a2d5-0f74c8f92915" providerId="ADAL" clId="{168FE2C6-A561-4C00-8270-E1D83101A49A}" dt="2025-04-02T02:16:11.772" v="18700" actId="1076"/>
          <ac:spMkLst>
            <pc:docMk/>
            <pc:sldMk cId="1585911357" sldId="2254"/>
            <ac:spMk id="40" creationId="{764D28BE-16D7-451B-7CC4-43C607CC56FB}"/>
          </ac:spMkLst>
        </pc:spChg>
        <pc:spChg chg="add mod">
          <ac:chgData name="Armaan Kumar" userId="a351e95c-5450-4e5f-a2d5-0f74c8f92915" providerId="ADAL" clId="{168FE2C6-A561-4C00-8270-E1D83101A49A}" dt="2025-04-02T02:16:13.831" v="18701" actId="1076"/>
          <ac:spMkLst>
            <pc:docMk/>
            <pc:sldMk cId="1585911357" sldId="2254"/>
            <ac:spMk id="41" creationId="{7A9E78D3-0D09-BCA2-296E-7E36A961BBE2}"/>
          </ac:spMkLst>
        </pc:spChg>
        <pc:spChg chg="add mod">
          <ac:chgData name="Armaan Kumar" userId="a351e95c-5450-4e5f-a2d5-0f74c8f92915" providerId="ADAL" clId="{168FE2C6-A561-4C00-8270-E1D83101A49A}" dt="2025-04-02T02:16:16.370" v="18702" actId="1076"/>
          <ac:spMkLst>
            <pc:docMk/>
            <pc:sldMk cId="1585911357" sldId="2254"/>
            <ac:spMk id="42" creationId="{77729942-AC03-4B4A-8CE3-99AA35B7B0D6}"/>
          </ac:spMkLst>
        </pc:spChg>
        <pc:spChg chg="add mod">
          <ac:chgData name="Armaan Kumar" userId="a351e95c-5450-4e5f-a2d5-0f74c8f92915" providerId="ADAL" clId="{168FE2C6-A561-4C00-8270-E1D83101A49A}" dt="2025-04-02T02:16:21.977" v="18705" actId="1076"/>
          <ac:spMkLst>
            <pc:docMk/>
            <pc:sldMk cId="1585911357" sldId="2254"/>
            <ac:spMk id="43" creationId="{FBD29C39-4D59-ADC0-BFE8-9E222157D9CF}"/>
          </ac:spMkLst>
        </pc:spChg>
        <pc:spChg chg="add mod">
          <ac:chgData name="Armaan Kumar" userId="a351e95c-5450-4e5f-a2d5-0f74c8f92915" providerId="ADAL" clId="{168FE2C6-A561-4C00-8270-E1D83101A49A}" dt="2025-04-02T02:16:59.630" v="18715" actId="1076"/>
          <ac:spMkLst>
            <pc:docMk/>
            <pc:sldMk cId="1585911357" sldId="2254"/>
            <ac:spMk id="44" creationId="{84C39ABE-0D25-B601-B0C1-C49C93355F8F}"/>
          </ac:spMkLst>
        </pc:spChg>
        <pc:spChg chg="add mod">
          <ac:chgData name="Armaan Kumar" userId="a351e95c-5450-4e5f-a2d5-0f74c8f92915" providerId="ADAL" clId="{168FE2C6-A561-4C00-8270-E1D83101A49A}" dt="2025-04-02T02:16:58.527" v="18714" actId="1076"/>
          <ac:spMkLst>
            <pc:docMk/>
            <pc:sldMk cId="1585911357" sldId="2254"/>
            <ac:spMk id="45" creationId="{CB98956D-1EDE-B20A-84DC-85C343222BEE}"/>
          </ac:spMkLst>
        </pc:spChg>
        <pc:spChg chg="add mod">
          <ac:chgData name="Armaan Kumar" userId="a351e95c-5450-4e5f-a2d5-0f74c8f92915" providerId="ADAL" clId="{168FE2C6-A561-4C00-8270-E1D83101A49A}" dt="2025-04-02T04:18:16.680" v="19393" actId="20577"/>
          <ac:spMkLst>
            <pc:docMk/>
            <pc:sldMk cId="1585911357" sldId="2254"/>
            <ac:spMk id="46" creationId="{7429B4C3-5D3C-E41E-6BF4-4BA32DE7B67D}"/>
          </ac:spMkLst>
        </pc:spChg>
        <pc:spChg chg="add mod">
          <ac:chgData name="Armaan Kumar" userId="a351e95c-5450-4e5f-a2d5-0f74c8f92915" providerId="ADAL" clId="{168FE2C6-A561-4C00-8270-E1D83101A49A}" dt="2025-04-02T02:18:04.900" v="18727" actId="1076"/>
          <ac:spMkLst>
            <pc:docMk/>
            <pc:sldMk cId="1585911357" sldId="2254"/>
            <ac:spMk id="47" creationId="{DA806474-44FD-0E11-A136-E95F396B8E4F}"/>
          </ac:spMkLst>
        </pc:spChg>
        <pc:spChg chg="add mod">
          <ac:chgData name="Armaan Kumar" userId="a351e95c-5450-4e5f-a2d5-0f74c8f92915" providerId="ADAL" clId="{168FE2C6-A561-4C00-8270-E1D83101A49A}" dt="2025-04-02T02:17:31.591" v="18723" actId="1076"/>
          <ac:spMkLst>
            <pc:docMk/>
            <pc:sldMk cId="1585911357" sldId="2254"/>
            <ac:spMk id="48" creationId="{71761BA1-02E3-D581-5EF9-60E8ED29D5C2}"/>
          </ac:spMkLst>
        </pc:spChg>
        <pc:spChg chg="add del mod">
          <ac:chgData name="Armaan Kumar" userId="a351e95c-5450-4e5f-a2d5-0f74c8f92915" providerId="ADAL" clId="{168FE2C6-A561-4C00-8270-E1D83101A49A}" dt="2025-04-02T02:09:34.915" v="18680" actId="478"/>
          <ac:spMkLst>
            <pc:docMk/>
            <pc:sldMk cId="1585911357" sldId="2254"/>
            <ac:spMk id="49" creationId="{B44D1B2B-8C73-5BB7-E077-190FF5E142E1}"/>
          </ac:spMkLst>
        </pc:spChg>
        <pc:graphicFrameChg chg="del">
          <ac:chgData name="Armaan Kumar" userId="a351e95c-5450-4e5f-a2d5-0f74c8f92915" providerId="ADAL" clId="{168FE2C6-A561-4C00-8270-E1D83101A49A}" dt="2025-04-01T20:10:30.447" v="15457" actId="478"/>
          <ac:graphicFrameMkLst>
            <pc:docMk/>
            <pc:sldMk cId="1585911357" sldId="2254"/>
            <ac:graphicFrameMk id="7" creationId="{8D5F0D26-A47C-EABA-404D-BE6458865420}"/>
          </ac:graphicFrameMkLst>
        </pc:graphicFrameChg>
      </pc:sldChg>
      <pc:sldChg chg="modSp mod modShow">
        <pc:chgData name="Armaan Kumar" userId="a351e95c-5450-4e5f-a2d5-0f74c8f92915" providerId="ADAL" clId="{168FE2C6-A561-4C00-8270-E1D83101A49A}" dt="2025-04-02T03:27:27.020" v="19144" actId="729"/>
        <pc:sldMkLst>
          <pc:docMk/>
          <pc:sldMk cId="3132333589" sldId="2256"/>
        </pc:sldMkLst>
        <pc:spChg chg="mod">
          <ac:chgData name="Armaan Kumar" userId="a351e95c-5450-4e5f-a2d5-0f74c8f92915" providerId="ADAL" clId="{168FE2C6-A561-4C00-8270-E1D83101A49A}" dt="2025-04-02T03:21:56.587" v="19019" actId="1076"/>
          <ac:spMkLst>
            <pc:docMk/>
            <pc:sldMk cId="3132333589" sldId="2256"/>
            <ac:spMk id="7" creationId="{F46E78B1-E580-54DE-A0AF-EE3F9872D91C}"/>
          </ac:spMkLst>
        </pc:spChg>
      </pc:sldChg>
      <pc:sldChg chg="addSp delSp modSp mod">
        <pc:chgData name="Armaan Kumar" userId="a351e95c-5450-4e5f-a2d5-0f74c8f92915" providerId="ADAL" clId="{168FE2C6-A561-4C00-8270-E1D83101A49A}" dt="2025-04-02T03:54:03.867" v="19275" actId="1076"/>
        <pc:sldMkLst>
          <pc:docMk/>
          <pc:sldMk cId="1042857578" sldId="2263"/>
        </pc:sldMkLst>
        <pc:spChg chg="del">
          <ac:chgData name="Armaan Kumar" userId="a351e95c-5450-4e5f-a2d5-0f74c8f92915" providerId="ADAL" clId="{168FE2C6-A561-4C00-8270-E1D83101A49A}" dt="2025-04-02T03:44:24.009" v="19215" actId="478"/>
          <ac:spMkLst>
            <pc:docMk/>
            <pc:sldMk cId="1042857578" sldId="2263"/>
            <ac:spMk id="2" creationId="{FF2441A1-D2DC-10B1-11B9-A6BE01FCCF73}"/>
          </ac:spMkLst>
        </pc:spChg>
        <pc:spChg chg="mod">
          <ac:chgData name="Armaan Kumar" userId="a351e95c-5450-4e5f-a2d5-0f74c8f92915" providerId="ADAL" clId="{168FE2C6-A561-4C00-8270-E1D83101A49A}" dt="2025-04-02T03:44:22.003" v="19214" actId="1076"/>
          <ac:spMkLst>
            <pc:docMk/>
            <pc:sldMk cId="1042857578" sldId="2263"/>
            <ac:spMk id="3" creationId="{54A11D32-A819-1D28-A448-CED101F63A5F}"/>
          </ac:spMkLst>
        </pc:spChg>
        <pc:spChg chg="add mod">
          <ac:chgData name="Armaan Kumar" userId="a351e95c-5450-4e5f-a2d5-0f74c8f92915" providerId="ADAL" clId="{168FE2C6-A561-4C00-8270-E1D83101A49A}" dt="2025-04-02T03:44:36.101" v="19217" actId="1076"/>
          <ac:spMkLst>
            <pc:docMk/>
            <pc:sldMk cId="1042857578" sldId="2263"/>
            <ac:spMk id="4" creationId="{77E4463C-0DDB-3A02-3802-209853828492}"/>
          </ac:spMkLst>
        </pc:spChg>
        <pc:spChg chg="add mod ord">
          <ac:chgData name="Armaan Kumar" userId="a351e95c-5450-4e5f-a2d5-0f74c8f92915" providerId="ADAL" clId="{168FE2C6-A561-4C00-8270-E1D83101A49A}" dt="2025-04-02T03:45:08.622" v="19222" actId="167"/>
          <ac:spMkLst>
            <pc:docMk/>
            <pc:sldMk cId="1042857578" sldId="2263"/>
            <ac:spMk id="6" creationId="{962F631C-8C5B-11E1-1DAA-A5425DE322CE}"/>
          </ac:spMkLst>
        </pc:spChg>
        <pc:spChg chg="add mod ord">
          <ac:chgData name="Armaan Kumar" userId="a351e95c-5450-4e5f-a2d5-0f74c8f92915" providerId="ADAL" clId="{168FE2C6-A561-4C00-8270-E1D83101A49A}" dt="2025-04-02T03:48:41.146" v="19250" actId="1076"/>
          <ac:spMkLst>
            <pc:docMk/>
            <pc:sldMk cId="1042857578" sldId="2263"/>
            <ac:spMk id="9" creationId="{1D5BD2AC-374C-52C0-A5D2-F3E1082C3727}"/>
          </ac:spMkLst>
        </pc:spChg>
        <pc:spChg chg="add mod ord">
          <ac:chgData name="Armaan Kumar" userId="a351e95c-5450-4e5f-a2d5-0f74c8f92915" providerId="ADAL" clId="{168FE2C6-A561-4C00-8270-E1D83101A49A}" dt="2025-04-02T03:47:15.459" v="19236" actId="207"/>
          <ac:spMkLst>
            <pc:docMk/>
            <pc:sldMk cId="1042857578" sldId="2263"/>
            <ac:spMk id="16" creationId="{D6C21FCD-939C-BB97-FECE-F27ED2D6A332}"/>
          </ac:spMkLst>
        </pc:spChg>
        <pc:spChg chg="add mod ord">
          <ac:chgData name="Armaan Kumar" userId="a351e95c-5450-4e5f-a2d5-0f74c8f92915" providerId="ADAL" clId="{168FE2C6-A561-4C00-8270-E1D83101A49A}" dt="2025-04-02T03:48:03.388" v="19244" actId="1076"/>
          <ac:spMkLst>
            <pc:docMk/>
            <pc:sldMk cId="1042857578" sldId="2263"/>
            <ac:spMk id="17" creationId="{240AA0E8-0131-9E31-37F4-A24CC3A6C3A1}"/>
          </ac:spMkLst>
        </pc:spChg>
        <pc:spChg chg="add mod ord">
          <ac:chgData name="Armaan Kumar" userId="a351e95c-5450-4e5f-a2d5-0f74c8f92915" providerId="ADAL" clId="{168FE2C6-A561-4C00-8270-E1D83101A49A}" dt="2025-04-02T03:48:58.123" v="19254" actId="1076"/>
          <ac:spMkLst>
            <pc:docMk/>
            <pc:sldMk cId="1042857578" sldId="2263"/>
            <ac:spMk id="18" creationId="{35B1D297-DAFC-0FE4-8208-E7BCA0B37A8B}"/>
          </ac:spMkLst>
        </pc:spChg>
        <pc:spChg chg="add mod ord">
          <ac:chgData name="Armaan Kumar" userId="a351e95c-5450-4e5f-a2d5-0f74c8f92915" providerId="ADAL" clId="{168FE2C6-A561-4C00-8270-E1D83101A49A}" dt="2025-04-02T03:50:17.876" v="19260" actId="207"/>
          <ac:spMkLst>
            <pc:docMk/>
            <pc:sldMk cId="1042857578" sldId="2263"/>
            <ac:spMk id="19" creationId="{F4EF2798-F97B-9EAB-AA9F-D8565357DB10}"/>
          </ac:spMkLst>
        </pc:spChg>
        <pc:spChg chg="mod">
          <ac:chgData name="Armaan Kumar" userId="a351e95c-5450-4e5f-a2d5-0f74c8f92915" providerId="ADAL" clId="{168FE2C6-A561-4C00-8270-E1D83101A49A}" dt="2025-04-02T03:47:57.146" v="19243" actId="1076"/>
          <ac:spMkLst>
            <pc:docMk/>
            <pc:sldMk cId="1042857578" sldId="2263"/>
            <ac:spMk id="22" creationId="{96B4F2DE-0F32-B5BE-BB73-D9C071D2EA7B}"/>
          </ac:spMkLst>
        </pc:spChg>
        <pc:spChg chg="mod">
          <ac:chgData name="Armaan Kumar" userId="a351e95c-5450-4e5f-a2d5-0f74c8f92915" providerId="ADAL" clId="{168FE2C6-A561-4C00-8270-E1D83101A49A}" dt="2025-04-02T03:48:54.395" v="19253" actId="1076"/>
          <ac:spMkLst>
            <pc:docMk/>
            <pc:sldMk cId="1042857578" sldId="2263"/>
            <ac:spMk id="24" creationId="{5A36CB5F-44F5-6C73-31E7-70DA811FA564}"/>
          </ac:spMkLst>
        </pc:spChg>
        <pc:spChg chg="mod">
          <ac:chgData name="Armaan Kumar" userId="a351e95c-5450-4e5f-a2d5-0f74c8f92915" providerId="ADAL" clId="{168FE2C6-A561-4C00-8270-E1D83101A49A}" dt="2025-04-02T03:53:37.535" v="19270" actId="1076"/>
          <ac:spMkLst>
            <pc:docMk/>
            <pc:sldMk cId="1042857578" sldId="2263"/>
            <ac:spMk id="25" creationId="{8E5C8B46-49BD-148D-AB9B-5CCFB5AF3738}"/>
          </ac:spMkLst>
        </pc:spChg>
        <pc:spChg chg="mod">
          <ac:chgData name="Armaan Kumar" userId="a351e95c-5450-4e5f-a2d5-0f74c8f92915" providerId="ADAL" clId="{168FE2C6-A561-4C00-8270-E1D83101A49A}" dt="2025-04-02T03:53:32.382" v="19268" actId="1076"/>
          <ac:spMkLst>
            <pc:docMk/>
            <pc:sldMk cId="1042857578" sldId="2263"/>
            <ac:spMk id="30" creationId="{F932B129-1F49-7411-1DF3-9C1DF36A3033}"/>
          </ac:spMkLst>
        </pc:spChg>
        <pc:spChg chg="mod">
          <ac:chgData name="Armaan Kumar" userId="a351e95c-5450-4e5f-a2d5-0f74c8f92915" providerId="ADAL" clId="{168FE2C6-A561-4C00-8270-E1D83101A49A}" dt="2025-04-02T03:48:20.026" v="19246" actId="1076"/>
          <ac:spMkLst>
            <pc:docMk/>
            <pc:sldMk cId="1042857578" sldId="2263"/>
            <ac:spMk id="33" creationId="{2DD83C68-B26E-458E-F768-05E6E31F2BD0}"/>
          </ac:spMkLst>
        </pc:spChg>
        <pc:spChg chg="mod">
          <ac:chgData name="Armaan Kumar" userId="a351e95c-5450-4e5f-a2d5-0f74c8f92915" providerId="ADAL" clId="{168FE2C6-A561-4C00-8270-E1D83101A49A}" dt="2025-04-02T03:49:04.523" v="19255" actId="1076"/>
          <ac:spMkLst>
            <pc:docMk/>
            <pc:sldMk cId="1042857578" sldId="2263"/>
            <ac:spMk id="38" creationId="{AC4D3630-388C-0869-98DD-818B3CEAFF34}"/>
          </ac:spMkLst>
        </pc:spChg>
        <pc:spChg chg="mod">
          <ac:chgData name="Armaan Kumar" userId="a351e95c-5450-4e5f-a2d5-0f74c8f92915" providerId="ADAL" clId="{168FE2C6-A561-4C00-8270-E1D83101A49A}" dt="2025-04-02T03:53:53.849" v="19273" actId="1076"/>
          <ac:spMkLst>
            <pc:docMk/>
            <pc:sldMk cId="1042857578" sldId="2263"/>
            <ac:spMk id="40" creationId="{2353BFEE-5F0D-A9C4-E26B-37DECFC9CED2}"/>
          </ac:spMkLst>
        </pc:spChg>
        <pc:spChg chg="mod">
          <ac:chgData name="Armaan Kumar" userId="a351e95c-5450-4e5f-a2d5-0f74c8f92915" providerId="ADAL" clId="{168FE2C6-A561-4C00-8270-E1D83101A49A}" dt="2025-04-02T03:50:21.846" v="19261" actId="207"/>
          <ac:spMkLst>
            <pc:docMk/>
            <pc:sldMk cId="1042857578" sldId="2263"/>
            <ac:spMk id="42" creationId="{3DBCB7AE-3616-784F-FDA2-ACA18357EA92}"/>
          </ac:spMkLst>
        </pc:spChg>
        <pc:spChg chg="mod">
          <ac:chgData name="Armaan Kumar" userId="a351e95c-5450-4e5f-a2d5-0f74c8f92915" providerId="ADAL" clId="{168FE2C6-A561-4C00-8270-E1D83101A49A}" dt="2025-04-02T03:54:03.867" v="19275" actId="1076"/>
          <ac:spMkLst>
            <pc:docMk/>
            <pc:sldMk cId="1042857578" sldId="2263"/>
            <ac:spMk id="43" creationId="{6662DC18-4354-1679-69DD-C0E088004B2C}"/>
          </ac:spMkLst>
        </pc:spChg>
      </pc:sldChg>
      <pc:sldChg chg="modSp new del mod">
        <pc:chgData name="Armaan Kumar" userId="a351e95c-5450-4e5f-a2d5-0f74c8f92915" providerId="ADAL" clId="{168FE2C6-A561-4C00-8270-E1D83101A49A}" dt="2025-04-02T00:55:29.300" v="17785" actId="47"/>
        <pc:sldMkLst>
          <pc:docMk/>
          <pc:sldMk cId="48786914" sldId="2264"/>
        </pc:sldMkLst>
        <pc:spChg chg="mod">
          <ac:chgData name="Armaan Kumar" userId="a351e95c-5450-4e5f-a2d5-0f74c8f92915" providerId="ADAL" clId="{168FE2C6-A561-4C00-8270-E1D83101A49A}" dt="2025-04-02T00:55:18.584" v="17784" actId="20577"/>
          <ac:spMkLst>
            <pc:docMk/>
            <pc:sldMk cId="48786914" sldId="2264"/>
            <ac:spMk id="2" creationId="{9BAF4633-380D-BDA8-E701-C69A733DC598}"/>
          </ac:spMkLst>
        </pc:spChg>
        <pc:spChg chg="mod">
          <ac:chgData name="Armaan Kumar" userId="a351e95c-5450-4e5f-a2d5-0f74c8f92915" providerId="ADAL" clId="{168FE2C6-A561-4C00-8270-E1D83101A49A}" dt="2025-04-02T00:55:05.978" v="17764" actId="20577"/>
          <ac:spMkLst>
            <pc:docMk/>
            <pc:sldMk cId="48786914" sldId="2264"/>
            <ac:spMk id="4" creationId="{29F5883C-E6C6-FB2D-6B46-7653029A125B}"/>
          </ac:spMkLst>
        </pc:spChg>
      </pc:sldChg>
      <pc:sldChg chg="addSp delSp modSp add del mod">
        <pc:chgData name="Armaan Kumar" userId="a351e95c-5450-4e5f-a2d5-0f74c8f92915" providerId="ADAL" clId="{168FE2C6-A561-4C00-8270-E1D83101A49A}" dt="2025-04-02T01:18:55.314" v="17909" actId="47"/>
        <pc:sldMkLst>
          <pc:docMk/>
          <pc:sldMk cId="712523179" sldId="2264"/>
        </pc:sldMkLst>
        <pc:spChg chg="mod">
          <ac:chgData name="Armaan Kumar" userId="a351e95c-5450-4e5f-a2d5-0f74c8f92915" providerId="ADAL" clId="{168FE2C6-A561-4C00-8270-E1D83101A49A}" dt="2025-04-02T01:02:37.346" v="17839" actId="1076"/>
          <ac:spMkLst>
            <pc:docMk/>
            <pc:sldMk cId="712523179" sldId="2264"/>
            <ac:spMk id="2" creationId="{57D94020-0E24-2D16-AD67-A7E9771FB5E8}"/>
          </ac:spMkLst>
        </pc:spChg>
        <pc:spChg chg="mod">
          <ac:chgData name="Armaan Kumar" userId="a351e95c-5450-4e5f-a2d5-0f74c8f92915" providerId="ADAL" clId="{168FE2C6-A561-4C00-8270-E1D83101A49A}" dt="2025-04-02T00:57:31.992" v="17829" actId="1076"/>
          <ac:spMkLst>
            <pc:docMk/>
            <pc:sldMk cId="712523179" sldId="2264"/>
            <ac:spMk id="3" creationId="{B4F745AA-4567-062F-20AA-50B2580A98DF}"/>
          </ac:spMkLst>
        </pc:spChg>
        <pc:spChg chg="mod">
          <ac:chgData name="Armaan Kumar" userId="a351e95c-5450-4e5f-a2d5-0f74c8f92915" providerId="ADAL" clId="{168FE2C6-A561-4C00-8270-E1D83101A49A}" dt="2025-04-02T00:57:26.297" v="17828" actId="20577"/>
          <ac:spMkLst>
            <pc:docMk/>
            <pc:sldMk cId="712523179" sldId="2264"/>
            <ac:spMk id="4" creationId="{98233574-56CD-7EDB-D465-FFDDCD576185}"/>
          </ac:spMkLst>
        </pc:spChg>
        <pc:spChg chg="add del mod">
          <ac:chgData name="Armaan Kumar" userId="a351e95c-5450-4e5f-a2d5-0f74c8f92915" providerId="ADAL" clId="{168FE2C6-A561-4C00-8270-E1D83101A49A}" dt="2025-04-02T01:02:38.491" v="17841" actId="478"/>
          <ac:spMkLst>
            <pc:docMk/>
            <pc:sldMk cId="712523179" sldId="2264"/>
            <ac:spMk id="9" creationId="{6B6A2D39-8109-C8B3-3608-0CF580419EFA}"/>
          </ac:spMkLst>
        </pc:spChg>
        <pc:graphicFrameChg chg="add del mod modGraphic">
          <ac:chgData name="Armaan Kumar" userId="a351e95c-5450-4e5f-a2d5-0f74c8f92915" providerId="ADAL" clId="{168FE2C6-A561-4C00-8270-E1D83101A49A}" dt="2025-04-02T01:05:03.628" v="17874" actId="20577"/>
          <ac:graphicFrameMkLst>
            <pc:docMk/>
            <pc:sldMk cId="712523179" sldId="2264"/>
            <ac:graphicFrameMk id="6" creationId="{190528E8-78DE-D21A-7D20-EF6D304FEC39}"/>
          </ac:graphicFrameMkLst>
        </pc:graphicFrameChg>
        <pc:picChg chg="mod">
          <ac:chgData name="Armaan Kumar" userId="a351e95c-5450-4e5f-a2d5-0f74c8f92915" providerId="ADAL" clId="{168FE2C6-A561-4C00-8270-E1D83101A49A}" dt="2025-04-02T00:58:37.390" v="17838" actId="166"/>
          <ac:picMkLst>
            <pc:docMk/>
            <pc:sldMk cId="712523179" sldId="2264"/>
            <ac:picMk id="1040" creationId="{5BAD7470-A980-B4D3-CDCE-1BF8ED684E85}"/>
          </ac:picMkLst>
        </pc:picChg>
        <pc:picChg chg="mod">
          <ac:chgData name="Armaan Kumar" userId="a351e95c-5450-4e5f-a2d5-0f74c8f92915" providerId="ADAL" clId="{168FE2C6-A561-4C00-8270-E1D83101A49A}" dt="2025-04-02T00:58:37.390" v="17838" actId="166"/>
          <ac:picMkLst>
            <pc:docMk/>
            <pc:sldMk cId="712523179" sldId="2264"/>
            <ac:picMk id="1042" creationId="{0ED36CCC-DA34-17ED-31A3-BE48704E8A8D}"/>
          </ac:picMkLst>
        </pc:picChg>
        <pc:picChg chg="mod">
          <ac:chgData name="Armaan Kumar" userId="a351e95c-5450-4e5f-a2d5-0f74c8f92915" providerId="ADAL" clId="{168FE2C6-A561-4C00-8270-E1D83101A49A}" dt="2025-04-02T00:58:37.390" v="17838" actId="166"/>
          <ac:picMkLst>
            <pc:docMk/>
            <pc:sldMk cId="712523179" sldId="2264"/>
            <ac:picMk id="1048" creationId="{16B25E4E-B144-61C3-B2AA-0AADF9DA2965}"/>
          </ac:picMkLst>
        </pc:picChg>
        <pc:picChg chg="mod">
          <ac:chgData name="Armaan Kumar" userId="a351e95c-5450-4e5f-a2d5-0f74c8f92915" providerId="ADAL" clId="{168FE2C6-A561-4C00-8270-E1D83101A49A}" dt="2025-04-02T00:58:37.390" v="17838" actId="166"/>
          <ac:picMkLst>
            <pc:docMk/>
            <pc:sldMk cId="712523179" sldId="2264"/>
            <ac:picMk id="1050" creationId="{9EEB65AB-F390-0139-9624-47A537B0C660}"/>
          </ac:picMkLst>
        </pc:picChg>
        <pc:picChg chg="mod">
          <ac:chgData name="Armaan Kumar" userId="a351e95c-5450-4e5f-a2d5-0f74c8f92915" providerId="ADAL" clId="{168FE2C6-A561-4C00-8270-E1D83101A49A}" dt="2025-04-02T00:58:37.390" v="17838" actId="166"/>
          <ac:picMkLst>
            <pc:docMk/>
            <pc:sldMk cId="712523179" sldId="2264"/>
            <ac:picMk id="1056" creationId="{0B39EE85-C44D-D942-6B2F-BEC4FD589D99}"/>
          </ac:picMkLst>
        </pc:picChg>
      </pc:sldChg>
      <pc:sldChg chg="new del">
        <pc:chgData name="Armaan Kumar" userId="a351e95c-5450-4e5f-a2d5-0f74c8f92915" providerId="ADAL" clId="{168FE2C6-A561-4C00-8270-E1D83101A49A}" dt="2025-04-01T23:34:30.378" v="16868" actId="47"/>
        <pc:sldMkLst>
          <pc:docMk/>
          <pc:sldMk cId="1657277255" sldId="2264"/>
        </pc:sldMkLst>
      </pc:sldChg>
      <pc:sldChg chg="addSp delSp modSp add del mod">
        <pc:chgData name="Armaan Kumar" userId="a351e95c-5450-4e5f-a2d5-0f74c8f92915" providerId="ADAL" clId="{168FE2C6-A561-4C00-8270-E1D83101A49A}" dt="2025-04-02T01:18:51.371" v="17908" actId="47"/>
        <pc:sldMkLst>
          <pc:docMk/>
          <pc:sldMk cId="2937262103" sldId="2266"/>
        </pc:sldMkLst>
        <pc:spChg chg="del">
          <ac:chgData name="Armaan Kumar" userId="a351e95c-5450-4e5f-a2d5-0f74c8f92915" providerId="ADAL" clId="{168FE2C6-A561-4C00-8270-E1D83101A49A}" dt="2025-04-02T01:12:09.045" v="17876" actId="478"/>
          <ac:spMkLst>
            <pc:docMk/>
            <pc:sldMk cId="2937262103" sldId="2266"/>
            <ac:spMk id="8" creationId="{969CFDF8-5A68-4714-B641-5EC2D1CC4467}"/>
          </ac:spMkLst>
        </pc:spChg>
        <pc:spChg chg="add del mod">
          <ac:chgData name="Armaan Kumar" userId="a351e95c-5450-4e5f-a2d5-0f74c8f92915" providerId="ADAL" clId="{168FE2C6-A561-4C00-8270-E1D83101A49A}" dt="2025-04-02T01:12:20.105" v="17878"/>
          <ac:spMkLst>
            <pc:docMk/>
            <pc:sldMk cId="2937262103" sldId="2266"/>
            <ac:spMk id="9" creationId="{1B18E906-0974-0ACF-A98E-5E0E78457833}"/>
          </ac:spMkLst>
        </pc:spChg>
        <pc:spChg chg="del">
          <ac:chgData name="Armaan Kumar" userId="a351e95c-5450-4e5f-a2d5-0f74c8f92915" providerId="ADAL" clId="{168FE2C6-A561-4C00-8270-E1D83101A49A}" dt="2025-04-02T01:12:09.045" v="17876" actId="478"/>
          <ac:spMkLst>
            <pc:docMk/>
            <pc:sldMk cId="2937262103" sldId="2266"/>
            <ac:spMk id="11" creationId="{8ACCB8D6-DA04-554D-B92F-77F186881F6D}"/>
          </ac:spMkLst>
        </pc:spChg>
        <pc:spChg chg="del">
          <ac:chgData name="Armaan Kumar" userId="a351e95c-5450-4e5f-a2d5-0f74c8f92915" providerId="ADAL" clId="{168FE2C6-A561-4C00-8270-E1D83101A49A}" dt="2025-04-02T01:12:09.045" v="17876" actId="478"/>
          <ac:spMkLst>
            <pc:docMk/>
            <pc:sldMk cId="2937262103" sldId="2266"/>
            <ac:spMk id="12" creationId="{7FF0536B-7EE3-9FFB-EEC7-3012630FEFCC}"/>
          </ac:spMkLst>
        </pc:spChg>
        <pc:graphicFrameChg chg="del">
          <ac:chgData name="Armaan Kumar" userId="a351e95c-5450-4e5f-a2d5-0f74c8f92915" providerId="ADAL" clId="{168FE2C6-A561-4C00-8270-E1D83101A49A}" dt="2025-04-02T01:12:12.206" v="17877" actId="478"/>
          <ac:graphicFrameMkLst>
            <pc:docMk/>
            <pc:sldMk cId="2937262103" sldId="2266"/>
            <ac:graphicFrameMk id="6" creationId="{76AA094B-93A9-5F71-C4EF-533025F1F185}"/>
          </ac:graphicFrameMkLst>
        </pc:graphicFrameChg>
        <pc:graphicFrameChg chg="add mod modGraphic">
          <ac:chgData name="Armaan Kumar" userId="a351e95c-5450-4e5f-a2d5-0f74c8f92915" providerId="ADAL" clId="{168FE2C6-A561-4C00-8270-E1D83101A49A}" dt="2025-04-02T01:17:01.369" v="17901" actId="120"/>
          <ac:graphicFrameMkLst>
            <pc:docMk/>
            <pc:sldMk cId="2937262103" sldId="2266"/>
            <ac:graphicFrameMk id="10" creationId="{80D24165-9F0E-42DD-FF12-E90DF8AB4E5E}"/>
          </ac:graphicFrameMkLst>
        </pc:graphicFrameChg>
        <pc:picChg chg="del">
          <ac:chgData name="Armaan Kumar" userId="a351e95c-5450-4e5f-a2d5-0f74c8f92915" providerId="ADAL" clId="{168FE2C6-A561-4C00-8270-E1D83101A49A}" dt="2025-04-02T01:12:09.045" v="17876" actId="478"/>
          <ac:picMkLst>
            <pc:docMk/>
            <pc:sldMk cId="2937262103" sldId="2266"/>
            <ac:picMk id="1040" creationId="{CDA8598D-3130-5150-0A40-D4AB18949AE7}"/>
          </ac:picMkLst>
        </pc:picChg>
        <pc:picChg chg="del">
          <ac:chgData name="Armaan Kumar" userId="a351e95c-5450-4e5f-a2d5-0f74c8f92915" providerId="ADAL" clId="{168FE2C6-A561-4C00-8270-E1D83101A49A}" dt="2025-04-02T01:12:09.045" v="17876" actId="478"/>
          <ac:picMkLst>
            <pc:docMk/>
            <pc:sldMk cId="2937262103" sldId="2266"/>
            <ac:picMk id="1042" creationId="{82AA0B79-A7A7-43C2-2F49-B8FD0529BA2B}"/>
          </ac:picMkLst>
        </pc:picChg>
        <pc:picChg chg="del">
          <ac:chgData name="Armaan Kumar" userId="a351e95c-5450-4e5f-a2d5-0f74c8f92915" providerId="ADAL" clId="{168FE2C6-A561-4C00-8270-E1D83101A49A}" dt="2025-04-02T01:12:09.045" v="17876" actId="478"/>
          <ac:picMkLst>
            <pc:docMk/>
            <pc:sldMk cId="2937262103" sldId="2266"/>
            <ac:picMk id="1048" creationId="{E5199777-87A8-AF57-FC00-71A53F924348}"/>
          </ac:picMkLst>
        </pc:picChg>
        <pc:picChg chg="del">
          <ac:chgData name="Armaan Kumar" userId="a351e95c-5450-4e5f-a2d5-0f74c8f92915" providerId="ADAL" clId="{168FE2C6-A561-4C00-8270-E1D83101A49A}" dt="2025-04-02T01:12:09.045" v="17876" actId="478"/>
          <ac:picMkLst>
            <pc:docMk/>
            <pc:sldMk cId="2937262103" sldId="2266"/>
            <ac:picMk id="1050" creationId="{6F203B2F-EB36-D556-B82E-7C3DB2AF2810}"/>
          </ac:picMkLst>
        </pc:picChg>
        <pc:picChg chg="del">
          <ac:chgData name="Armaan Kumar" userId="a351e95c-5450-4e5f-a2d5-0f74c8f92915" providerId="ADAL" clId="{168FE2C6-A561-4C00-8270-E1D83101A49A}" dt="2025-04-02T01:12:09.045" v="17876" actId="478"/>
          <ac:picMkLst>
            <pc:docMk/>
            <pc:sldMk cId="2937262103" sldId="2266"/>
            <ac:picMk id="1056" creationId="{CBBF46A0-09BF-47FD-5A7C-A87AC09914FE}"/>
          </ac:picMkLst>
        </pc:picChg>
      </pc:sldChg>
      <pc:sldChg chg="addSp delSp modSp add mod">
        <pc:chgData name="Armaan Kumar" userId="a351e95c-5450-4e5f-a2d5-0f74c8f92915" providerId="ADAL" clId="{168FE2C6-A561-4C00-8270-E1D83101A49A}" dt="2025-04-02T04:10:14.860" v="19341" actId="1036"/>
        <pc:sldMkLst>
          <pc:docMk/>
          <pc:sldMk cId="1442350138" sldId="2267"/>
        </pc:sldMkLst>
        <pc:spChg chg="del">
          <ac:chgData name="Armaan Kumar" userId="a351e95c-5450-4e5f-a2d5-0f74c8f92915" providerId="ADAL" clId="{168FE2C6-A561-4C00-8270-E1D83101A49A}" dt="2025-04-02T03:11:45.437" v="19012" actId="478"/>
          <ac:spMkLst>
            <pc:docMk/>
            <pc:sldMk cId="1442350138" sldId="2267"/>
            <ac:spMk id="7" creationId="{BA8B3497-CF1B-3BB9-1D3C-79473E87E292}"/>
          </ac:spMkLst>
        </pc:spChg>
        <pc:spChg chg="add del mod">
          <ac:chgData name="Armaan Kumar" userId="a351e95c-5450-4e5f-a2d5-0f74c8f92915" providerId="ADAL" clId="{168FE2C6-A561-4C00-8270-E1D83101A49A}" dt="2025-04-02T01:18:32.379" v="17905" actId="3680"/>
          <ac:spMkLst>
            <pc:docMk/>
            <pc:sldMk cId="1442350138" sldId="2267"/>
            <ac:spMk id="7" creationId="{DEF6D711-6554-7CA8-A962-A18214905406}"/>
          </ac:spMkLst>
        </pc:spChg>
        <pc:spChg chg="add del mod ord">
          <ac:chgData name="Armaan Kumar" userId="a351e95c-5450-4e5f-a2d5-0f74c8f92915" providerId="ADAL" clId="{168FE2C6-A561-4C00-8270-E1D83101A49A}" dt="2025-04-02T01:31:40.486" v="17966" actId="478"/>
          <ac:spMkLst>
            <pc:docMk/>
            <pc:sldMk cId="1442350138" sldId="2267"/>
            <ac:spMk id="16" creationId="{B4170FC2-96E8-C7E3-760D-503EBEEA5B3D}"/>
          </ac:spMkLst>
        </pc:spChg>
        <pc:spChg chg="add del">
          <ac:chgData name="Armaan Kumar" userId="a351e95c-5450-4e5f-a2d5-0f74c8f92915" providerId="ADAL" clId="{168FE2C6-A561-4C00-8270-E1D83101A49A}" dt="2025-04-02T01:43:54.008" v="18209" actId="478"/>
          <ac:spMkLst>
            <pc:docMk/>
            <pc:sldMk cId="1442350138" sldId="2267"/>
            <ac:spMk id="17" creationId="{AA122D21-BEEF-769D-B64B-1CC581A74FD1}"/>
          </ac:spMkLst>
        </pc:spChg>
        <pc:spChg chg="add del">
          <ac:chgData name="Armaan Kumar" userId="a351e95c-5450-4e5f-a2d5-0f74c8f92915" providerId="ADAL" clId="{168FE2C6-A561-4C00-8270-E1D83101A49A}" dt="2025-04-02T01:45:05.095" v="18256" actId="478"/>
          <ac:spMkLst>
            <pc:docMk/>
            <pc:sldMk cId="1442350138" sldId="2267"/>
            <ac:spMk id="18" creationId="{46672390-3775-317D-19AB-7F57A8CE946D}"/>
          </ac:spMkLst>
        </pc:spChg>
        <pc:spChg chg="add mod ord">
          <ac:chgData name="Armaan Kumar" userId="a351e95c-5450-4e5f-a2d5-0f74c8f92915" providerId="ADAL" clId="{168FE2C6-A561-4C00-8270-E1D83101A49A}" dt="2025-04-02T02:05:25.871" v="18662" actId="14100"/>
          <ac:spMkLst>
            <pc:docMk/>
            <pc:sldMk cId="1442350138" sldId="2267"/>
            <ac:spMk id="19" creationId="{CE08768B-5F94-BCFB-CE17-0B9765517B93}"/>
          </ac:spMkLst>
        </pc:spChg>
        <pc:spChg chg="add mod ord">
          <ac:chgData name="Armaan Kumar" userId="a351e95c-5450-4e5f-a2d5-0f74c8f92915" providerId="ADAL" clId="{168FE2C6-A561-4C00-8270-E1D83101A49A}" dt="2025-04-02T02:36:19.215" v="18852" actId="207"/>
          <ac:spMkLst>
            <pc:docMk/>
            <pc:sldMk cId="1442350138" sldId="2267"/>
            <ac:spMk id="20" creationId="{417BF76C-C7AF-4E46-589C-910D27810DBE}"/>
          </ac:spMkLst>
        </pc:spChg>
        <pc:spChg chg="add mod">
          <ac:chgData name="Armaan Kumar" userId="a351e95c-5450-4e5f-a2d5-0f74c8f92915" providerId="ADAL" clId="{168FE2C6-A561-4C00-8270-E1D83101A49A}" dt="2025-04-02T02:02:21.186" v="18643" actId="1076"/>
          <ac:spMkLst>
            <pc:docMk/>
            <pc:sldMk cId="1442350138" sldId="2267"/>
            <ac:spMk id="21" creationId="{C27309B2-E760-9E92-A2AA-804F55FD0C09}"/>
          </ac:spMkLst>
        </pc:spChg>
        <pc:spChg chg="add mod">
          <ac:chgData name="Armaan Kumar" userId="a351e95c-5450-4e5f-a2d5-0f74c8f92915" providerId="ADAL" clId="{168FE2C6-A561-4C00-8270-E1D83101A49A}" dt="2025-04-02T02:03:09.573" v="18651" actId="122"/>
          <ac:spMkLst>
            <pc:docMk/>
            <pc:sldMk cId="1442350138" sldId="2267"/>
            <ac:spMk id="22" creationId="{83792EEE-AE5E-2C0B-4416-8522072C4AC8}"/>
          </ac:spMkLst>
        </pc:spChg>
        <pc:spChg chg="add mod">
          <ac:chgData name="Armaan Kumar" userId="a351e95c-5450-4e5f-a2d5-0f74c8f92915" providerId="ADAL" clId="{168FE2C6-A561-4C00-8270-E1D83101A49A}" dt="2025-04-02T03:59:19.555" v="19280" actId="14100"/>
          <ac:spMkLst>
            <pc:docMk/>
            <pc:sldMk cId="1442350138" sldId="2267"/>
            <ac:spMk id="23" creationId="{B0CD3A3E-9F60-5702-1E32-39A40450124E}"/>
          </ac:spMkLst>
        </pc:spChg>
        <pc:spChg chg="add mod">
          <ac:chgData name="Armaan Kumar" userId="a351e95c-5450-4e5f-a2d5-0f74c8f92915" providerId="ADAL" clId="{168FE2C6-A561-4C00-8270-E1D83101A49A}" dt="2025-04-02T02:02:21.186" v="18643" actId="1076"/>
          <ac:spMkLst>
            <pc:docMk/>
            <pc:sldMk cId="1442350138" sldId="2267"/>
            <ac:spMk id="24" creationId="{58EC26BC-A4E6-4C19-5538-E982190C7C65}"/>
          </ac:spMkLst>
        </pc:spChg>
        <pc:spChg chg="add mod">
          <ac:chgData name="Armaan Kumar" userId="a351e95c-5450-4e5f-a2d5-0f74c8f92915" providerId="ADAL" clId="{168FE2C6-A561-4C00-8270-E1D83101A49A}" dt="2025-04-02T02:02:47.016" v="18646" actId="1076"/>
          <ac:spMkLst>
            <pc:docMk/>
            <pc:sldMk cId="1442350138" sldId="2267"/>
            <ac:spMk id="25" creationId="{E639FB31-1628-BE8C-3193-47B7FFDBE2E9}"/>
          </ac:spMkLst>
        </pc:spChg>
        <pc:spChg chg="add mod">
          <ac:chgData name="Armaan Kumar" userId="a351e95c-5450-4e5f-a2d5-0f74c8f92915" providerId="ADAL" clId="{168FE2C6-A561-4C00-8270-E1D83101A49A}" dt="2025-04-02T02:03:00.751" v="18649" actId="1076"/>
          <ac:spMkLst>
            <pc:docMk/>
            <pc:sldMk cId="1442350138" sldId="2267"/>
            <ac:spMk id="26" creationId="{49CB044F-3C37-557F-C1A3-C05EC6CFD627}"/>
          </ac:spMkLst>
        </pc:spChg>
        <pc:spChg chg="add mod">
          <ac:chgData name="Armaan Kumar" userId="a351e95c-5450-4e5f-a2d5-0f74c8f92915" providerId="ADAL" clId="{168FE2C6-A561-4C00-8270-E1D83101A49A}" dt="2025-04-02T02:03:14.862" v="18652" actId="1076"/>
          <ac:spMkLst>
            <pc:docMk/>
            <pc:sldMk cId="1442350138" sldId="2267"/>
            <ac:spMk id="29" creationId="{9CEBC841-5A5B-3F45-E34A-478BF4376C1B}"/>
          </ac:spMkLst>
        </pc:spChg>
        <pc:spChg chg="add mod">
          <ac:chgData name="Armaan Kumar" userId="a351e95c-5450-4e5f-a2d5-0f74c8f92915" providerId="ADAL" clId="{168FE2C6-A561-4C00-8270-E1D83101A49A}" dt="2025-04-02T04:10:14.860" v="19341" actId="1036"/>
          <ac:spMkLst>
            <pc:docMk/>
            <pc:sldMk cId="1442350138" sldId="2267"/>
            <ac:spMk id="32" creationId="{18C9CEF7-2669-280A-3365-2DF95B29C6BB}"/>
          </ac:spMkLst>
        </pc:spChg>
        <pc:graphicFrameChg chg="add mod ord modGraphic">
          <ac:chgData name="Armaan Kumar" userId="a351e95c-5450-4e5f-a2d5-0f74c8f92915" providerId="ADAL" clId="{168FE2C6-A561-4C00-8270-E1D83101A49A}" dt="2025-04-02T02:36:23.735" v="18853" actId="14100"/>
          <ac:graphicFrameMkLst>
            <pc:docMk/>
            <pc:sldMk cId="1442350138" sldId="2267"/>
            <ac:graphicFrameMk id="8" creationId="{12D1685D-AD6C-DC72-6BDB-27C03A2DD038}"/>
          </ac:graphicFrameMkLst>
        </pc:graphicFrameChg>
        <pc:graphicFrameChg chg="del modGraphic">
          <ac:chgData name="Armaan Kumar" userId="a351e95c-5450-4e5f-a2d5-0f74c8f92915" providerId="ADAL" clId="{168FE2C6-A561-4C00-8270-E1D83101A49A}" dt="2025-04-02T01:18:21.630" v="17904" actId="478"/>
          <ac:graphicFrameMkLst>
            <pc:docMk/>
            <pc:sldMk cId="1442350138" sldId="2267"/>
            <ac:graphicFrameMk id="10" creationId="{B15A66E1-2FA7-94D8-BA2E-B559B6C7E697}"/>
          </ac:graphicFrameMkLst>
        </pc:graphicFrameChg>
        <pc:picChg chg="add mod">
          <ac:chgData name="Armaan Kumar" userId="a351e95c-5450-4e5f-a2d5-0f74c8f92915" providerId="ADAL" clId="{168FE2C6-A561-4C00-8270-E1D83101A49A}" dt="2025-04-02T02:02:35.205" v="18644" actId="14100"/>
          <ac:picMkLst>
            <pc:docMk/>
            <pc:sldMk cId="1442350138" sldId="2267"/>
            <ac:picMk id="9" creationId="{D754E2EE-EF3F-F7CA-CB1B-994BAE4178FB}"/>
          </ac:picMkLst>
        </pc:picChg>
        <pc:picChg chg="add mod">
          <ac:chgData name="Armaan Kumar" userId="a351e95c-5450-4e5f-a2d5-0f74c8f92915" providerId="ADAL" clId="{168FE2C6-A561-4C00-8270-E1D83101A49A}" dt="2025-04-02T02:02:35.205" v="18644" actId="14100"/>
          <ac:picMkLst>
            <pc:docMk/>
            <pc:sldMk cId="1442350138" sldId="2267"/>
            <ac:picMk id="11" creationId="{0C834282-C664-6A92-0048-C923F37AB177}"/>
          </ac:picMkLst>
        </pc:picChg>
        <pc:picChg chg="add mod">
          <ac:chgData name="Armaan Kumar" userId="a351e95c-5450-4e5f-a2d5-0f74c8f92915" providerId="ADAL" clId="{168FE2C6-A561-4C00-8270-E1D83101A49A}" dt="2025-04-02T02:02:35.205" v="18644" actId="14100"/>
          <ac:picMkLst>
            <pc:docMk/>
            <pc:sldMk cId="1442350138" sldId="2267"/>
            <ac:picMk id="12" creationId="{D39F6513-09CC-396D-0864-A693A45C224A}"/>
          </ac:picMkLst>
        </pc:picChg>
        <pc:picChg chg="add mod">
          <ac:chgData name="Armaan Kumar" userId="a351e95c-5450-4e5f-a2d5-0f74c8f92915" providerId="ADAL" clId="{168FE2C6-A561-4C00-8270-E1D83101A49A}" dt="2025-04-02T02:02:35.205" v="18644" actId="14100"/>
          <ac:picMkLst>
            <pc:docMk/>
            <pc:sldMk cId="1442350138" sldId="2267"/>
            <ac:picMk id="13" creationId="{199A3DEB-5D50-54B2-40FB-742A58725AF5}"/>
          </ac:picMkLst>
        </pc:picChg>
        <pc:picChg chg="add mod">
          <ac:chgData name="Armaan Kumar" userId="a351e95c-5450-4e5f-a2d5-0f74c8f92915" providerId="ADAL" clId="{168FE2C6-A561-4C00-8270-E1D83101A49A}" dt="2025-04-02T02:02:35.205" v="18644" actId="14100"/>
          <ac:picMkLst>
            <pc:docMk/>
            <pc:sldMk cId="1442350138" sldId="2267"/>
            <ac:picMk id="14" creationId="{01FE1CB4-71D4-57BD-4F1F-FBBCCE852652}"/>
          </ac:picMkLst>
        </pc:picChg>
        <pc:picChg chg="add mod">
          <ac:chgData name="Armaan Kumar" userId="a351e95c-5450-4e5f-a2d5-0f74c8f92915" providerId="ADAL" clId="{168FE2C6-A561-4C00-8270-E1D83101A49A}" dt="2025-04-02T01:44:21.094" v="18217" actId="1036"/>
          <ac:picMkLst>
            <pc:docMk/>
            <pc:sldMk cId="1442350138" sldId="2267"/>
            <ac:picMk id="15" creationId="{7F432D7D-0D56-7E76-E869-B76F0E3032B9}"/>
          </ac:picMkLst>
        </pc:picChg>
        <pc:picChg chg="add mod">
          <ac:chgData name="Armaan Kumar" userId="a351e95c-5450-4e5f-a2d5-0f74c8f92915" providerId="ADAL" clId="{168FE2C6-A561-4C00-8270-E1D83101A49A}" dt="2025-04-02T02:02:35.205" v="18644" actId="14100"/>
          <ac:picMkLst>
            <pc:docMk/>
            <pc:sldMk cId="1442350138" sldId="2267"/>
            <ac:picMk id="5122" creationId="{794FF0CE-6790-0B95-896F-AE90F13BEB36}"/>
          </ac:picMkLst>
        </pc:picChg>
        <pc:picChg chg="add mod">
          <ac:chgData name="Armaan Kumar" userId="a351e95c-5450-4e5f-a2d5-0f74c8f92915" providerId="ADAL" clId="{168FE2C6-A561-4C00-8270-E1D83101A49A}" dt="2025-04-02T02:02:35.205" v="18644" actId="14100"/>
          <ac:picMkLst>
            <pc:docMk/>
            <pc:sldMk cId="1442350138" sldId="2267"/>
            <ac:picMk id="5124" creationId="{274D886B-93FB-4FB0-6C32-AD5CED078D10}"/>
          </ac:picMkLst>
        </pc:picChg>
        <pc:picChg chg="add mod">
          <ac:chgData name="Armaan Kumar" userId="a351e95c-5450-4e5f-a2d5-0f74c8f92915" providerId="ADAL" clId="{168FE2C6-A561-4C00-8270-E1D83101A49A}" dt="2025-04-02T03:12:21.282" v="19016" actId="1076"/>
          <ac:picMkLst>
            <pc:docMk/>
            <pc:sldMk cId="1442350138" sldId="2267"/>
            <ac:picMk id="5126" creationId="{72294337-9265-9A40-67D6-165510B11D6A}"/>
          </ac:picMkLst>
        </pc:picChg>
        <pc:cxnChg chg="add mod">
          <ac:chgData name="Armaan Kumar" userId="a351e95c-5450-4e5f-a2d5-0f74c8f92915" providerId="ADAL" clId="{168FE2C6-A561-4C00-8270-E1D83101A49A}" dt="2025-04-02T02:03:22.899" v="18655" actId="14100"/>
          <ac:cxnSpMkLst>
            <pc:docMk/>
            <pc:sldMk cId="1442350138" sldId="2267"/>
            <ac:cxnSpMk id="28" creationId="{EAC60310-2666-9687-86F2-E4DF0FD01E15}"/>
          </ac:cxnSpMkLst>
        </pc:cxnChg>
      </pc:sldChg>
      <pc:sldChg chg="modSp">
        <pc:chgData name="Armaan Kumar" userId="a351e95c-5450-4e5f-a2d5-0f74c8f92915" providerId="ADAL" clId="{168FE2C6-A561-4C00-8270-E1D83101A49A}" dt="2025-04-02T03:19:32.002" v="19017" actId="692"/>
        <pc:sldMkLst>
          <pc:docMk/>
          <pc:sldMk cId="2569410078" sldId="2273"/>
        </pc:sldMkLst>
        <pc:graphicFrameChg chg="mod">
          <ac:chgData name="Armaan Kumar" userId="a351e95c-5450-4e5f-a2d5-0f74c8f92915" providerId="ADAL" clId="{168FE2C6-A561-4C00-8270-E1D83101A49A}" dt="2025-04-02T03:19:32.002" v="19017" actId="692"/>
          <ac:graphicFrameMkLst>
            <pc:docMk/>
            <pc:sldMk cId="2569410078" sldId="2273"/>
            <ac:graphicFrameMk id="6" creationId="{B6EA59E4-569C-8C8B-2AFA-9B1CCACD69E0}"/>
          </ac:graphicFrameMkLst>
        </pc:graphicFrameChg>
      </pc:sldChg>
      <pc:sldChg chg="addSp delSp modSp add mod">
        <pc:chgData name="Armaan Kumar" userId="a351e95c-5450-4e5f-a2d5-0f74c8f92915" providerId="ADAL" clId="{168FE2C6-A561-4C00-8270-E1D83101A49A}" dt="2025-04-02T12:31:41.105" v="19397" actId="207"/>
        <pc:sldMkLst>
          <pc:docMk/>
          <pc:sldMk cId="3089843796" sldId="2274"/>
        </pc:sldMkLst>
        <pc:graphicFrameChg chg="del">
          <ac:chgData name="Armaan Kumar" userId="a351e95c-5450-4e5f-a2d5-0f74c8f92915" providerId="ADAL" clId="{168FE2C6-A561-4C00-8270-E1D83101A49A}" dt="2025-04-02T02:25:06.801" v="18745" actId="478"/>
          <ac:graphicFrameMkLst>
            <pc:docMk/>
            <pc:sldMk cId="3089843796" sldId="2274"/>
            <ac:graphicFrameMk id="6" creationId="{C916142E-BF69-DE67-375B-9D92269EFC97}"/>
          </ac:graphicFrameMkLst>
        </pc:graphicFrameChg>
        <pc:graphicFrameChg chg="add mod ord modGraphic">
          <ac:chgData name="Armaan Kumar" userId="a351e95c-5450-4e5f-a2d5-0f74c8f92915" providerId="ADAL" clId="{168FE2C6-A561-4C00-8270-E1D83101A49A}" dt="2025-04-02T02:49:34.344" v="18957" actId="20577"/>
          <ac:graphicFrameMkLst>
            <pc:docMk/>
            <pc:sldMk cId="3089843796" sldId="2274"/>
            <ac:graphicFrameMk id="11" creationId="{2982F241-2291-9F9F-03A3-1EA22AD26442}"/>
          </ac:graphicFrameMkLst>
        </pc:graphicFrameChg>
        <pc:graphicFrameChg chg="add del mod">
          <ac:chgData name="Armaan Kumar" userId="a351e95c-5450-4e5f-a2d5-0f74c8f92915" providerId="ADAL" clId="{168FE2C6-A561-4C00-8270-E1D83101A49A}" dt="2025-04-02T02:37:52.478" v="18858" actId="478"/>
          <ac:graphicFrameMkLst>
            <pc:docMk/>
            <pc:sldMk cId="3089843796" sldId="2274"/>
            <ac:graphicFrameMk id="18" creationId="{9D93B877-8BBC-4A19-73B5-38BF5673E19A}"/>
          </ac:graphicFrameMkLst>
        </pc:graphicFrameChg>
        <pc:graphicFrameChg chg="add del mod modGraphic">
          <ac:chgData name="Armaan Kumar" userId="a351e95c-5450-4e5f-a2d5-0f74c8f92915" providerId="ADAL" clId="{168FE2C6-A561-4C00-8270-E1D83101A49A}" dt="2025-04-02T02:39:17.384" v="18867" actId="478"/>
          <ac:graphicFrameMkLst>
            <pc:docMk/>
            <pc:sldMk cId="3089843796" sldId="2274"/>
            <ac:graphicFrameMk id="19" creationId="{5CC2A038-6CB6-A932-0DAD-7A379C15599A}"/>
          </ac:graphicFrameMkLst>
        </pc:graphicFrameChg>
        <pc:graphicFrameChg chg="add del">
          <ac:chgData name="Armaan Kumar" userId="a351e95c-5450-4e5f-a2d5-0f74c8f92915" providerId="ADAL" clId="{168FE2C6-A561-4C00-8270-E1D83101A49A}" dt="2025-04-02T02:39:41.460" v="18869" actId="478"/>
          <ac:graphicFrameMkLst>
            <pc:docMk/>
            <pc:sldMk cId="3089843796" sldId="2274"/>
            <ac:graphicFrameMk id="20" creationId="{90E74B67-F5C3-C79F-DA06-6504A50F7000}"/>
          </ac:graphicFrameMkLst>
        </pc:graphicFrameChg>
        <pc:graphicFrameChg chg="add del mod modGraphic">
          <ac:chgData name="Armaan Kumar" userId="a351e95c-5450-4e5f-a2d5-0f74c8f92915" providerId="ADAL" clId="{168FE2C6-A561-4C00-8270-E1D83101A49A}" dt="2025-04-02T02:41:34.121" v="18893" actId="478"/>
          <ac:graphicFrameMkLst>
            <pc:docMk/>
            <pc:sldMk cId="3089843796" sldId="2274"/>
            <ac:graphicFrameMk id="21" creationId="{76393C3C-1AB7-2646-9FA7-20F363AE760B}"/>
          </ac:graphicFrameMkLst>
        </pc:graphicFrameChg>
        <pc:graphicFrameChg chg="add mod modGraphic">
          <ac:chgData name="Armaan Kumar" userId="a351e95c-5450-4e5f-a2d5-0f74c8f92915" providerId="ADAL" clId="{168FE2C6-A561-4C00-8270-E1D83101A49A}" dt="2025-04-02T12:31:41.105" v="19397" actId="207"/>
          <ac:graphicFrameMkLst>
            <pc:docMk/>
            <pc:sldMk cId="3089843796" sldId="2274"/>
            <ac:graphicFrameMk id="22" creationId="{32CAFA40-D081-EDD2-FD6D-C151898EDE7C}"/>
          </ac:graphicFrameMkLst>
        </pc:graphicFrameChg>
        <pc:graphicFrameChg chg="del mod modGraphic">
          <ac:chgData name="Armaan Kumar" userId="a351e95c-5450-4e5f-a2d5-0f74c8f92915" providerId="ADAL" clId="{168FE2C6-A561-4C00-8270-E1D83101A49A}" dt="2025-04-02T02:37:11.387" v="18854" actId="478"/>
          <ac:graphicFrameMkLst>
            <pc:docMk/>
            <pc:sldMk cId="3089843796" sldId="2274"/>
            <ac:graphicFrameMk id="40" creationId="{8CA86867-ABF5-C6D1-DB8D-7F07B09B097C}"/>
          </ac:graphicFrameMkLst>
        </pc:graphicFrameChg>
        <pc:picChg chg="add del mod">
          <ac:chgData name="Armaan Kumar" userId="a351e95c-5450-4e5f-a2d5-0f74c8f92915" providerId="ADAL" clId="{168FE2C6-A561-4C00-8270-E1D83101A49A}" dt="2025-04-02T02:33:33.286" v="18843" actId="478"/>
          <ac:picMkLst>
            <pc:docMk/>
            <pc:sldMk cId="3089843796" sldId="2274"/>
            <ac:picMk id="13" creationId="{924FFF7A-73E4-8591-A87D-78D5FA63A3D0}"/>
          </ac:picMkLst>
        </pc:picChg>
        <pc:picChg chg="add mod">
          <ac:chgData name="Armaan Kumar" userId="a351e95c-5450-4e5f-a2d5-0f74c8f92915" providerId="ADAL" clId="{168FE2C6-A561-4C00-8270-E1D83101A49A}" dt="2025-04-02T02:51:17.538" v="19003" actId="1076"/>
          <ac:picMkLst>
            <pc:docMk/>
            <pc:sldMk cId="3089843796" sldId="2274"/>
            <ac:picMk id="17" creationId="{D36A0646-369C-65AA-8D49-EFF435B46722}"/>
          </ac:picMkLst>
        </pc:picChg>
        <pc:picChg chg="mod">
          <ac:chgData name="Armaan Kumar" userId="a351e95c-5450-4e5f-a2d5-0f74c8f92915" providerId="ADAL" clId="{168FE2C6-A561-4C00-8270-E1D83101A49A}" dt="2025-04-02T02:50:50.005" v="18995" actId="1076"/>
          <ac:picMkLst>
            <pc:docMk/>
            <pc:sldMk cId="3089843796" sldId="2274"/>
            <ac:picMk id="2050" creationId="{61D4ADAF-A142-7503-BD9E-7CFE93C0767D}"/>
          </ac:picMkLst>
        </pc:picChg>
        <pc:picChg chg="mod">
          <ac:chgData name="Armaan Kumar" userId="a351e95c-5450-4e5f-a2d5-0f74c8f92915" providerId="ADAL" clId="{168FE2C6-A561-4C00-8270-E1D83101A49A}" dt="2025-04-02T02:47:19.667" v="18912" actId="1076"/>
          <ac:picMkLst>
            <pc:docMk/>
            <pc:sldMk cId="3089843796" sldId="2274"/>
            <ac:picMk id="2052" creationId="{DFDFC5C7-2FA5-DA5C-0AA3-6C2E163C0701}"/>
          </ac:picMkLst>
        </pc:picChg>
        <pc:picChg chg="mod">
          <ac:chgData name="Armaan Kumar" userId="a351e95c-5450-4e5f-a2d5-0f74c8f92915" providerId="ADAL" clId="{168FE2C6-A561-4C00-8270-E1D83101A49A}" dt="2025-04-02T02:50:53.758" v="18997" actId="1076"/>
          <ac:picMkLst>
            <pc:docMk/>
            <pc:sldMk cId="3089843796" sldId="2274"/>
            <ac:picMk id="2054" creationId="{275A6B83-8D14-9F5C-8F17-7E59E19EA9A7}"/>
          </ac:picMkLst>
        </pc:picChg>
        <pc:picChg chg="mod">
          <ac:chgData name="Armaan Kumar" userId="a351e95c-5450-4e5f-a2d5-0f74c8f92915" providerId="ADAL" clId="{168FE2C6-A561-4C00-8270-E1D83101A49A}" dt="2025-04-02T02:47:23.202" v="18913" actId="1076"/>
          <ac:picMkLst>
            <pc:docMk/>
            <pc:sldMk cId="3089843796" sldId="2274"/>
            <ac:picMk id="2056" creationId="{55103142-6317-616C-740C-194DFD939BB6}"/>
          </ac:picMkLst>
        </pc:picChg>
        <pc:picChg chg="mod">
          <ac:chgData name="Armaan Kumar" userId="a351e95c-5450-4e5f-a2d5-0f74c8f92915" providerId="ADAL" clId="{168FE2C6-A561-4C00-8270-E1D83101A49A}" dt="2025-04-02T02:50:56.071" v="18998" actId="1076"/>
          <ac:picMkLst>
            <pc:docMk/>
            <pc:sldMk cId="3089843796" sldId="2274"/>
            <ac:picMk id="2072" creationId="{2DE9C471-4545-E66C-E4DD-9E44AE36A37E}"/>
          </ac:picMkLst>
        </pc:picChg>
        <pc:picChg chg="mod">
          <ac:chgData name="Armaan Kumar" userId="a351e95c-5450-4e5f-a2d5-0f74c8f92915" providerId="ADAL" clId="{168FE2C6-A561-4C00-8270-E1D83101A49A}" dt="2025-04-02T02:47:25.754" v="18914" actId="1076"/>
          <ac:picMkLst>
            <pc:docMk/>
            <pc:sldMk cId="3089843796" sldId="2274"/>
            <ac:picMk id="2074" creationId="{F4164F54-B248-AE33-5C4A-468133D1F3F8}"/>
          </ac:picMkLst>
        </pc:picChg>
        <pc:picChg chg="mod">
          <ac:chgData name="Armaan Kumar" userId="a351e95c-5450-4e5f-a2d5-0f74c8f92915" providerId="ADAL" clId="{168FE2C6-A561-4C00-8270-E1D83101A49A}" dt="2025-04-02T02:51:02.930" v="19000" actId="1076"/>
          <ac:picMkLst>
            <pc:docMk/>
            <pc:sldMk cId="3089843796" sldId="2274"/>
            <ac:picMk id="2076" creationId="{8A523B14-A64C-F3E4-C886-0618D5B74C22}"/>
          </ac:picMkLst>
        </pc:picChg>
        <pc:picChg chg="mod">
          <ac:chgData name="Armaan Kumar" userId="a351e95c-5450-4e5f-a2d5-0f74c8f92915" providerId="ADAL" clId="{168FE2C6-A561-4C00-8270-E1D83101A49A}" dt="2025-04-02T02:47:29.387" v="18915" actId="1076"/>
          <ac:picMkLst>
            <pc:docMk/>
            <pc:sldMk cId="3089843796" sldId="2274"/>
            <ac:picMk id="2078" creationId="{22FFFCBE-A5A1-8AED-C935-3852F64638F9}"/>
          </ac:picMkLst>
        </pc:picChg>
        <pc:picChg chg="del mod">
          <ac:chgData name="Armaan Kumar" userId="a351e95c-5450-4e5f-a2d5-0f74c8f92915" providerId="ADAL" clId="{168FE2C6-A561-4C00-8270-E1D83101A49A}" dt="2025-04-02T02:37:14.954" v="18855" actId="478"/>
          <ac:picMkLst>
            <pc:docMk/>
            <pc:sldMk cId="3089843796" sldId="2274"/>
            <ac:picMk id="2080" creationId="{489180C0-DBE3-F646-07C1-13F9353AEF53}"/>
          </ac:picMkLst>
        </pc:picChg>
        <pc:picChg chg="mod">
          <ac:chgData name="Armaan Kumar" userId="a351e95c-5450-4e5f-a2d5-0f74c8f92915" providerId="ADAL" clId="{168FE2C6-A561-4C00-8270-E1D83101A49A}" dt="2025-04-02T02:47:30.775" v="18916" actId="1076"/>
          <ac:picMkLst>
            <pc:docMk/>
            <pc:sldMk cId="3089843796" sldId="2274"/>
            <ac:picMk id="2082" creationId="{124AC4CA-5D13-0A65-8F5E-101DD649B988}"/>
          </ac:picMkLst>
        </pc:picChg>
      </pc:sldChg>
      <pc:sldChg chg="del">
        <pc:chgData name="Armaan Kumar" userId="a351e95c-5450-4e5f-a2d5-0f74c8f92915" providerId="ADAL" clId="{168FE2C6-A561-4C00-8270-E1D83101A49A}" dt="2025-04-02T03:27:10.104" v="19143" actId="47"/>
        <pc:sldMkLst>
          <pc:docMk/>
          <pc:sldMk cId="3787785397" sldId="2275"/>
        </pc:sldMkLst>
      </pc:sldChg>
      <pc:sldChg chg="addSp delSp modSp add mod">
        <pc:chgData name="Armaan Kumar" userId="a351e95c-5450-4e5f-a2d5-0f74c8f92915" providerId="ADAL" clId="{168FE2C6-A561-4C00-8270-E1D83101A49A}" dt="2025-04-02T03:29:12.721" v="19156" actId="20577"/>
        <pc:sldMkLst>
          <pc:docMk/>
          <pc:sldMk cId="4220811490" sldId="2276"/>
        </pc:sldMkLst>
        <pc:spChg chg="add mod">
          <ac:chgData name="Armaan Kumar" userId="a351e95c-5450-4e5f-a2d5-0f74c8f92915" providerId="ADAL" clId="{168FE2C6-A561-4C00-8270-E1D83101A49A}" dt="2025-04-02T03:23:24.856" v="19045" actId="113"/>
          <ac:spMkLst>
            <pc:docMk/>
            <pc:sldMk cId="4220811490" sldId="2276"/>
            <ac:spMk id="5" creationId="{7DB86494-3B41-1A3F-7A1F-957CD6E475A2}"/>
          </ac:spMkLst>
        </pc:spChg>
        <pc:spChg chg="add mod">
          <ac:chgData name="Armaan Kumar" userId="a351e95c-5450-4e5f-a2d5-0f74c8f92915" providerId="ADAL" clId="{168FE2C6-A561-4C00-8270-E1D83101A49A}" dt="2025-04-02T03:23:29.999" v="19046" actId="1076"/>
          <ac:spMkLst>
            <pc:docMk/>
            <pc:sldMk cId="4220811490" sldId="2276"/>
            <ac:spMk id="6" creationId="{7AC7805F-8A9F-4FA0-A27D-401412A109E1}"/>
          </ac:spMkLst>
        </pc:spChg>
        <pc:spChg chg="mod">
          <ac:chgData name="Armaan Kumar" userId="a351e95c-5450-4e5f-a2d5-0f74c8f92915" providerId="ADAL" clId="{168FE2C6-A561-4C00-8270-E1D83101A49A}" dt="2025-04-02T03:23:24.856" v="19045" actId="113"/>
          <ac:spMkLst>
            <pc:docMk/>
            <pc:sldMk cId="4220811490" sldId="2276"/>
            <ac:spMk id="7" creationId="{8E579D29-D90B-7CDA-D806-F9DEFE9792C5}"/>
          </ac:spMkLst>
        </pc:spChg>
        <pc:spChg chg="del mod">
          <ac:chgData name="Armaan Kumar" userId="a351e95c-5450-4e5f-a2d5-0f74c8f92915" providerId="ADAL" clId="{168FE2C6-A561-4C00-8270-E1D83101A49A}" dt="2025-04-02T03:23:58.834" v="19048" actId="478"/>
          <ac:spMkLst>
            <pc:docMk/>
            <pc:sldMk cId="4220811490" sldId="2276"/>
            <ac:spMk id="8" creationId="{3B42A17F-AEA7-AA01-6334-F322DAE3DB96}"/>
          </ac:spMkLst>
        </pc:spChg>
        <pc:spChg chg="del">
          <ac:chgData name="Armaan Kumar" userId="a351e95c-5450-4e5f-a2d5-0f74c8f92915" providerId="ADAL" clId="{168FE2C6-A561-4C00-8270-E1D83101A49A}" dt="2025-04-02T03:26:30.012" v="19137" actId="478"/>
          <ac:spMkLst>
            <pc:docMk/>
            <pc:sldMk cId="4220811490" sldId="2276"/>
            <ac:spMk id="9" creationId="{BDF03B81-5EF5-E754-58DB-C25FA09CB63D}"/>
          </ac:spMkLst>
        </pc:spChg>
        <pc:spChg chg="add mod">
          <ac:chgData name="Armaan Kumar" userId="a351e95c-5450-4e5f-a2d5-0f74c8f92915" providerId="ADAL" clId="{168FE2C6-A561-4C00-8270-E1D83101A49A}" dt="2025-04-02T03:24:38.960" v="19059" actId="1076"/>
          <ac:spMkLst>
            <pc:docMk/>
            <pc:sldMk cId="4220811490" sldId="2276"/>
            <ac:spMk id="10" creationId="{D6A51ADD-51E8-4298-7515-BFF55090178E}"/>
          </ac:spMkLst>
        </pc:spChg>
        <pc:spChg chg="add del mod">
          <ac:chgData name="Armaan Kumar" userId="a351e95c-5450-4e5f-a2d5-0f74c8f92915" providerId="ADAL" clId="{168FE2C6-A561-4C00-8270-E1D83101A49A}" dt="2025-04-02T03:23:13.719" v="19041" actId="21"/>
          <ac:spMkLst>
            <pc:docMk/>
            <pc:sldMk cId="4220811490" sldId="2276"/>
            <ac:spMk id="11" creationId="{ABF38811-E4F4-6600-80D1-E9DD1434E62E}"/>
          </ac:spMkLst>
        </pc:spChg>
        <pc:spChg chg="add mod">
          <ac:chgData name="Armaan Kumar" userId="a351e95c-5450-4e5f-a2d5-0f74c8f92915" providerId="ADAL" clId="{168FE2C6-A561-4C00-8270-E1D83101A49A}" dt="2025-04-02T03:24:38.960" v="19059" actId="1076"/>
          <ac:spMkLst>
            <pc:docMk/>
            <pc:sldMk cId="4220811490" sldId="2276"/>
            <ac:spMk id="12" creationId="{C6B2235C-AF34-7E9E-4FDE-03F650343570}"/>
          </ac:spMkLst>
        </pc:spChg>
        <pc:spChg chg="add mod">
          <ac:chgData name="Armaan Kumar" userId="a351e95c-5450-4e5f-a2d5-0f74c8f92915" providerId="ADAL" clId="{168FE2C6-A561-4C00-8270-E1D83101A49A}" dt="2025-04-02T03:24:38.960" v="19059" actId="1076"/>
          <ac:spMkLst>
            <pc:docMk/>
            <pc:sldMk cId="4220811490" sldId="2276"/>
            <ac:spMk id="14" creationId="{E5CB4D51-6570-DF3F-C3FB-A2B0E4CB6F9F}"/>
          </ac:spMkLst>
        </pc:spChg>
        <pc:spChg chg="mod">
          <ac:chgData name="Armaan Kumar" userId="a351e95c-5450-4e5f-a2d5-0f74c8f92915" providerId="ADAL" clId="{168FE2C6-A561-4C00-8270-E1D83101A49A}" dt="2025-04-02T03:24:24.848" v="19055" actId="21"/>
          <ac:spMkLst>
            <pc:docMk/>
            <pc:sldMk cId="4220811490" sldId="2276"/>
            <ac:spMk id="15" creationId="{AA5C7055-2678-A228-E59B-350574493530}"/>
          </ac:spMkLst>
        </pc:spChg>
        <pc:spChg chg="mod">
          <ac:chgData name="Armaan Kumar" userId="a351e95c-5450-4e5f-a2d5-0f74c8f92915" providerId="ADAL" clId="{168FE2C6-A561-4C00-8270-E1D83101A49A}" dt="2025-04-02T03:24:55.148" v="19060" actId="1076"/>
          <ac:spMkLst>
            <pc:docMk/>
            <pc:sldMk cId="4220811490" sldId="2276"/>
            <ac:spMk id="16" creationId="{1D588187-3808-30AA-5F14-068B9694F27B}"/>
          </ac:spMkLst>
        </pc:spChg>
        <pc:spChg chg="add mod">
          <ac:chgData name="Armaan Kumar" userId="a351e95c-5450-4e5f-a2d5-0f74c8f92915" providerId="ADAL" clId="{168FE2C6-A561-4C00-8270-E1D83101A49A}" dt="2025-04-02T03:26:50.400" v="19142" actId="1076"/>
          <ac:spMkLst>
            <pc:docMk/>
            <pc:sldMk cId="4220811490" sldId="2276"/>
            <ac:spMk id="17" creationId="{B9A8D6C6-C735-0835-25BD-1309E48424DB}"/>
          </ac:spMkLst>
        </pc:spChg>
        <pc:spChg chg="del">
          <ac:chgData name="Armaan Kumar" userId="a351e95c-5450-4e5f-a2d5-0f74c8f92915" providerId="ADAL" clId="{168FE2C6-A561-4C00-8270-E1D83101A49A}" dt="2025-04-02T03:26:36.500" v="19140" actId="478"/>
          <ac:spMkLst>
            <pc:docMk/>
            <pc:sldMk cId="4220811490" sldId="2276"/>
            <ac:spMk id="18" creationId="{BCE820D0-247F-0D3F-A87D-38E511E7502E}"/>
          </ac:spMkLst>
        </pc:spChg>
        <pc:spChg chg="del">
          <ac:chgData name="Armaan Kumar" userId="a351e95c-5450-4e5f-a2d5-0f74c8f92915" providerId="ADAL" clId="{168FE2C6-A561-4C00-8270-E1D83101A49A}" dt="2025-04-02T03:26:36.500" v="19140" actId="478"/>
          <ac:spMkLst>
            <pc:docMk/>
            <pc:sldMk cId="4220811490" sldId="2276"/>
            <ac:spMk id="19" creationId="{8D2FBAAB-3271-A60A-48DE-3F194E402D42}"/>
          </ac:spMkLst>
        </pc:spChg>
        <pc:spChg chg="del">
          <ac:chgData name="Armaan Kumar" userId="a351e95c-5450-4e5f-a2d5-0f74c8f92915" providerId="ADAL" clId="{168FE2C6-A561-4C00-8270-E1D83101A49A}" dt="2025-04-02T03:26:36.500" v="19140" actId="478"/>
          <ac:spMkLst>
            <pc:docMk/>
            <pc:sldMk cId="4220811490" sldId="2276"/>
            <ac:spMk id="20" creationId="{A1FFC382-80DB-9879-8A07-D3DF948D3DC4}"/>
          </ac:spMkLst>
        </pc:spChg>
        <pc:spChg chg="del">
          <ac:chgData name="Armaan Kumar" userId="a351e95c-5450-4e5f-a2d5-0f74c8f92915" providerId="ADAL" clId="{168FE2C6-A561-4C00-8270-E1D83101A49A}" dt="2025-04-02T03:26:36.500" v="19140" actId="478"/>
          <ac:spMkLst>
            <pc:docMk/>
            <pc:sldMk cId="4220811490" sldId="2276"/>
            <ac:spMk id="21" creationId="{9408A139-0078-A0C9-F7B7-318E913EE1C8}"/>
          </ac:spMkLst>
        </pc:spChg>
        <pc:spChg chg="add mod">
          <ac:chgData name="Armaan Kumar" userId="a351e95c-5450-4e5f-a2d5-0f74c8f92915" providerId="ADAL" clId="{168FE2C6-A561-4C00-8270-E1D83101A49A}" dt="2025-04-02T03:26:50.400" v="19142" actId="1076"/>
          <ac:spMkLst>
            <pc:docMk/>
            <pc:sldMk cId="4220811490" sldId="2276"/>
            <ac:spMk id="22" creationId="{6D681EC4-D9C2-704F-E5DB-5C59E49B0C37}"/>
          </ac:spMkLst>
        </pc:spChg>
        <pc:spChg chg="add mod">
          <ac:chgData name="Armaan Kumar" userId="a351e95c-5450-4e5f-a2d5-0f74c8f92915" providerId="ADAL" clId="{168FE2C6-A561-4C00-8270-E1D83101A49A}" dt="2025-04-02T03:26:50.400" v="19142" actId="1076"/>
          <ac:spMkLst>
            <pc:docMk/>
            <pc:sldMk cId="4220811490" sldId="2276"/>
            <ac:spMk id="23" creationId="{F00866A8-214D-6AD0-8340-C253ED2C6028}"/>
          </ac:spMkLst>
        </pc:spChg>
        <pc:spChg chg="add mod">
          <ac:chgData name="Armaan Kumar" userId="a351e95c-5450-4e5f-a2d5-0f74c8f92915" providerId="ADAL" clId="{168FE2C6-A561-4C00-8270-E1D83101A49A}" dt="2025-04-02T03:26:50.400" v="19142" actId="1076"/>
          <ac:spMkLst>
            <pc:docMk/>
            <pc:sldMk cId="4220811490" sldId="2276"/>
            <ac:spMk id="24" creationId="{A8EFB377-7256-234A-5902-C7B7DB30093D}"/>
          </ac:spMkLst>
        </pc:spChg>
        <pc:spChg chg="add mod">
          <ac:chgData name="Armaan Kumar" userId="a351e95c-5450-4e5f-a2d5-0f74c8f92915" providerId="ADAL" clId="{168FE2C6-A561-4C00-8270-E1D83101A49A}" dt="2025-04-02T03:26:50.400" v="19142" actId="1076"/>
          <ac:spMkLst>
            <pc:docMk/>
            <pc:sldMk cId="4220811490" sldId="2276"/>
            <ac:spMk id="25" creationId="{7D14BED9-E68A-BD9F-728E-BD717A6AC41B}"/>
          </ac:spMkLst>
        </pc:spChg>
        <pc:spChg chg="del">
          <ac:chgData name="Armaan Kumar" userId="a351e95c-5450-4e5f-a2d5-0f74c8f92915" providerId="ADAL" clId="{168FE2C6-A561-4C00-8270-E1D83101A49A}" dt="2025-04-02T03:26:32.060" v="19139" actId="478"/>
          <ac:spMkLst>
            <pc:docMk/>
            <pc:sldMk cId="4220811490" sldId="2276"/>
            <ac:spMk id="26" creationId="{75546CAB-D70B-53B6-4128-11697C2CF2E5}"/>
          </ac:spMkLst>
        </pc:spChg>
        <pc:spChg chg="add mod">
          <ac:chgData name="Armaan Kumar" userId="a351e95c-5450-4e5f-a2d5-0f74c8f92915" providerId="ADAL" clId="{168FE2C6-A561-4C00-8270-E1D83101A49A}" dt="2025-04-02T03:26:50.400" v="19142" actId="1076"/>
          <ac:spMkLst>
            <pc:docMk/>
            <pc:sldMk cId="4220811490" sldId="2276"/>
            <ac:spMk id="27" creationId="{96373ED2-5844-F965-C521-4DCD41F01CD8}"/>
          </ac:spMkLst>
        </pc:spChg>
        <pc:spChg chg="add mod">
          <ac:chgData name="Armaan Kumar" userId="a351e95c-5450-4e5f-a2d5-0f74c8f92915" providerId="ADAL" clId="{168FE2C6-A561-4C00-8270-E1D83101A49A}" dt="2025-04-02T03:26:50.400" v="19142" actId="1076"/>
          <ac:spMkLst>
            <pc:docMk/>
            <pc:sldMk cId="4220811490" sldId="2276"/>
            <ac:spMk id="28" creationId="{310200D4-3B30-0178-89B0-446ADAB22343}"/>
          </ac:spMkLst>
        </pc:spChg>
        <pc:spChg chg="del mod">
          <ac:chgData name="Armaan Kumar" userId="a351e95c-5450-4e5f-a2d5-0f74c8f92915" providerId="ADAL" clId="{168FE2C6-A561-4C00-8270-E1D83101A49A}" dt="2025-04-02T03:26:36.500" v="19140" actId="478"/>
          <ac:spMkLst>
            <pc:docMk/>
            <pc:sldMk cId="4220811490" sldId="2276"/>
            <ac:spMk id="29" creationId="{54750D3C-F919-9768-75D5-F303A1C5F69D}"/>
          </ac:spMkLst>
        </pc:spChg>
        <pc:spChg chg="add mod">
          <ac:chgData name="Armaan Kumar" userId="a351e95c-5450-4e5f-a2d5-0f74c8f92915" providerId="ADAL" clId="{168FE2C6-A561-4C00-8270-E1D83101A49A}" dt="2025-04-02T03:26:50.400" v="19142" actId="1076"/>
          <ac:spMkLst>
            <pc:docMk/>
            <pc:sldMk cId="4220811490" sldId="2276"/>
            <ac:spMk id="30" creationId="{CB338FB0-81A9-338E-31D9-D7BEEA252CDF}"/>
          </ac:spMkLst>
        </pc:spChg>
        <pc:spChg chg="add mod">
          <ac:chgData name="Armaan Kumar" userId="a351e95c-5450-4e5f-a2d5-0f74c8f92915" providerId="ADAL" clId="{168FE2C6-A561-4C00-8270-E1D83101A49A}" dt="2025-04-02T03:29:12.721" v="19156" actId="20577"/>
          <ac:spMkLst>
            <pc:docMk/>
            <pc:sldMk cId="4220811490" sldId="2276"/>
            <ac:spMk id="31" creationId="{8AB258AC-3B4D-5416-2BFA-127C3E3EF78A}"/>
          </ac:spMkLst>
        </pc:spChg>
      </pc:sldChg>
      <pc:sldMasterChg chg="modSldLayout">
        <pc:chgData name="Armaan Kumar" userId="a351e95c-5450-4e5f-a2d5-0f74c8f92915" providerId="ADAL" clId="{168FE2C6-A561-4C00-8270-E1D83101A49A}" dt="2025-03-31T04:34:53.841" v="12385" actId="1076"/>
        <pc:sldMasterMkLst>
          <pc:docMk/>
          <pc:sldMasterMk cId="108896749" sldId="2147483674"/>
        </pc:sldMasterMkLst>
        <pc:sldLayoutChg chg="modSp mod">
          <pc:chgData name="Armaan Kumar" userId="a351e95c-5450-4e5f-a2d5-0f74c8f92915" providerId="ADAL" clId="{168FE2C6-A561-4C00-8270-E1D83101A49A}" dt="2025-03-31T04:34:53.841" v="12385" actId="1076"/>
          <pc:sldLayoutMkLst>
            <pc:docMk/>
            <pc:sldMasterMk cId="108896749" sldId="2147483674"/>
            <pc:sldLayoutMk cId="3428732608" sldId="2147483679"/>
          </pc:sldLayoutMkLst>
          <pc:spChg chg="mod">
            <ac:chgData name="Armaan Kumar" userId="a351e95c-5450-4e5f-a2d5-0f74c8f92915" providerId="ADAL" clId="{168FE2C6-A561-4C00-8270-E1D83101A49A}" dt="2025-03-31T04:34:53.841" v="12385" actId="1076"/>
            <ac:spMkLst>
              <pc:docMk/>
              <pc:sldMasterMk cId="108896749" sldId="2147483674"/>
              <pc:sldLayoutMk cId="3428732608" sldId="2147483679"/>
              <ac:spMk id="13" creationId="{F0EA874D-CBEA-0C45-51CC-F68AA6DA05CD}"/>
            </ac:spMkLst>
          </pc:spChg>
        </pc:sldLayoutChg>
        <pc:sldLayoutChg chg="modSp mod">
          <pc:chgData name="Armaan Kumar" userId="a351e95c-5450-4e5f-a2d5-0f74c8f92915" providerId="ADAL" clId="{168FE2C6-A561-4C00-8270-E1D83101A49A}" dt="2025-03-31T04:28:58.896" v="12384" actId="1076"/>
          <pc:sldLayoutMkLst>
            <pc:docMk/>
            <pc:sldMasterMk cId="108896749" sldId="2147483674"/>
            <pc:sldLayoutMk cId="3037225722" sldId="2147483693"/>
          </pc:sldLayoutMkLst>
          <pc:spChg chg="mod">
            <ac:chgData name="Armaan Kumar" userId="a351e95c-5450-4e5f-a2d5-0f74c8f92915" providerId="ADAL" clId="{168FE2C6-A561-4C00-8270-E1D83101A49A}" dt="2025-03-31T04:28:58.896" v="12384" actId="1076"/>
            <ac:spMkLst>
              <pc:docMk/>
              <pc:sldMasterMk cId="108896749" sldId="2147483674"/>
              <pc:sldLayoutMk cId="3037225722" sldId="2147483693"/>
              <ac:spMk id="3" creationId="{38B34AEA-424E-E6F3-E238-8165C0C2D089}"/>
            </ac:spMkLst>
          </pc:spChg>
        </pc:sldLayoutChg>
      </pc:sldMasterChg>
    </pc:docChg>
  </pc:docChgLst>
  <pc:docChgLst>
    <pc:chgData name="Carlo Abi-Raad" userId="08fc5628-31e7-49b7-aa1d-2f25a1b05d33" providerId="ADAL" clId="{91DF428D-10D1-344C-A879-47C8A34A3BDD}"/>
    <pc:docChg chg="undo redo custSel addSld delSld modSld sldOrd modMainMaster addSection delSection">
      <pc:chgData name="Carlo Abi-Raad" userId="08fc5628-31e7-49b7-aa1d-2f25a1b05d33" providerId="ADAL" clId="{91DF428D-10D1-344C-A879-47C8A34A3BDD}" dt="2025-04-02T18:29:47.871" v="6017" actId="571"/>
      <pc:docMkLst>
        <pc:docMk/>
      </pc:docMkLst>
      <pc:sldChg chg="modSp del mod">
        <pc:chgData name="Carlo Abi-Raad" userId="08fc5628-31e7-49b7-aa1d-2f25a1b05d33" providerId="ADAL" clId="{91DF428D-10D1-344C-A879-47C8A34A3BDD}" dt="2025-03-30T04:18:17.451" v="2457" actId="2696"/>
        <pc:sldMkLst>
          <pc:docMk/>
          <pc:sldMk cId="2078426827" sldId="256"/>
        </pc:sldMkLst>
      </pc:sldChg>
      <pc:sldChg chg="modSp mod">
        <pc:chgData name="Carlo Abi-Raad" userId="08fc5628-31e7-49b7-aa1d-2f25a1b05d33" providerId="ADAL" clId="{91DF428D-10D1-344C-A879-47C8A34A3BDD}" dt="2025-04-01T00:39:39.410" v="4604" actId="207"/>
        <pc:sldMkLst>
          <pc:docMk/>
          <pc:sldMk cId="2614155028" sldId="257"/>
        </pc:sldMkLst>
        <pc:graphicFrameChg chg="modGraphic">
          <ac:chgData name="Carlo Abi-Raad" userId="08fc5628-31e7-49b7-aa1d-2f25a1b05d33" providerId="ADAL" clId="{91DF428D-10D1-344C-A879-47C8A34A3BDD}" dt="2025-04-01T00:39:39.410" v="4604" actId="207"/>
          <ac:graphicFrameMkLst>
            <pc:docMk/>
            <pc:sldMk cId="2614155028" sldId="257"/>
            <ac:graphicFrameMk id="13" creationId="{3AE01B04-D30D-0543-8971-49EB375687B8}"/>
          </ac:graphicFrameMkLst>
        </pc:graphicFrameChg>
      </pc:sldChg>
      <pc:sldChg chg="addSp delSp modSp del mod">
        <pc:chgData name="Carlo Abi-Raad" userId="08fc5628-31e7-49b7-aa1d-2f25a1b05d33" providerId="ADAL" clId="{91DF428D-10D1-344C-A879-47C8A34A3BDD}" dt="2025-03-23T04:22:52.101" v="458" actId="2696"/>
        <pc:sldMkLst>
          <pc:docMk/>
          <pc:sldMk cId="2721206267" sldId="258"/>
        </pc:sldMkLst>
      </pc:sldChg>
      <pc:sldChg chg="modSp mod">
        <pc:chgData name="Carlo Abi-Raad" userId="08fc5628-31e7-49b7-aa1d-2f25a1b05d33" providerId="ADAL" clId="{91DF428D-10D1-344C-A879-47C8A34A3BDD}" dt="2025-04-02T15:38:39.445" v="5667"/>
        <pc:sldMkLst>
          <pc:docMk/>
          <pc:sldMk cId="692225315" sldId="263"/>
        </pc:sldMkLst>
        <pc:graphicFrameChg chg="modGraphic">
          <ac:chgData name="Carlo Abi-Raad" userId="08fc5628-31e7-49b7-aa1d-2f25a1b05d33" providerId="ADAL" clId="{91DF428D-10D1-344C-A879-47C8A34A3BDD}" dt="2025-04-02T15:38:39.445" v="5667"/>
          <ac:graphicFrameMkLst>
            <pc:docMk/>
            <pc:sldMk cId="692225315" sldId="263"/>
            <ac:graphicFrameMk id="6" creationId="{5397BEAF-EE75-364C-298A-B42E89EE6DD0}"/>
          </ac:graphicFrameMkLst>
        </pc:graphicFrameChg>
      </pc:sldChg>
      <pc:sldChg chg="modSp mod">
        <pc:chgData name="Carlo Abi-Raad" userId="08fc5628-31e7-49b7-aa1d-2f25a1b05d33" providerId="ADAL" clId="{91DF428D-10D1-344C-A879-47C8A34A3BDD}" dt="2025-04-02T18:16:24.388" v="5832" actId="692"/>
        <pc:sldMkLst>
          <pc:docMk/>
          <pc:sldMk cId="3214686972" sldId="266"/>
        </pc:sldMkLst>
        <pc:spChg chg="mod">
          <ac:chgData name="Carlo Abi-Raad" userId="08fc5628-31e7-49b7-aa1d-2f25a1b05d33" providerId="ADAL" clId="{91DF428D-10D1-344C-A879-47C8A34A3BDD}" dt="2025-04-01T03:43:38.728" v="4814" actId="114"/>
          <ac:spMkLst>
            <pc:docMk/>
            <pc:sldMk cId="3214686972" sldId="266"/>
            <ac:spMk id="7" creationId="{CD1B8F4D-6B49-B2EF-6DDF-609B87BE6C33}"/>
          </ac:spMkLst>
        </pc:spChg>
        <pc:graphicFrameChg chg="mod">
          <ac:chgData name="Carlo Abi-Raad" userId="08fc5628-31e7-49b7-aa1d-2f25a1b05d33" providerId="ADAL" clId="{91DF428D-10D1-344C-A879-47C8A34A3BDD}" dt="2025-04-02T18:16:24.388" v="5832" actId="692"/>
          <ac:graphicFrameMkLst>
            <pc:docMk/>
            <pc:sldMk cId="3214686972" sldId="266"/>
            <ac:graphicFrameMk id="16" creationId="{EEA5DA10-21F4-CD7C-D81B-0F651397744A}"/>
          </ac:graphicFrameMkLst>
        </pc:graphicFrameChg>
      </pc:sldChg>
      <pc:sldChg chg="addSp delSp modSp mod">
        <pc:chgData name="Carlo Abi-Raad" userId="08fc5628-31e7-49b7-aa1d-2f25a1b05d33" providerId="ADAL" clId="{91DF428D-10D1-344C-A879-47C8A34A3BDD}" dt="2025-03-31T17:50:22.393" v="3642" actId="20577"/>
        <pc:sldMkLst>
          <pc:docMk/>
          <pc:sldMk cId="1752903940" sldId="267"/>
        </pc:sldMkLst>
      </pc:sldChg>
      <pc:sldChg chg="addSp delSp modSp add mod">
        <pc:chgData name="Carlo Abi-Raad" userId="08fc5628-31e7-49b7-aa1d-2f25a1b05d33" providerId="ADAL" clId="{91DF428D-10D1-344C-A879-47C8A34A3BDD}" dt="2025-03-31T17:50:54.619" v="3666" actId="20577"/>
        <pc:sldMkLst>
          <pc:docMk/>
          <pc:sldMk cId="3431454537" sldId="268"/>
        </pc:sldMkLst>
        <pc:spChg chg="mod">
          <ac:chgData name="Carlo Abi-Raad" userId="08fc5628-31e7-49b7-aa1d-2f25a1b05d33" providerId="ADAL" clId="{91DF428D-10D1-344C-A879-47C8A34A3BDD}" dt="2025-03-23T02:18:00.739" v="102" actId="20577"/>
          <ac:spMkLst>
            <pc:docMk/>
            <pc:sldMk cId="3431454537" sldId="268"/>
            <ac:spMk id="5" creationId="{DCF739FF-5D14-8243-5192-FACFC1E93559}"/>
          </ac:spMkLst>
        </pc:spChg>
        <pc:spChg chg="mod">
          <ac:chgData name="Carlo Abi-Raad" userId="08fc5628-31e7-49b7-aa1d-2f25a1b05d33" providerId="ADAL" clId="{91DF428D-10D1-344C-A879-47C8A34A3BDD}" dt="2025-03-31T17:30:50.783" v="3454" actId="14100"/>
          <ac:spMkLst>
            <pc:docMk/>
            <pc:sldMk cId="3431454537" sldId="268"/>
            <ac:spMk id="7" creationId="{0FD2EB78-C867-95B1-2CEB-B8D1A1AA4BCD}"/>
          </ac:spMkLst>
        </pc:spChg>
        <pc:spChg chg="mod">
          <ac:chgData name="Carlo Abi-Raad" userId="08fc5628-31e7-49b7-aa1d-2f25a1b05d33" providerId="ADAL" clId="{91DF428D-10D1-344C-A879-47C8A34A3BDD}" dt="2025-03-31T17:50:54.619" v="3666" actId="20577"/>
          <ac:spMkLst>
            <pc:docMk/>
            <pc:sldMk cId="3431454537" sldId="268"/>
            <ac:spMk id="8" creationId="{68CE7CC8-9EFB-8325-7476-FA328AF2AF75}"/>
          </ac:spMkLst>
        </pc:spChg>
        <pc:spChg chg="mod">
          <ac:chgData name="Carlo Abi-Raad" userId="08fc5628-31e7-49b7-aa1d-2f25a1b05d33" providerId="ADAL" clId="{91DF428D-10D1-344C-A879-47C8A34A3BDD}" dt="2025-03-31T17:31:02.092" v="3456" actId="14100"/>
          <ac:spMkLst>
            <pc:docMk/>
            <pc:sldMk cId="3431454537" sldId="268"/>
            <ac:spMk id="9" creationId="{FB0B7B8C-8AB8-DB65-7949-C7393D4E7804}"/>
          </ac:spMkLst>
        </pc:spChg>
        <pc:spChg chg="mod">
          <ac:chgData name="Carlo Abi-Raad" userId="08fc5628-31e7-49b7-aa1d-2f25a1b05d33" providerId="ADAL" clId="{91DF428D-10D1-344C-A879-47C8A34A3BDD}" dt="2025-03-31T17:28:14.112" v="3440" actId="1076"/>
          <ac:spMkLst>
            <pc:docMk/>
            <pc:sldMk cId="3431454537" sldId="268"/>
            <ac:spMk id="15" creationId="{13428C1C-C0C3-74DF-062C-E56FE0DDC056}"/>
          </ac:spMkLst>
        </pc:spChg>
        <pc:spChg chg="mod">
          <ac:chgData name="Carlo Abi-Raad" userId="08fc5628-31e7-49b7-aa1d-2f25a1b05d33" providerId="ADAL" clId="{91DF428D-10D1-344C-A879-47C8A34A3BDD}" dt="2025-03-31T17:33:01.763" v="3479" actId="1076"/>
          <ac:spMkLst>
            <pc:docMk/>
            <pc:sldMk cId="3431454537" sldId="268"/>
            <ac:spMk id="17" creationId="{D5B9DF22-96AC-CF56-A0DA-8D8C079ECF54}"/>
          </ac:spMkLst>
        </pc:spChg>
        <pc:spChg chg="mod">
          <ac:chgData name="Carlo Abi-Raad" userId="08fc5628-31e7-49b7-aa1d-2f25a1b05d33" providerId="ADAL" clId="{91DF428D-10D1-344C-A879-47C8A34A3BDD}" dt="2025-03-31T17:28:08.533" v="3439" actId="1076"/>
          <ac:spMkLst>
            <pc:docMk/>
            <pc:sldMk cId="3431454537" sldId="268"/>
            <ac:spMk id="19" creationId="{C7F56107-E675-443C-E027-356671C64DE5}"/>
          </ac:spMkLst>
        </pc:spChg>
        <pc:spChg chg="mod">
          <ac:chgData name="Carlo Abi-Raad" userId="08fc5628-31e7-49b7-aa1d-2f25a1b05d33" providerId="ADAL" clId="{91DF428D-10D1-344C-A879-47C8A34A3BDD}" dt="2025-03-31T17:32:38.801" v="3476" actId="1076"/>
          <ac:spMkLst>
            <pc:docMk/>
            <pc:sldMk cId="3431454537" sldId="268"/>
            <ac:spMk id="20" creationId="{235B7C5E-48A6-CD75-6E4C-E0576D647715}"/>
          </ac:spMkLst>
        </pc:spChg>
        <pc:spChg chg="mod">
          <ac:chgData name="Carlo Abi-Raad" userId="08fc5628-31e7-49b7-aa1d-2f25a1b05d33" providerId="ADAL" clId="{91DF428D-10D1-344C-A879-47C8A34A3BDD}" dt="2025-03-31T17:27:50.679" v="3436" actId="1076"/>
          <ac:spMkLst>
            <pc:docMk/>
            <pc:sldMk cId="3431454537" sldId="268"/>
            <ac:spMk id="25" creationId="{3E8E8630-494C-111F-3104-D8E07A883EF9}"/>
          </ac:spMkLst>
        </pc:spChg>
        <pc:grpChg chg="add mod">
          <ac:chgData name="Carlo Abi-Raad" userId="08fc5628-31e7-49b7-aa1d-2f25a1b05d33" providerId="ADAL" clId="{91DF428D-10D1-344C-A879-47C8A34A3BDD}" dt="2025-03-31T04:29:40.202" v="3023" actId="1076"/>
          <ac:grpSpMkLst>
            <pc:docMk/>
            <pc:sldMk cId="3431454537" sldId="268"/>
            <ac:grpSpMk id="4" creationId="{71233B37-8B7C-67AC-399C-0B5B9DD9235A}"/>
          </ac:grpSpMkLst>
        </pc:grpChg>
        <pc:graphicFrameChg chg="mod">
          <ac:chgData name="Carlo Abi-Raad" userId="08fc5628-31e7-49b7-aa1d-2f25a1b05d33" providerId="ADAL" clId="{91DF428D-10D1-344C-A879-47C8A34A3BDD}" dt="2025-03-31T17:30:29.094" v="3453"/>
          <ac:graphicFrameMkLst>
            <pc:docMk/>
            <pc:sldMk cId="3431454537" sldId="268"/>
            <ac:graphicFrameMk id="16" creationId="{F489E969-2B7A-4EB6-1E66-31A5B280CDD4}"/>
          </ac:graphicFrameMkLst>
        </pc:graphicFrameChg>
        <pc:graphicFrameChg chg="mod">
          <ac:chgData name="Carlo Abi-Raad" userId="08fc5628-31e7-49b7-aa1d-2f25a1b05d33" providerId="ADAL" clId="{91DF428D-10D1-344C-A879-47C8A34A3BDD}" dt="2025-03-31T17:30:18.979" v="3452" actId="1076"/>
          <ac:graphicFrameMkLst>
            <pc:docMk/>
            <pc:sldMk cId="3431454537" sldId="268"/>
            <ac:graphicFrameMk id="18" creationId="{56E3D54E-E751-78E0-CEDD-E048FD756073}"/>
          </ac:graphicFrameMkLst>
        </pc:graphicFrameChg>
      </pc:sldChg>
      <pc:sldChg chg="addSp delSp modSp add mod">
        <pc:chgData name="Carlo Abi-Raad" userId="08fc5628-31e7-49b7-aa1d-2f25a1b05d33" providerId="ADAL" clId="{91DF428D-10D1-344C-A879-47C8A34A3BDD}" dt="2025-04-02T00:37:26.216" v="5264" actId="1076"/>
        <pc:sldMkLst>
          <pc:docMk/>
          <pc:sldMk cId="277559060" sldId="273"/>
        </pc:sldMkLst>
        <pc:spChg chg="mod">
          <ac:chgData name="Carlo Abi-Raad" userId="08fc5628-31e7-49b7-aa1d-2f25a1b05d33" providerId="ADAL" clId="{91DF428D-10D1-344C-A879-47C8A34A3BDD}" dt="2025-04-02T00:35:22.545" v="5263" actId="1076"/>
          <ac:spMkLst>
            <pc:docMk/>
            <pc:sldMk cId="277559060" sldId="273"/>
            <ac:spMk id="2" creationId="{206854D7-F3BF-FFCE-AD08-34A73444BF2D}"/>
          </ac:spMkLst>
        </pc:spChg>
        <pc:spChg chg="mod">
          <ac:chgData name="Carlo Abi-Raad" userId="08fc5628-31e7-49b7-aa1d-2f25a1b05d33" providerId="ADAL" clId="{91DF428D-10D1-344C-A879-47C8A34A3BDD}" dt="2025-03-23T04:16:22.043" v="351" actId="20577"/>
          <ac:spMkLst>
            <pc:docMk/>
            <pc:sldMk cId="277559060" sldId="273"/>
            <ac:spMk id="5" creationId="{A473B7AD-192E-18D1-5845-7983328B7C50}"/>
          </ac:spMkLst>
        </pc:spChg>
        <pc:spChg chg="mod">
          <ac:chgData name="Carlo Abi-Raad" userId="08fc5628-31e7-49b7-aa1d-2f25a1b05d33" providerId="ADAL" clId="{91DF428D-10D1-344C-A879-47C8A34A3BDD}" dt="2025-03-31T17:51:43.150" v="3706" actId="20577"/>
          <ac:spMkLst>
            <pc:docMk/>
            <pc:sldMk cId="277559060" sldId="273"/>
            <ac:spMk id="8" creationId="{D5DF784A-2362-4596-5069-881641CB709B}"/>
          </ac:spMkLst>
        </pc:spChg>
        <pc:graphicFrameChg chg="add mod modGraphic">
          <ac:chgData name="Carlo Abi-Raad" userId="08fc5628-31e7-49b7-aa1d-2f25a1b05d33" providerId="ADAL" clId="{91DF428D-10D1-344C-A879-47C8A34A3BDD}" dt="2025-04-02T00:34:56.187" v="5262" actId="1076"/>
          <ac:graphicFrameMkLst>
            <pc:docMk/>
            <pc:sldMk cId="277559060" sldId="273"/>
            <ac:graphicFrameMk id="4" creationId="{15760B7E-F382-EE64-EB80-5E858E6BA063}"/>
          </ac:graphicFrameMkLst>
        </pc:graphicFrameChg>
        <pc:graphicFrameChg chg="add mod modGraphic">
          <ac:chgData name="Carlo Abi-Raad" userId="08fc5628-31e7-49b7-aa1d-2f25a1b05d33" providerId="ADAL" clId="{91DF428D-10D1-344C-A879-47C8A34A3BDD}" dt="2025-04-02T00:37:26.216" v="5264" actId="1076"/>
          <ac:graphicFrameMkLst>
            <pc:docMk/>
            <pc:sldMk cId="277559060" sldId="273"/>
            <ac:graphicFrameMk id="6" creationId="{0E2F5715-B9DD-735F-B05F-89D7634A141E}"/>
          </ac:graphicFrameMkLst>
        </pc:graphicFrameChg>
      </pc:sldChg>
      <pc:sldChg chg="modSp add mod">
        <pc:chgData name="Carlo Abi-Raad" userId="08fc5628-31e7-49b7-aa1d-2f25a1b05d33" providerId="ADAL" clId="{91DF428D-10D1-344C-A879-47C8A34A3BDD}" dt="2025-03-23T16:06:24.430" v="538" actId="20577"/>
        <pc:sldMkLst>
          <pc:docMk/>
          <pc:sldMk cId="2510857932" sldId="274"/>
        </pc:sldMkLst>
      </pc:sldChg>
      <pc:sldChg chg="addSp delSp modSp add mod">
        <pc:chgData name="Carlo Abi-Raad" userId="08fc5628-31e7-49b7-aa1d-2f25a1b05d33" providerId="ADAL" clId="{91DF428D-10D1-344C-A879-47C8A34A3BDD}" dt="2025-03-24T02:27:09.539" v="1770" actId="20577"/>
        <pc:sldMkLst>
          <pc:docMk/>
          <pc:sldMk cId="4180380748" sldId="275"/>
        </pc:sldMkLst>
      </pc:sldChg>
      <pc:sldChg chg="modSp add del mod">
        <pc:chgData name="Carlo Abi-Raad" userId="08fc5628-31e7-49b7-aa1d-2f25a1b05d33" providerId="ADAL" clId="{91DF428D-10D1-344C-A879-47C8A34A3BDD}" dt="2025-03-23T16:07:25.549" v="552" actId="2696"/>
        <pc:sldMkLst>
          <pc:docMk/>
          <pc:sldMk cId="1287345788" sldId="276"/>
        </pc:sldMkLst>
      </pc:sldChg>
      <pc:sldChg chg="addSp delSp modSp add mod">
        <pc:chgData name="Carlo Abi-Raad" userId="08fc5628-31e7-49b7-aa1d-2f25a1b05d33" providerId="ADAL" clId="{91DF428D-10D1-344C-A879-47C8A34A3BDD}" dt="2025-04-01T04:03:28.297" v="4824" actId="478"/>
        <pc:sldMkLst>
          <pc:docMk/>
          <pc:sldMk cId="597480458" sldId="277"/>
        </pc:sldMkLst>
        <pc:spChg chg="add mod">
          <ac:chgData name="Carlo Abi-Raad" userId="08fc5628-31e7-49b7-aa1d-2f25a1b05d33" providerId="ADAL" clId="{91DF428D-10D1-344C-A879-47C8A34A3BDD}" dt="2025-03-31T18:17:34.689" v="3989" actId="1076"/>
          <ac:spMkLst>
            <pc:docMk/>
            <pc:sldMk cId="597480458" sldId="277"/>
            <ac:spMk id="3" creationId="{1C28AD01-8DA7-6AEE-597F-D9E9F7BB22D0}"/>
          </ac:spMkLst>
        </pc:spChg>
        <pc:spChg chg="add mod">
          <ac:chgData name="Carlo Abi-Raad" userId="08fc5628-31e7-49b7-aa1d-2f25a1b05d33" providerId="ADAL" clId="{91DF428D-10D1-344C-A879-47C8A34A3BDD}" dt="2025-03-31T18:13:59.871" v="3965" actId="164"/>
          <ac:spMkLst>
            <pc:docMk/>
            <pc:sldMk cId="597480458" sldId="277"/>
            <ac:spMk id="4" creationId="{7B801DBE-E560-BED3-4157-4EEFCD93B583}"/>
          </ac:spMkLst>
        </pc:spChg>
        <pc:spChg chg="mod">
          <ac:chgData name="Carlo Abi-Raad" userId="08fc5628-31e7-49b7-aa1d-2f25a1b05d33" providerId="ADAL" clId="{91DF428D-10D1-344C-A879-47C8A34A3BDD}" dt="2025-03-23T21:59:08.801" v="1710" actId="20577"/>
          <ac:spMkLst>
            <pc:docMk/>
            <pc:sldMk cId="597480458" sldId="277"/>
            <ac:spMk id="5" creationId="{B532CC6A-F12E-9F4E-F1C6-2DB5903707AF}"/>
          </ac:spMkLst>
        </pc:spChg>
        <pc:spChg chg="add mod">
          <ac:chgData name="Carlo Abi-Raad" userId="08fc5628-31e7-49b7-aa1d-2f25a1b05d33" providerId="ADAL" clId="{91DF428D-10D1-344C-A879-47C8A34A3BDD}" dt="2025-03-31T18:13:59.871" v="3965" actId="164"/>
          <ac:spMkLst>
            <pc:docMk/>
            <pc:sldMk cId="597480458" sldId="277"/>
            <ac:spMk id="6" creationId="{B305CBA0-F8EF-9EB2-6305-DD776B86A400}"/>
          </ac:spMkLst>
        </pc:spChg>
        <pc:spChg chg="add mod">
          <ac:chgData name="Carlo Abi-Raad" userId="08fc5628-31e7-49b7-aa1d-2f25a1b05d33" providerId="ADAL" clId="{91DF428D-10D1-344C-A879-47C8A34A3BDD}" dt="2025-03-31T18:13:59.871" v="3965" actId="164"/>
          <ac:spMkLst>
            <pc:docMk/>
            <pc:sldMk cId="597480458" sldId="277"/>
            <ac:spMk id="7" creationId="{EDAD607D-5F99-1259-E101-D4690743DCD5}"/>
          </ac:spMkLst>
        </pc:spChg>
        <pc:spChg chg="add mod">
          <ac:chgData name="Carlo Abi-Raad" userId="08fc5628-31e7-49b7-aa1d-2f25a1b05d33" providerId="ADAL" clId="{91DF428D-10D1-344C-A879-47C8A34A3BDD}" dt="2025-03-31T18:13:59.871" v="3965" actId="164"/>
          <ac:spMkLst>
            <pc:docMk/>
            <pc:sldMk cId="597480458" sldId="277"/>
            <ac:spMk id="9" creationId="{6EDEE70E-0DC8-F513-1F6B-C2753C19C907}"/>
          </ac:spMkLst>
        </pc:spChg>
        <pc:spChg chg="add mod">
          <ac:chgData name="Carlo Abi-Raad" userId="08fc5628-31e7-49b7-aa1d-2f25a1b05d33" providerId="ADAL" clId="{91DF428D-10D1-344C-A879-47C8A34A3BDD}" dt="2025-04-01T03:42:32.385" v="4778" actId="20577"/>
          <ac:spMkLst>
            <pc:docMk/>
            <pc:sldMk cId="597480458" sldId="277"/>
            <ac:spMk id="12" creationId="{38F31616-FCFE-DE44-864C-2B324BEE8779}"/>
          </ac:spMkLst>
        </pc:spChg>
        <pc:spChg chg="add mod">
          <ac:chgData name="Carlo Abi-Raad" userId="08fc5628-31e7-49b7-aa1d-2f25a1b05d33" providerId="ADAL" clId="{91DF428D-10D1-344C-A879-47C8A34A3BDD}" dt="2025-04-01T03:42:40.438" v="4794" actId="20577"/>
          <ac:spMkLst>
            <pc:docMk/>
            <pc:sldMk cId="597480458" sldId="277"/>
            <ac:spMk id="13" creationId="{089C5C09-11AF-5FD7-DB5B-29085E8CF7DF}"/>
          </ac:spMkLst>
        </pc:spChg>
        <pc:spChg chg="add mod">
          <ac:chgData name="Carlo Abi-Raad" userId="08fc5628-31e7-49b7-aa1d-2f25a1b05d33" providerId="ADAL" clId="{91DF428D-10D1-344C-A879-47C8A34A3BDD}" dt="2025-03-31T18:13:59.871" v="3965" actId="164"/>
          <ac:spMkLst>
            <pc:docMk/>
            <pc:sldMk cId="597480458" sldId="277"/>
            <ac:spMk id="14" creationId="{CAAAC3B6-9D18-E0E9-88C2-FFA164D2D544}"/>
          </ac:spMkLst>
        </pc:spChg>
        <pc:spChg chg="mod">
          <ac:chgData name="Carlo Abi-Raad" userId="08fc5628-31e7-49b7-aa1d-2f25a1b05d33" providerId="ADAL" clId="{91DF428D-10D1-344C-A879-47C8A34A3BDD}" dt="2025-03-31T18:14:43.016" v="3968" actId="1076"/>
          <ac:spMkLst>
            <pc:docMk/>
            <pc:sldMk cId="597480458" sldId="277"/>
            <ac:spMk id="16" creationId="{46F34D58-5AD0-82E0-51C4-749774147398}"/>
          </ac:spMkLst>
        </pc:spChg>
        <pc:spChg chg="mod">
          <ac:chgData name="Carlo Abi-Raad" userId="08fc5628-31e7-49b7-aa1d-2f25a1b05d33" providerId="ADAL" clId="{91DF428D-10D1-344C-A879-47C8A34A3BDD}" dt="2025-03-31T18:13:59.871" v="3965" actId="164"/>
          <ac:spMkLst>
            <pc:docMk/>
            <pc:sldMk cId="597480458" sldId="277"/>
            <ac:spMk id="21" creationId="{250294EA-09C9-AC07-E3E3-767A885DF4DE}"/>
          </ac:spMkLst>
        </pc:spChg>
        <pc:grpChg chg="mod">
          <ac:chgData name="Carlo Abi-Raad" userId="08fc5628-31e7-49b7-aa1d-2f25a1b05d33" providerId="ADAL" clId="{91DF428D-10D1-344C-A879-47C8A34A3BDD}" dt="2025-03-31T18:14:20.367" v="3967" actId="14100"/>
          <ac:grpSpMkLst>
            <pc:docMk/>
            <pc:sldMk cId="597480458" sldId="277"/>
            <ac:grpSpMk id="31" creationId="{960A68D9-DDFB-DC88-3384-2DE4A7993109}"/>
          </ac:grpSpMkLst>
        </pc:grpChg>
        <pc:graphicFrameChg chg="add del mod">
          <ac:chgData name="Carlo Abi-Raad" userId="08fc5628-31e7-49b7-aa1d-2f25a1b05d33" providerId="ADAL" clId="{91DF428D-10D1-344C-A879-47C8A34A3BDD}" dt="2025-04-01T04:03:28.297" v="4824" actId="478"/>
          <ac:graphicFrameMkLst>
            <pc:docMk/>
            <pc:sldMk cId="597480458" sldId="277"/>
            <ac:graphicFrameMk id="17" creationId="{B733A96E-DF48-22A6-1496-938451D75CBF}"/>
          </ac:graphicFrameMkLst>
        </pc:graphicFrameChg>
        <pc:graphicFrameChg chg="add mod">
          <ac:chgData name="Carlo Abi-Raad" userId="08fc5628-31e7-49b7-aa1d-2f25a1b05d33" providerId="ADAL" clId="{91DF428D-10D1-344C-A879-47C8A34A3BDD}" dt="2025-03-31T18:13:40.374" v="3963" actId="14100"/>
          <ac:graphicFrameMkLst>
            <pc:docMk/>
            <pc:sldMk cId="597480458" sldId="277"/>
            <ac:graphicFrameMk id="19" creationId="{C564B2B3-CBAC-BA4D-D555-2F61109D9B1D}"/>
          </ac:graphicFrameMkLst>
        </pc:graphicFrameChg>
        <pc:graphicFrameChg chg="add mod">
          <ac:chgData name="Carlo Abi-Raad" userId="08fc5628-31e7-49b7-aa1d-2f25a1b05d33" providerId="ADAL" clId="{91DF428D-10D1-344C-A879-47C8A34A3BDD}" dt="2025-04-01T04:03:22.237" v="4822" actId="167"/>
          <ac:graphicFrameMkLst>
            <pc:docMk/>
            <pc:sldMk cId="597480458" sldId="277"/>
            <ac:graphicFrameMk id="32" creationId="{B733A96E-DF48-22A6-1496-938451D75CBF}"/>
          </ac:graphicFrameMkLst>
        </pc:graphicFrameChg>
      </pc:sldChg>
      <pc:sldChg chg="delSp modSp add mod ord">
        <pc:chgData name="Carlo Abi-Raad" userId="08fc5628-31e7-49b7-aa1d-2f25a1b05d33" providerId="ADAL" clId="{91DF428D-10D1-344C-A879-47C8A34A3BDD}" dt="2025-03-23T16:03:02.631" v="490" actId="20577"/>
        <pc:sldMkLst>
          <pc:docMk/>
          <pc:sldMk cId="2089323016" sldId="278"/>
        </pc:sldMkLst>
      </pc:sldChg>
      <pc:sldChg chg="modSp add del mod">
        <pc:chgData name="Carlo Abi-Raad" userId="08fc5628-31e7-49b7-aa1d-2f25a1b05d33" providerId="ADAL" clId="{91DF428D-10D1-344C-A879-47C8A34A3BDD}" dt="2025-03-23T16:03:14.448" v="508" actId="20577"/>
        <pc:sldMkLst>
          <pc:docMk/>
          <pc:sldMk cId="3475239964" sldId="279"/>
        </pc:sldMkLst>
      </pc:sldChg>
      <pc:sldChg chg="modSp add del mod modShow">
        <pc:chgData name="Carlo Abi-Raad" userId="08fc5628-31e7-49b7-aa1d-2f25a1b05d33" providerId="ADAL" clId="{91DF428D-10D1-344C-A879-47C8A34A3BDD}" dt="2025-04-01T04:07:25.676" v="4833" actId="2696"/>
        <pc:sldMkLst>
          <pc:docMk/>
          <pc:sldMk cId="1631883058" sldId="280"/>
        </pc:sldMkLst>
      </pc:sldChg>
      <pc:sldChg chg="modSp new mod">
        <pc:chgData name="Carlo Abi-Raad" userId="08fc5628-31e7-49b7-aa1d-2f25a1b05d33" providerId="ADAL" clId="{91DF428D-10D1-344C-A879-47C8A34A3BDD}" dt="2025-03-23T04:21:50.891" v="441" actId="20577"/>
        <pc:sldMkLst>
          <pc:docMk/>
          <pc:sldMk cId="814861360" sldId="281"/>
        </pc:sldMkLst>
      </pc:sldChg>
      <pc:sldChg chg="modSp add mod">
        <pc:chgData name="Carlo Abi-Raad" userId="08fc5628-31e7-49b7-aa1d-2f25a1b05d33" providerId="ADAL" clId="{91DF428D-10D1-344C-A879-47C8A34A3BDD}" dt="2025-03-23T04:22:20.322" v="449" actId="20577"/>
        <pc:sldMkLst>
          <pc:docMk/>
          <pc:sldMk cId="124668998" sldId="282"/>
        </pc:sldMkLst>
      </pc:sldChg>
      <pc:sldChg chg="modSp add mod">
        <pc:chgData name="Carlo Abi-Raad" userId="08fc5628-31e7-49b7-aa1d-2f25a1b05d33" providerId="ADAL" clId="{91DF428D-10D1-344C-A879-47C8A34A3BDD}" dt="2025-03-23T16:06:48.833" v="551" actId="20577"/>
        <pc:sldMkLst>
          <pc:docMk/>
          <pc:sldMk cId="1835504632" sldId="285"/>
        </pc:sldMkLst>
      </pc:sldChg>
      <pc:sldChg chg="mod modShow">
        <pc:chgData name="Carlo Abi-Raad" userId="08fc5628-31e7-49b7-aa1d-2f25a1b05d33" providerId="ADAL" clId="{91DF428D-10D1-344C-A879-47C8A34A3BDD}" dt="2025-04-02T18:20:14.697" v="5850" actId="729"/>
        <pc:sldMkLst>
          <pc:docMk/>
          <pc:sldMk cId="4223677651" sldId="286"/>
        </pc:sldMkLst>
      </pc:sldChg>
      <pc:sldChg chg="mod modShow">
        <pc:chgData name="Carlo Abi-Raad" userId="08fc5628-31e7-49b7-aa1d-2f25a1b05d33" providerId="ADAL" clId="{91DF428D-10D1-344C-A879-47C8A34A3BDD}" dt="2025-04-02T18:20:16.758" v="5851" actId="729"/>
        <pc:sldMkLst>
          <pc:docMk/>
          <pc:sldMk cId="2231801104" sldId="287"/>
        </pc:sldMkLst>
      </pc:sldChg>
      <pc:sldChg chg="del">
        <pc:chgData name="Carlo Abi-Raad" userId="08fc5628-31e7-49b7-aa1d-2f25a1b05d33" providerId="ADAL" clId="{91DF428D-10D1-344C-A879-47C8A34A3BDD}" dt="2025-04-01T22:26:20.261" v="5094" actId="2696"/>
        <pc:sldMkLst>
          <pc:docMk/>
          <pc:sldMk cId="3164321657" sldId="291"/>
        </pc:sldMkLst>
      </pc:sldChg>
      <pc:sldChg chg="addSp delSp modSp del mod ord">
        <pc:chgData name="Carlo Abi-Raad" userId="08fc5628-31e7-49b7-aa1d-2f25a1b05d33" providerId="ADAL" clId="{91DF428D-10D1-344C-A879-47C8A34A3BDD}" dt="2025-03-31T18:39:08.781" v="4168" actId="2696"/>
        <pc:sldMkLst>
          <pc:docMk/>
          <pc:sldMk cId="2255203906" sldId="293"/>
        </pc:sldMkLst>
      </pc:sldChg>
      <pc:sldChg chg="del">
        <pc:chgData name="Carlo Abi-Raad" userId="08fc5628-31e7-49b7-aa1d-2f25a1b05d33" providerId="ADAL" clId="{91DF428D-10D1-344C-A879-47C8A34A3BDD}" dt="2025-04-01T22:25:04.495" v="5088" actId="2696"/>
        <pc:sldMkLst>
          <pc:docMk/>
          <pc:sldMk cId="1488147208" sldId="294"/>
        </pc:sldMkLst>
      </pc:sldChg>
      <pc:sldChg chg="del">
        <pc:chgData name="Carlo Abi-Raad" userId="08fc5628-31e7-49b7-aa1d-2f25a1b05d33" providerId="ADAL" clId="{91DF428D-10D1-344C-A879-47C8A34A3BDD}" dt="2025-04-01T22:25:50.478" v="5092" actId="2696"/>
        <pc:sldMkLst>
          <pc:docMk/>
          <pc:sldMk cId="3896038982" sldId="295"/>
        </pc:sldMkLst>
      </pc:sldChg>
      <pc:sldChg chg="del">
        <pc:chgData name="Carlo Abi-Raad" userId="08fc5628-31e7-49b7-aa1d-2f25a1b05d33" providerId="ADAL" clId="{91DF428D-10D1-344C-A879-47C8A34A3BDD}" dt="2025-04-01T22:25:29.218" v="5090" actId="2696"/>
        <pc:sldMkLst>
          <pc:docMk/>
          <pc:sldMk cId="3079805648" sldId="296"/>
        </pc:sldMkLst>
      </pc:sldChg>
      <pc:sldChg chg="addSp delSp modSp add mod">
        <pc:chgData name="Carlo Abi-Raad" userId="08fc5628-31e7-49b7-aa1d-2f25a1b05d33" providerId="ADAL" clId="{91DF428D-10D1-344C-A879-47C8A34A3BDD}" dt="2025-04-01T03:42:23.998" v="4767" actId="20577"/>
        <pc:sldMkLst>
          <pc:docMk/>
          <pc:sldMk cId="1532318573" sldId="297"/>
        </pc:sldMkLst>
        <pc:spChg chg="mod">
          <ac:chgData name="Carlo Abi-Raad" userId="08fc5628-31e7-49b7-aa1d-2f25a1b05d33" providerId="ADAL" clId="{91DF428D-10D1-344C-A879-47C8A34A3BDD}" dt="2025-03-28T21:18:03.056" v="1938" actId="26606"/>
          <ac:spMkLst>
            <pc:docMk/>
            <pc:sldMk cId="1532318573" sldId="297"/>
            <ac:spMk id="5" creationId="{A2CB6720-1DA2-C08F-38CF-CDFA62F62D7C}"/>
          </ac:spMkLst>
        </pc:spChg>
        <pc:spChg chg="add mod">
          <ac:chgData name="Carlo Abi-Raad" userId="08fc5628-31e7-49b7-aa1d-2f25a1b05d33" providerId="ADAL" clId="{91DF428D-10D1-344C-A879-47C8A34A3BDD}" dt="2025-03-31T18:08:24.352" v="3928" actId="1076"/>
          <ac:spMkLst>
            <pc:docMk/>
            <pc:sldMk cId="1532318573" sldId="297"/>
            <ac:spMk id="6" creationId="{295B80A9-8C8A-E1C2-3692-3195CFFCFCAE}"/>
          </ac:spMkLst>
        </pc:spChg>
        <pc:spChg chg="add mod">
          <ac:chgData name="Carlo Abi-Raad" userId="08fc5628-31e7-49b7-aa1d-2f25a1b05d33" providerId="ADAL" clId="{91DF428D-10D1-344C-A879-47C8A34A3BDD}" dt="2025-04-01T03:42:23.998" v="4767" actId="20577"/>
          <ac:spMkLst>
            <pc:docMk/>
            <pc:sldMk cId="1532318573" sldId="297"/>
            <ac:spMk id="7" creationId="{8D45687C-F7D5-4D4D-D83C-4FEBE5643BFC}"/>
          </ac:spMkLst>
        </pc:spChg>
        <pc:spChg chg="mod">
          <ac:chgData name="Carlo Abi-Raad" userId="08fc5628-31e7-49b7-aa1d-2f25a1b05d33" providerId="ADAL" clId="{91DF428D-10D1-344C-A879-47C8A34A3BDD}" dt="2025-03-31T18:03:49.690" v="3907" actId="20577"/>
          <ac:spMkLst>
            <pc:docMk/>
            <pc:sldMk cId="1532318573" sldId="297"/>
            <ac:spMk id="8" creationId="{0E7E2327-5687-5D03-C54E-52B44DBF14FD}"/>
          </ac:spMkLst>
        </pc:spChg>
        <pc:spChg chg="add">
          <ac:chgData name="Carlo Abi-Raad" userId="08fc5628-31e7-49b7-aa1d-2f25a1b05d33" providerId="ADAL" clId="{91DF428D-10D1-344C-A879-47C8A34A3BDD}" dt="2025-03-28T21:21:06.181" v="1957" actId="26606"/>
          <ac:spMkLst>
            <pc:docMk/>
            <pc:sldMk cId="1532318573" sldId="297"/>
            <ac:spMk id="18" creationId="{3303C534-B004-C2CC-11F7-6DF13FF0F52F}"/>
          </ac:spMkLst>
        </pc:spChg>
        <pc:graphicFrameChg chg="add mod">
          <ac:chgData name="Carlo Abi-Raad" userId="08fc5628-31e7-49b7-aa1d-2f25a1b05d33" providerId="ADAL" clId="{91DF428D-10D1-344C-A879-47C8A34A3BDD}" dt="2025-03-31T18:08:08.518" v="3926"/>
          <ac:graphicFrameMkLst>
            <pc:docMk/>
            <pc:sldMk cId="1532318573" sldId="297"/>
            <ac:graphicFrameMk id="4" creationId="{DB2A8D72-7CCA-CE12-3B63-E42864F5E6B7}"/>
          </ac:graphicFrameMkLst>
        </pc:graphicFrameChg>
      </pc:sldChg>
      <pc:sldChg chg="addSp delSp modSp new mod">
        <pc:chgData name="Carlo Abi-Raad" userId="08fc5628-31e7-49b7-aa1d-2f25a1b05d33" providerId="ADAL" clId="{91DF428D-10D1-344C-A879-47C8A34A3BDD}" dt="2025-04-01T03:41:19.374" v="4731" actId="113"/>
        <pc:sldMkLst>
          <pc:docMk/>
          <pc:sldMk cId="4024668292" sldId="298"/>
        </pc:sldMkLst>
        <pc:spChg chg="mod">
          <ac:chgData name="Carlo Abi-Raad" userId="08fc5628-31e7-49b7-aa1d-2f25a1b05d33" providerId="ADAL" clId="{91DF428D-10D1-344C-A879-47C8A34A3BDD}" dt="2025-04-01T03:41:19.374" v="4731" actId="113"/>
          <ac:spMkLst>
            <pc:docMk/>
            <pc:sldMk cId="4024668292" sldId="298"/>
            <ac:spMk id="8" creationId="{BED0275D-06DD-02A1-4D1E-82D720633BAE}"/>
          </ac:spMkLst>
        </pc:spChg>
      </pc:sldChg>
      <pc:sldChg chg="addSp delSp modSp mod">
        <pc:chgData name="Carlo Abi-Raad" userId="08fc5628-31e7-49b7-aa1d-2f25a1b05d33" providerId="ADAL" clId="{91DF428D-10D1-344C-A879-47C8A34A3BDD}" dt="2025-03-31T18:08:43.226" v="3931" actId="27918"/>
        <pc:sldMkLst>
          <pc:docMk/>
          <pc:sldMk cId="118660533" sldId="299"/>
        </pc:sldMkLst>
        <pc:spChg chg="mod">
          <ac:chgData name="Carlo Abi-Raad" userId="08fc5628-31e7-49b7-aa1d-2f25a1b05d33" providerId="ADAL" clId="{91DF428D-10D1-344C-A879-47C8A34A3BDD}" dt="2025-03-31T17:53:04.888" v="3737" actId="20577"/>
          <ac:spMkLst>
            <pc:docMk/>
            <pc:sldMk cId="118660533" sldId="299"/>
            <ac:spMk id="24" creationId="{3717086D-92ED-A089-BF01-8F0137C698DF}"/>
          </ac:spMkLst>
        </pc:spChg>
        <pc:spChg chg="mod">
          <ac:chgData name="Carlo Abi-Raad" userId="08fc5628-31e7-49b7-aa1d-2f25a1b05d33" providerId="ADAL" clId="{91DF428D-10D1-344C-A879-47C8A34A3BDD}" dt="2025-03-31T17:53:21.891" v="3739" actId="20577"/>
          <ac:spMkLst>
            <pc:docMk/>
            <pc:sldMk cId="118660533" sldId="299"/>
            <ac:spMk id="26" creationId="{D8521DC0-7EF5-7B17-5DE4-BBE89FD9DB72}"/>
          </ac:spMkLst>
        </pc:spChg>
        <pc:spChg chg="add">
          <ac:chgData name="Carlo Abi-Raad" userId="08fc5628-31e7-49b7-aa1d-2f25a1b05d33" providerId="ADAL" clId="{91DF428D-10D1-344C-A879-47C8A34A3BDD}" dt="2025-03-28T14:57:27.918" v="1856" actId="26606"/>
          <ac:spMkLst>
            <pc:docMk/>
            <pc:sldMk cId="118660533" sldId="299"/>
            <ac:spMk id="33" creationId="{B7F4CFC5-0D33-4A4B-FB27-56917E2D635F}"/>
          </ac:spMkLst>
        </pc:spChg>
        <pc:graphicFrameChg chg="mod">
          <ac:chgData name="Carlo Abi-Raad" userId="08fc5628-31e7-49b7-aa1d-2f25a1b05d33" providerId="ADAL" clId="{91DF428D-10D1-344C-A879-47C8A34A3BDD}" dt="2025-03-31T18:08:41.249" v="3930"/>
          <ac:graphicFrameMkLst>
            <pc:docMk/>
            <pc:sldMk cId="118660533" sldId="299"/>
            <ac:graphicFrameMk id="20" creationId="{D2B4E6FF-5AFF-6F0A-F8C8-9AC227EA7689}"/>
          </ac:graphicFrameMkLst>
        </pc:graphicFrameChg>
      </pc:sldChg>
      <pc:sldChg chg="modSp mod">
        <pc:chgData name="Carlo Abi-Raad" userId="08fc5628-31e7-49b7-aa1d-2f25a1b05d33" providerId="ADAL" clId="{91DF428D-10D1-344C-A879-47C8A34A3BDD}" dt="2025-04-02T15:28:39.169" v="5623" actId="20577"/>
        <pc:sldMkLst>
          <pc:docMk/>
          <pc:sldMk cId="951529637" sldId="300"/>
        </pc:sldMkLst>
        <pc:spChg chg="mod">
          <ac:chgData name="Carlo Abi-Raad" userId="08fc5628-31e7-49b7-aa1d-2f25a1b05d33" providerId="ADAL" clId="{91DF428D-10D1-344C-A879-47C8A34A3BDD}" dt="2025-04-02T15:28:39.169" v="5623" actId="20577"/>
          <ac:spMkLst>
            <pc:docMk/>
            <pc:sldMk cId="951529637" sldId="300"/>
            <ac:spMk id="7" creationId="{7964A91A-402C-3360-FF0D-047E8EC1046E}"/>
          </ac:spMkLst>
        </pc:spChg>
      </pc:sldChg>
      <pc:sldChg chg="delSp modSp del mod">
        <pc:chgData name="Carlo Abi-Raad" userId="08fc5628-31e7-49b7-aa1d-2f25a1b05d33" providerId="ADAL" clId="{91DF428D-10D1-344C-A879-47C8A34A3BDD}" dt="2025-03-31T17:14:53.201" v="3405" actId="2696"/>
        <pc:sldMkLst>
          <pc:docMk/>
          <pc:sldMk cId="3482756237" sldId="304"/>
        </pc:sldMkLst>
      </pc:sldChg>
      <pc:sldChg chg="del">
        <pc:chgData name="Carlo Abi-Raad" userId="08fc5628-31e7-49b7-aa1d-2f25a1b05d33" providerId="ADAL" clId="{91DF428D-10D1-344C-A879-47C8A34A3BDD}" dt="2025-04-01T22:27:12.916" v="5100" actId="2696"/>
        <pc:sldMkLst>
          <pc:docMk/>
          <pc:sldMk cId="1956212865" sldId="305"/>
        </pc:sldMkLst>
      </pc:sldChg>
      <pc:sldChg chg="modSp">
        <pc:chgData name="Carlo Abi-Raad" userId="08fc5628-31e7-49b7-aa1d-2f25a1b05d33" providerId="ADAL" clId="{91DF428D-10D1-344C-A879-47C8A34A3BDD}" dt="2025-04-02T18:15:02.788" v="5827" actId="404"/>
        <pc:sldMkLst>
          <pc:docMk/>
          <pc:sldMk cId="1580044436" sldId="306"/>
        </pc:sldMkLst>
        <pc:graphicFrameChg chg="mod">
          <ac:chgData name="Carlo Abi-Raad" userId="08fc5628-31e7-49b7-aa1d-2f25a1b05d33" providerId="ADAL" clId="{91DF428D-10D1-344C-A879-47C8A34A3BDD}" dt="2025-04-02T18:15:02.788" v="5827" actId="404"/>
          <ac:graphicFrameMkLst>
            <pc:docMk/>
            <pc:sldMk cId="1580044436" sldId="306"/>
            <ac:graphicFrameMk id="12" creationId="{4643EF8F-277F-3ACE-087A-242F66565044}"/>
          </ac:graphicFrameMkLst>
        </pc:graphicFrameChg>
      </pc:sldChg>
      <pc:sldChg chg="modSp del mod modShow">
        <pc:chgData name="Carlo Abi-Raad" userId="08fc5628-31e7-49b7-aa1d-2f25a1b05d33" providerId="ADAL" clId="{91DF428D-10D1-344C-A879-47C8A34A3BDD}" dt="2025-04-01T04:11:41.711" v="4834" actId="2696"/>
        <pc:sldMkLst>
          <pc:docMk/>
          <pc:sldMk cId="1873224028" sldId="308"/>
        </pc:sldMkLst>
      </pc:sldChg>
      <pc:sldChg chg="modSp mod setBg modShow">
        <pc:chgData name="Carlo Abi-Raad" userId="08fc5628-31e7-49b7-aa1d-2f25a1b05d33" providerId="ADAL" clId="{91DF428D-10D1-344C-A879-47C8A34A3BDD}" dt="2025-04-02T17:29:53.830" v="5731" actId="729"/>
        <pc:sldMkLst>
          <pc:docMk/>
          <pc:sldMk cId="2009459704" sldId="309"/>
        </pc:sldMkLst>
        <pc:spChg chg="mod">
          <ac:chgData name="Carlo Abi-Raad" userId="08fc5628-31e7-49b7-aa1d-2f25a1b05d33" providerId="ADAL" clId="{91DF428D-10D1-344C-A879-47C8A34A3BDD}" dt="2025-03-31T17:43:38.755" v="3561" actId="20577"/>
          <ac:spMkLst>
            <pc:docMk/>
            <pc:sldMk cId="2009459704" sldId="309"/>
            <ac:spMk id="2" creationId="{DCC9D452-8065-06D5-B704-F28CA11BCB76}"/>
          </ac:spMkLst>
        </pc:spChg>
        <pc:spChg chg="mod">
          <ac:chgData name="Carlo Abi-Raad" userId="08fc5628-31e7-49b7-aa1d-2f25a1b05d33" providerId="ADAL" clId="{91DF428D-10D1-344C-A879-47C8A34A3BDD}" dt="2025-03-31T17:43:13.329" v="3556" actId="20577"/>
          <ac:spMkLst>
            <pc:docMk/>
            <pc:sldMk cId="2009459704" sldId="309"/>
            <ac:spMk id="12" creationId="{4F699005-B1BE-794B-1617-F846515FDC0E}"/>
          </ac:spMkLst>
        </pc:spChg>
        <pc:graphicFrameChg chg="mod">
          <ac:chgData name="Carlo Abi-Raad" userId="08fc5628-31e7-49b7-aa1d-2f25a1b05d33" providerId="ADAL" clId="{91DF428D-10D1-344C-A879-47C8A34A3BDD}" dt="2025-03-31T04:17:50.848" v="2979"/>
          <ac:graphicFrameMkLst>
            <pc:docMk/>
            <pc:sldMk cId="2009459704" sldId="309"/>
            <ac:graphicFrameMk id="6" creationId="{B74DE81B-7FC9-3325-3ECE-55B0A6BBB5E5}"/>
          </ac:graphicFrameMkLst>
        </pc:graphicFrameChg>
        <pc:graphicFrameChg chg="mod">
          <ac:chgData name="Carlo Abi-Raad" userId="08fc5628-31e7-49b7-aa1d-2f25a1b05d33" providerId="ADAL" clId="{91DF428D-10D1-344C-A879-47C8A34A3BDD}" dt="2025-03-31T04:17:36.334" v="2976"/>
          <ac:graphicFrameMkLst>
            <pc:docMk/>
            <pc:sldMk cId="2009459704" sldId="309"/>
            <ac:graphicFrameMk id="16" creationId="{C48665AE-930D-5C20-11F4-08E335F5F242}"/>
          </ac:graphicFrameMkLst>
        </pc:graphicFrameChg>
        <pc:graphicFrameChg chg="mod">
          <ac:chgData name="Carlo Abi-Raad" userId="08fc5628-31e7-49b7-aa1d-2f25a1b05d33" providerId="ADAL" clId="{91DF428D-10D1-344C-A879-47C8A34A3BDD}" dt="2025-03-31T17:24:21.676" v="3431"/>
          <ac:graphicFrameMkLst>
            <pc:docMk/>
            <pc:sldMk cId="2009459704" sldId="309"/>
            <ac:graphicFrameMk id="17" creationId="{F7AC9DED-2F24-CBFB-90ED-D007AB9CF246}"/>
          </ac:graphicFrameMkLst>
        </pc:graphicFrameChg>
        <pc:graphicFrameChg chg="mod">
          <ac:chgData name="Carlo Abi-Raad" userId="08fc5628-31e7-49b7-aa1d-2f25a1b05d33" providerId="ADAL" clId="{91DF428D-10D1-344C-A879-47C8A34A3BDD}" dt="2025-03-31T04:18:07.658" v="2982"/>
          <ac:graphicFrameMkLst>
            <pc:docMk/>
            <pc:sldMk cId="2009459704" sldId="309"/>
            <ac:graphicFrameMk id="20" creationId="{25D3DC49-E1AA-4AC3-11BA-0C217BC756EE}"/>
          </ac:graphicFrameMkLst>
        </pc:graphicFrameChg>
      </pc:sldChg>
      <pc:sldChg chg="modSp mod ord modShow">
        <pc:chgData name="Carlo Abi-Raad" userId="08fc5628-31e7-49b7-aa1d-2f25a1b05d33" providerId="ADAL" clId="{91DF428D-10D1-344C-A879-47C8A34A3BDD}" dt="2025-04-01T22:25:22.825" v="5089" actId="20578"/>
        <pc:sldMkLst>
          <pc:docMk/>
          <pc:sldMk cId="1516102587" sldId="310"/>
        </pc:sldMkLst>
        <pc:spChg chg="mod">
          <ac:chgData name="Carlo Abi-Raad" userId="08fc5628-31e7-49b7-aa1d-2f25a1b05d33" providerId="ADAL" clId="{91DF428D-10D1-344C-A879-47C8A34A3BDD}" dt="2025-04-01T22:09:38.647" v="5058" actId="20577"/>
          <ac:spMkLst>
            <pc:docMk/>
            <pc:sldMk cId="1516102587" sldId="310"/>
            <ac:spMk id="4" creationId="{EDEEF137-8EAD-9219-30DD-3825F2361E46}"/>
          </ac:spMkLst>
        </pc:spChg>
      </pc:sldChg>
      <pc:sldChg chg="del">
        <pc:chgData name="Carlo Abi-Raad" userId="08fc5628-31e7-49b7-aa1d-2f25a1b05d33" providerId="ADAL" clId="{91DF428D-10D1-344C-A879-47C8A34A3BDD}" dt="2025-04-01T22:09:01.702" v="5031" actId="2696"/>
        <pc:sldMkLst>
          <pc:docMk/>
          <pc:sldMk cId="2105206661" sldId="311"/>
        </pc:sldMkLst>
      </pc:sldChg>
      <pc:sldChg chg="del">
        <pc:chgData name="Carlo Abi-Raad" userId="08fc5628-31e7-49b7-aa1d-2f25a1b05d33" providerId="ADAL" clId="{91DF428D-10D1-344C-A879-47C8A34A3BDD}" dt="2025-04-01T22:08:58.223" v="5030" actId="2696"/>
        <pc:sldMkLst>
          <pc:docMk/>
          <pc:sldMk cId="2059122757" sldId="312"/>
        </pc:sldMkLst>
      </pc:sldChg>
      <pc:sldChg chg="del">
        <pc:chgData name="Carlo Abi-Raad" userId="08fc5628-31e7-49b7-aa1d-2f25a1b05d33" providerId="ADAL" clId="{91DF428D-10D1-344C-A879-47C8A34A3BDD}" dt="2025-04-01T22:26:57.306" v="5098" actId="2696"/>
        <pc:sldMkLst>
          <pc:docMk/>
          <pc:sldMk cId="2917439392" sldId="313"/>
        </pc:sldMkLst>
      </pc:sldChg>
      <pc:sldChg chg="del">
        <pc:chgData name="Carlo Abi-Raad" userId="08fc5628-31e7-49b7-aa1d-2f25a1b05d33" providerId="ADAL" clId="{91DF428D-10D1-344C-A879-47C8A34A3BDD}" dt="2025-04-01T22:26:39.535" v="5096" actId="2696"/>
        <pc:sldMkLst>
          <pc:docMk/>
          <pc:sldMk cId="3822439845" sldId="316"/>
        </pc:sldMkLst>
      </pc:sldChg>
      <pc:sldChg chg="addSp delSp modSp mod modClrScheme chgLayout">
        <pc:chgData name="Carlo Abi-Raad" userId="08fc5628-31e7-49b7-aa1d-2f25a1b05d33" providerId="ADAL" clId="{91DF428D-10D1-344C-A879-47C8A34A3BDD}" dt="2025-03-30T03:55:55.837" v="2341" actId="14100"/>
        <pc:sldMkLst>
          <pc:docMk/>
          <pc:sldMk cId="3256984854" sldId="319"/>
        </pc:sldMkLst>
      </pc:sldChg>
      <pc:sldChg chg="modSp mod">
        <pc:chgData name="Carlo Abi-Raad" userId="08fc5628-31e7-49b7-aa1d-2f25a1b05d33" providerId="ADAL" clId="{91DF428D-10D1-344C-A879-47C8A34A3BDD}" dt="2025-04-02T01:58:46.270" v="5290" actId="1076"/>
        <pc:sldMkLst>
          <pc:docMk/>
          <pc:sldMk cId="4186388113" sldId="2159"/>
        </pc:sldMkLst>
        <pc:spChg chg="mod">
          <ac:chgData name="Carlo Abi-Raad" userId="08fc5628-31e7-49b7-aa1d-2f25a1b05d33" providerId="ADAL" clId="{91DF428D-10D1-344C-A879-47C8A34A3BDD}" dt="2025-04-02T01:58:46.270" v="5290" actId="1076"/>
          <ac:spMkLst>
            <pc:docMk/>
            <pc:sldMk cId="4186388113" sldId="2159"/>
            <ac:spMk id="3" creationId="{51FBA8F1-4436-4987-C1CA-1642B4A1E5E7}"/>
          </ac:spMkLst>
        </pc:spChg>
        <pc:spChg chg="mod">
          <ac:chgData name="Carlo Abi-Raad" userId="08fc5628-31e7-49b7-aa1d-2f25a1b05d33" providerId="ADAL" clId="{91DF428D-10D1-344C-A879-47C8A34A3BDD}" dt="2025-03-31T02:26:20.609" v="2940" actId="1076"/>
          <ac:spMkLst>
            <pc:docMk/>
            <pc:sldMk cId="4186388113" sldId="2159"/>
            <ac:spMk id="10" creationId="{57402441-9D66-44EE-B0BA-5C5443931E46}"/>
          </ac:spMkLst>
        </pc:spChg>
        <pc:spChg chg="mod">
          <ac:chgData name="Carlo Abi-Raad" userId="08fc5628-31e7-49b7-aa1d-2f25a1b05d33" providerId="ADAL" clId="{91DF428D-10D1-344C-A879-47C8A34A3BDD}" dt="2025-04-02T01:58:46.270" v="5290" actId="1076"/>
          <ac:spMkLst>
            <pc:docMk/>
            <pc:sldMk cId="4186388113" sldId="2159"/>
            <ac:spMk id="12" creationId="{3C58E064-3E33-6A8E-BAFF-2400D3B7A35B}"/>
          </ac:spMkLst>
        </pc:spChg>
        <pc:grpChg chg="mod">
          <ac:chgData name="Carlo Abi-Raad" userId="08fc5628-31e7-49b7-aa1d-2f25a1b05d33" providerId="ADAL" clId="{91DF428D-10D1-344C-A879-47C8A34A3BDD}" dt="2025-04-02T01:58:46.270" v="5290" actId="1076"/>
          <ac:grpSpMkLst>
            <pc:docMk/>
            <pc:sldMk cId="4186388113" sldId="2159"/>
            <ac:grpSpMk id="2" creationId="{6D7E9966-274F-69E7-780C-A84D79BF24AD}"/>
          </ac:grpSpMkLst>
        </pc:grpChg>
        <pc:grpChg chg="mod">
          <ac:chgData name="Carlo Abi-Raad" userId="08fc5628-31e7-49b7-aa1d-2f25a1b05d33" providerId="ADAL" clId="{91DF428D-10D1-344C-A879-47C8A34A3BDD}" dt="2025-04-02T01:58:46.270" v="5290" actId="1076"/>
          <ac:grpSpMkLst>
            <pc:docMk/>
            <pc:sldMk cId="4186388113" sldId="2159"/>
            <ac:grpSpMk id="6" creationId="{B86CB86B-A2A2-E129-D45C-BC79A605FE32}"/>
          </ac:grpSpMkLst>
        </pc:grpChg>
        <pc:picChg chg="mod">
          <ac:chgData name="Carlo Abi-Raad" userId="08fc5628-31e7-49b7-aa1d-2f25a1b05d33" providerId="ADAL" clId="{91DF428D-10D1-344C-A879-47C8A34A3BDD}" dt="2025-04-02T01:58:46.270" v="5290" actId="1076"/>
          <ac:picMkLst>
            <pc:docMk/>
            <pc:sldMk cId="4186388113" sldId="2159"/>
            <ac:picMk id="13" creationId="{5137E24B-FE5B-AFE5-0BEA-D6D25ED31CC9}"/>
          </ac:picMkLst>
        </pc:picChg>
        <pc:picChg chg="mod">
          <ac:chgData name="Carlo Abi-Raad" userId="08fc5628-31e7-49b7-aa1d-2f25a1b05d33" providerId="ADAL" clId="{91DF428D-10D1-344C-A879-47C8A34A3BDD}" dt="2025-04-02T01:58:46.270" v="5290" actId="1076"/>
          <ac:picMkLst>
            <pc:docMk/>
            <pc:sldMk cId="4186388113" sldId="2159"/>
            <ac:picMk id="14" creationId="{6E343014-C0C7-5F2E-3DF2-8012BC55436E}"/>
          </ac:picMkLst>
        </pc:picChg>
      </pc:sldChg>
      <pc:sldChg chg="add">
        <pc:chgData name="Carlo Abi-Raad" userId="08fc5628-31e7-49b7-aa1d-2f25a1b05d33" providerId="ADAL" clId="{91DF428D-10D1-344C-A879-47C8A34A3BDD}" dt="2025-03-26T02:59:13.418" v="1774" actId="2890"/>
        <pc:sldMkLst>
          <pc:docMk/>
          <pc:sldMk cId="3634952081" sldId="2167"/>
        </pc:sldMkLst>
      </pc:sldChg>
      <pc:sldChg chg="addSp delSp modSp add mod">
        <pc:chgData name="Carlo Abi-Raad" userId="08fc5628-31e7-49b7-aa1d-2f25a1b05d33" providerId="ADAL" clId="{91DF428D-10D1-344C-A879-47C8A34A3BDD}" dt="2025-03-26T03:01:27.304" v="1789" actId="14100"/>
        <pc:sldMkLst>
          <pc:docMk/>
          <pc:sldMk cId="3761259953" sldId="2168"/>
        </pc:sldMkLst>
      </pc:sldChg>
      <pc:sldChg chg="addSp delSp modSp mod">
        <pc:chgData name="Carlo Abi-Raad" userId="08fc5628-31e7-49b7-aa1d-2f25a1b05d33" providerId="ADAL" clId="{91DF428D-10D1-344C-A879-47C8A34A3BDD}" dt="2025-04-02T18:25:06.717" v="5880" actId="20577"/>
        <pc:sldMkLst>
          <pc:docMk/>
          <pc:sldMk cId="1597446827" sldId="2169"/>
        </pc:sldMkLst>
        <pc:spChg chg="mod">
          <ac:chgData name="Carlo Abi-Raad" userId="08fc5628-31e7-49b7-aa1d-2f25a1b05d33" providerId="ADAL" clId="{91DF428D-10D1-344C-A879-47C8A34A3BDD}" dt="2025-03-31T17:56:14.578" v="3798" actId="20577"/>
          <ac:spMkLst>
            <pc:docMk/>
            <pc:sldMk cId="1597446827" sldId="2169"/>
            <ac:spMk id="2" creationId="{4F3717A4-9ABC-271C-3A27-71B7FE55F92C}"/>
          </ac:spMkLst>
        </pc:spChg>
        <pc:spChg chg="mod">
          <ac:chgData name="Carlo Abi-Raad" userId="08fc5628-31e7-49b7-aa1d-2f25a1b05d33" providerId="ADAL" clId="{91DF428D-10D1-344C-A879-47C8A34A3BDD}" dt="2025-03-31T17:53:32.099" v="3741" actId="20577"/>
          <ac:spMkLst>
            <pc:docMk/>
            <pc:sldMk cId="1597446827" sldId="2169"/>
            <ac:spMk id="4" creationId="{507FBD7F-F1CF-A59D-966A-DC0EB63953CE}"/>
          </ac:spMkLst>
        </pc:spChg>
        <pc:spChg chg="add mod">
          <ac:chgData name="Carlo Abi-Raad" userId="08fc5628-31e7-49b7-aa1d-2f25a1b05d33" providerId="ADAL" clId="{91DF428D-10D1-344C-A879-47C8A34A3BDD}" dt="2025-03-31T17:59:36.784" v="3815" actId="20577"/>
          <ac:spMkLst>
            <pc:docMk/>
            <pc:sldMk cId="1597446827" sldId="2169"/>
            <ac:spMk id="6" creationId="{F44CCC8D-A049-8CFA-AF50-C0A32D4869AD}"/>
          </ac:spMkLst>
        </pc:spChg>
        <pc:spChg chg="add mod">
          <ac:chgData name="Carlo Abi-Raad" userId="08fc5628-31e7-49b7-aa1d-2f25a1b05d33" providerId="ADAL" clId="{91DF428D-10D1-344C-A879-47C8A34A3BDD}" dt="2025-04-02T18:25:06.717" v="5880" actId="20577"/>
          <ac:spMkLst>
            <pc:docMk/>
            <pc:sldMk cId="1597446827" sldId="2169"/>
            <ac:spMk id="8" creationId="{15C17B50-E65D-39B1-ED71-D64F5E2D4E57}"/>
          </ac:spMkLst>
        </pc:spChg>
        <pc:spChg chg="add del mod">
          <ac:chgData name="Carlo Abi-Raad" userId="08fc5628-31e7-49b7-aa1d-2f25a1b05d33" providerId="ADAL" clId="{91DF428D-10D1-344C-A879-47C8A34A3BDD}" dt="2025-04-01T03:42:17.701" v="4756" actId="20577"/>
          <ac:spMkLst>
            <pc:docMk/>
            <pc:sldMk cId="1597446827" sldId="2169"/>
            <ac:spMk id="9" creationId="{70BFD911-72FB-6E15-5C3D-0D636248B2B7}"/>
          </ac:spMkLst>
        </pc:spChg>
        <pc:graphicFrameChg chg="add mod">
          <ac:chgData name="Carlo Abi-Raad" userId="08fc5628-31e7-49b7-aa1d-2f25a1b05d33" providerId="ADAL" clId="{91DF428D-10D1-344C-A879-47C8A34A3BDD}" dt="2025-03-31T18:06:20.131" v="3916" actId="2711"/>
          <ac:graphicFrameMkLst>
            <pc:docMk/>
            <pc:sldMk cId="1597446827" sldId="2169"/>
            <ac:graphicFrameMk id="7" creationId="{114C8F58-CFE5-A3A3-CD3F-057CA571B4C4}"/>
          </ac:graphicFrameMkLst>
        </pc:graphicFrameChg>
      </pc:sldChg>
      <pc:sldChg chg="modSp mod">
        <pc:chgData name="Carlo Abi-Raad" userId="08fc5628-31e7-49b7-aa1d-2f25a1b05d33" providerId="ADAL" clId="{91DF428D-10D1-344C-A879-47C8A34A3BDD}" dt="2025-04-02T16:40:30.683" v="5693" actId="20577"/>
        <pc:sldMkLst>
          <pc:docMk/>
          <pc:sldMk cId="711477750" sldId="2171"/>
        </pc:sldMkLst>
        <pc:spChg chg="mod">
          <ac:chgData name="Carlo Abi-Raad" userId="08fc5628-31e7-49b7-aa1d-2f25a1b05d33" providerId="ADAL" clId="{91DF428D-10D1-344C-A879-47C8A34A3BDD}" dt="2025-04-02T16:40:30.683" v="5693" actId="20577"/>
          <ac:spMkLst>
            <pc:docMk/>
            <pc:sldMk cId="711477750" sldId="2171"/>
            <ac:spMk id="10" creationId="{9FB5ACA8-4C57-02E1-B71F-D1FBB9D93F5E}"/>
          </ac:spMkLst>
        </pc:spChg>
      </pc:sldChg>
      <pc:sldChg chg="modSp mod">
        <pc:chgData name="Carlo Abi-Raad" userId="08fc5628-31e7-49b7-aa1d-2f25a1b05d33" providerId="ADAL" clId="{91DF428D-10D1-344C-A879-47C8A34A3BDD}" dt="2025-04-02T15:42:00.612" v="5689" actId="20577"/>
        <pc:sldMkLst>
          <pc:docMk/>
          <pc:sldMk cId="2071243324" sldId="2172"/>
        </pc:sldMkLst>
        <pc:spChg chg="mod">
          <ac:chgData name="Carlo Abi-Raad" userId="08fc5628-31e7-49b7-aa1d-2f25a1b05d33" providerId="ADAL" clId="{91DF428D-10D1-344C-A879-47C8A34A3BDD}" dt="2025-04-02T15:41:58.796" v="5687" actId="20577"/>
          <ac:spMkLst>
            <pc:docMk/>
            <pc:sldMk cId="2071243324" sldId="2172"/>
            <ac:spMk id="11" creationId="{581E4F0D-E128-846B-0A12-9013885E55C7}"/>
          </ac:spMkLst>
        </pc:spChg>
        <pc:spChg chg="mod">
          <ac:chgData name="Carlo Abi-Raad" userId="08fc5628-31e7-49b7-aa1d-2f25a1b05d33" providerId="ADAL" clId="{91DF428D-10D1-344C-A879-47C8A34A3BDD}" dt="2025-04-02T15:41:56.678" v="5685" actId="20577"/>
          <ac:spMkLst>
            <pc:docMk/>
            <pc:sldMk cId="2071243324" sldId="2172"/>
            <ac:spMk id="18" creationId="{29DD47B3-1997-F5B2-6357-28696CF1D936}"/>
          </ac:spMkLst>
        </pc:spChg>
        <pc:spChg chg="mod">
          <ac:chgData name="Carlo Abi-Raad" userId="08fc5628-31e7-49b7-aa1d-2f25a1b05d33" providerId="ADAL" clId="{91DF428D-10D1-344C-A879-47C8A34A3BDD}" dt="2025-04-02T15:42:00.612" v="5689" actId="20577"/>
          <ac:spMkLst>
            <pc:docMk/>
            <pc:sldMk cId="2071243324" sldId="2172"/>
            <ac:spMk id="22" creationId="{A236C730-5CFE-FC50-81BB-7A18C720D59C}"/>
          </ac:spMkLst>
        </pc:spChg>
        <pc:graphicFrameChg chg="mod">
          <ac:chgData name="Carlo Abi-Raad" userId="08fc5628-31e7-49b7-aa1d-2f25a1b05d33" providerId="ADAL" clId="{91DF428D-10D1-344C-A879-47C8A34A3BDD}" dt="2025-04-02T05:02:32.625" v="5612"/>
          <ac:graphicFrameMkLst>
            <pc:docMk/>
            <pc:sldMk cId="2071243324" sldId="2172"/>
            <ac:graphicFrameMk id="5" creationId="{87C82FE1-36FF-45D5-4F0F-93365C62F5B7}"/>
          </ac:graphicFrameMkLst>
        </pc:graphicFrameChg>
      </pc:sldChg>
      <pc:sldChg chg="modSp mod">
        <pc:chgData name="Carlo Abi-Raad" userId="08fc5628-31e7-49b7-aa1d-2f25a1b05d33" providerId="ADAL" clId="{91DF428D-10D1-344C-A879-47C8A34A3BDD}" dt="2025-04-02T18:03:11.067" v="5782" actId="20577"/>
        <pc:sldMkLst>
          <pc:docMk/>
          <pc:sldMk cId="99878240" sldId="2174"/>
        </pc:sldMkLst>
        <pc:graphicFrameChg chg="mod modGraphic">
          <ac:chgData name="Carlo Abi-Raad" userId="08fc5628-31e7-49b7-aa1d-2f25a1b05d33" providerId="ADAL" clId="{91DF428D-10D1-344C-A879-47C8A34A3BDD}" dt="2025-04-02T18:03:11.067" v="5782" actId="20577"/>
          <ac:graphicFrameMkLst>
            <pc:docMk/>
            <pc:sldMk cId="99878240" sldId="2174"/>
            <ac:graphicFrameMk id="19" creationId="{13859A5B-7537-8969-C37D-60AC46A8A97C}"/>
          </ac:graphicFrameMkLst>
        </pc:graphicFrameChg>
      </pc:sldChg>
      <pc:sldChg chg="del">
        <pc:chgData name="Carlo Abi-Raad" userId="08fc5628-31e7-49b7-aa1d-2f25a1b05d33" providerId="ADAL" clId="{91DF428D-10D1-344C-A879-47C8A34A3BDD}" dt="2025-04-02T18:09:22.309" v="5814" actId="2696"/>
        <pc:sldMkLst>
          <pc:docMk/>
          <pc:sldMk cId="2597588365" sldId="2177"/>
        </pc:sldMkLst>
      </pc:sldChg>
      <pc:sldChg chg="modSp del mod">
        <pc:chgData name="Carlo Abi-Raad" userId="08fc5628-31e7-49b7-aa1d-2f25a1b05d33" providerId="ADAL" clId="{91DF428D-10D1-344C-A879-47C8A34A3BDD}" dt="2025-03-30T03:37:42.131" v="2187" actId="2696"/>
        <pc:sldMkLst>
          <pc:docMk/>
          <pc:sldMk cId="2659664152" sldId="2188"/>
        </pc:sldMkLst>
      </pc:sldChg>
      <pc:sldChg chg="addSp delSp modSp new mod ord modClrScheme chgLayout">
        <pc:chgData name="Carlo Abi-Raad" userId="08fc5628-31e7-49b7-aa1d-2f25a1b05d33" providerId="ADAL" clId="{91DF428D-10D1-344C-A879-47C8A34A3BDD}" dt="2025-04-01T03:43:16.677" v="4805" actId="20577"/>
        <pc:sldMkLst>
          <pc:docMk/>
          <pc:sldMk cId="3476286386" sldId="2192"/>
        </pc:sldMkLst>
        <pc:spChg chg="add mod">
          <ac:chgData name="Carlo Abi-Raad" userId="08fc5628-31e7-49b7-aa1d-2f25a1b05d33" providerId="ADAL" clId="{91DF428D-10D1-344C-A879-47C8A34A3BDD}" dt="2025-04-01T03:43:16.677" v="4805" actId="20577"/>
          <ac:spMkLst>
            <pc:docMk/>
            <pc:sldMk cId="3476286386" sldId="2192"/>
            <ac:spMk id="9" creationId="{BEBFCC7A-578B-BFF3-3E7A-E6445392F6D1}"/>
          </ac:spMkLst>
        </pc:spChg>
      </pc:sldChg>
      <pc:sldChg chg="addSp delSp modSp new mod ord">
        <pc:chgData name="Carlo Abi-Raad" userId="08fc5628-31e7-49b7-aa1d-2f25a1b05d33" providerId="ADAL" clId="{91DF428D-10D1-344C-A879-47C8A34A3BDD}" dt="2025-03-30T04:29:52.606" v="2469" actId="1076"/>
        <pc:sldMkLst>
          <pc:docMk/>
          <pc:sldMk cId="2401392241" sldId="2193"/>
        </pc:sldMkLst>
      </pc:sldChg>
      <pc:sldChg chg="addSp delSp modSp add mod">
        <pc:chgData name="Carlo Abi-Raad" userId="08fc5628-31e7-49b7-aa1d-2f25a1b05d33" providerId="ADAL" clId="{91DF428D-10D1-344C-A879-47C8A34A3BDD}" dt="2025-03-30T03:58:39.264" v="2360" actId="14100"/>
        <pc:sldMkLst>
          <pc:docMk/>
          <pc:sldMk cId="3718335028" sldId="2194"/>
        </pc:sldMkLst>
      </pc:sldChg>
      <pc:sldChg chg="addSp delSp modSp add mod">
        <pc:chgData name="Carlo Abi-Raad" userId="08fc5628-31e7-49b7-aa1d-2f25a1b05d33" providerId="ADAL" clId="{91DF428D-10D1-344C-A879-47C8A34A3BDD}" dt="2025-03-30T04:00:00.755" v="2366" actId="14100"/>
        <pc:sldMkLst>
          <pc:docMk/>
          <pc:sldMk cId="2957441576" sldId="2195"/>
        </pc:sldMkLst>
      </pc:sldChg>
      <pc:sldChg chg="addSp delSp modSp add mod">
        <pc:chgData name="Carlo Abi-Raad" userId="08fc5628-31e7-49b7-aa1d-2f25a1b05d33" providerId="ADAL" clId="{91DF428D-10D1-344C-A879-47C8A34A3BDD}" dt="2025-03-30T04:04:42.629" v="2369"/>
        <pc:sldMkLst>
          <pc:docMk/>
          <pc:sldMk cId="2038889512" sldId="2196"/>
        </pc:sldMkLst>
      </pc:sldChg>
      <pc:sldChg chg="addSp delSp modSp add mod setBg">
        <pc:chgData name="Carlo Abi-Raad" userId="08fc5628-31e7-49b7-aa1d-2f25a1b05d33" providerId="ADAL" clId="{91DF428D-10D1-344C-A879-47C8A34A3BDD}" dt="2025-03-30T04:37:00.704" v="2471" actId="1076"/>
        <pc:sldMkLst>
          <pc:docMk/>
          <pc:sldMk cId="580168930" sldId="2197"/>
        </pc:sldMkLst>
      </pc:sldChg>
      <pc:sldChg chg="addSp delSp modSp add mod">
        <pc:chgData name="Carlo Abi-Raad" userId="08fc5628-31e7-49b7-aa1d-2f25a1b05d33" providerId="ADAL" clId="{91DF428D-10D1-344C-A879-47C8A34A3BDD}" dt="2025-03-30T04:37:10.197" v="2472" actId="1076"/>
        <pc:sldMkLst>
          <pc:docMk/>
          <pc:sldMk cId="804543693" sldId="2198"/>
        </pc:sldMkLst>
      </pc:sldChg>
      <pc:sldChg chg="addSp delSp modSp add mod">
        <pc:chgData name="Carlo Abi-Raad" userId="08fc5628-31e7-49b7-aa1d-2f25a1b05d33" providerId="ADAL" clId="{91DF428D-10D1-344C-A879-47C8A34A3BDD}" dt="2025-03-30T04:37:16.753" v="2473" actId="1076"/>
        <pc:sldMkLst>
          <pc:docMk/>
          <pc:sldMk cId="3347741321" sldId="2199"/>
        </pc:sldMkLst>
      </pc:sldChg>
      <pc:sldChg chg="modSp add mod">
        <pc:chgData name="Carlo Abi-Raad" userId="08fc5628-31e7-49b7-aa1d-2f25a1b05d33" providerId="ADAL" clId="{91DF428D-10D1-344C-A879-47C8A34A3BDD}" dt="2025-03-31T17:49:43.321" v="3602" actId="20577"/>
        <pc:sldMkLst>
          <pc:docMk/>
          <pc:sldMk cId="1378877601" sldId="2200"/>
        </pc:sldMkLst>
        <pc:spChg chg="mod">
          <ac:chgData name="Carlo Abi-Raad" userId="08fc5628-31e7-49b7-aa1d-2f25a1b05d33" providerId="ADAL" clId="{91DF428D-10D1-344C-A879-47C8A34A3BDD}" dt="2025-03-31T17:49:43.321" v="3602" actId="20577"/>
          <ac:spMkLst>
            <pc:docMk/>
            <pc:sldMk cId="1378877601" sldId="2200"/>
            <ac:spMk id="8" creationId="{7802DBC8-A99C-3EEF-F18E-44B34E4BDE6C}"/>
          </ac:spMkLst>
        </pc:spChg>
      </pc:sldChg>
      <pc:sldChg chg="add del setBg">
        <pc:chgData name="Carlo Abi-Raad" userId="08fc5628-31e7-49b7-aa1d-2f25a1b05d33" providerId="ADAL" clId="{91DF428D-10D1-344C-A879-47C8A34A3BDD}" dt="2025-03-30T04:18:19.791" v="2458" actId="2696"/>
        <pc:sldMkLst>
          <pc:docMk/>
          <pc:sldMk cId="1798678138" sldId="2201"/>
        </pc:sldMkLst>
      </pc:sldChg>
      <pc:sldChg chg="modSp mod">
        <pc:chgData name="Carlo Abi-Raad" userId="08fc5628-31e7-49b7-aa1d-2f25a1b05d33" providerId="ADAL" clId="{91DF428D-10D1-344C-A879-47C8A34A3BDD}" dt="2025-04-01T04:05:32.913" v="4830" actId="20577"/>
        <pc:sldMkLst>
          <pc:docMk/>
          <pc:sldMk cId="2575535093" sldId="2201"/>
        </pc:sldMkLst>
        <pc:spChg chg="mod">
          <ac:chgData name="Carlo Abi-Raad" userId="08fc5628-31e7-49b7-aa1d-2f25a1b05d33" providerId="ADAL" clId="{91DF428D-10D1-344C-A879-47C8A34A3BDD}" dt="2025-03-31T20:39:13.639" v="4475" actId="20577"/>
          <ac:spMkLst>
            <pc:docMk/>
            <pc:sldMk cId="2575535093" sldId="2201"/>
            <ac:spMk id="22" creationId="{3A002684-B26A-3397-50C0-D3C485184040}"/>
          </ac:spMkLst>
        </pc:spChg>
        <pc:spChg chg="mod">
          <ac:chgData name="Carlo Abi-Raad" userId="08fc5628-31e7-49b7-aa1d-2f25a1b05d33" providerId="ADAL" clId="{91DF428D-10D1-344C-A879-47C8A34A3BDD}" dt="2025-04-01T04:05:32.913" v="4830" actId="20577"/>
          <ac:spMkLst>
            <pc:docMk/>
            <pc:sldMk cId="2575535093" sldId="2201"/>
            <ac:spMk id="23" creationId="{FB82E0CE-59FE-248B-1458-860656293F9C}"/>
          </ac:spMkLst>
        </pc:spChg>
        <pc:spChg chg="mod">
          <ac:chgData name="Carlo Abi-Raad" userId="08fc5628-31e7-49b7-aa1d-2f25a1b05d33" providerId="ADAL" clId="{91DF428D-10D1-344C-A879-47C8A34A3BDD}" dt="2025-03-31T20:35:24.942" v="4322" actId="1076"/>
          <ac:spMkLst>
            <pc:docMk/>
            <pc:sldMk cId="2575535093" sldId="2201"/>
            <ac:spMk id="29" creationId="{740AAE53-17B5-5B01-4A9D-DB73A4479027}"/>
          </ac:spMkLst>
        </pc:spChg>
      </pc:sldChg>
      <pc:sldChg chg="addSp delSp modSp add mod setBg modClrScheme modShow chgLayout">
        <pc:chgData name="Carlo Abi-Raad" userId="08fc5628-31e7-49b7-aa1d-2f25a1b05d33" providerId="ADAL" clId="{91DF428D-10D1-344C-A879-47C8A34A3BDD}" dt="2025-03-31T01:14:38.242" v="2878" actId="729"/>
        <pc:sldMkLst>
          <pc:docMk/>
          <pc:sldMk cId="2406508181" sldId="2208"/>
        </pc:sldMkLst>
      </pc:sldChg>
      <pc:sldChg chg="modSp mod">
        <pc:chgData name="Carlo Abi-Raad" userId="08fc5628-31e7-49b7-aa1d-2f25a1b05d33" providerId="ADAL" clId="{91DF428D-10D1-344C-A879-47C8A34A3BDD}" dt="2025-04-02T16:49:07.900" v="5700" actId="207"/>
        <pc:sldMkLst>
          <pc:docMk/>
          <pc:sldMk cId="2512498619" sldId="2209"/>
        </pc:sldMkLst>
        <pc:spChg chg="mod">
          <ac:chgData name="Carlo Abi-Raad" userId="08fc5628-31e7-49b7-aa1d-2f25a1b05d33" providerId="ADAL" clId="{91DF428D-10D1-344C-A879-47C8A34A3BDD}" dt="2025-04-02T16:49:07.900" v="5700" actId="207"/>
          <ac:spMkLst>
            <pc:docMk/>
            <pc:sldMk cId="2512498619" sldId="2209"/>
            <ac:spMk id="7" creationId="{FCF3EAE4-0A48-550E-437F-A10A9056A31E}"/>
          </ac:spMkLst>
        </pc:spChg>
      </pc:sldChg>
      <pc:sldChg chg="addSp delSp modSp mod">
        <pc:chgData name="Carlo Abi-Raad" userId="08fc5628-31e7-49b7-aa1d-2f25a1b05d33" providerId="ADAL" clId="{91DF428D-10D1-344C-A879-47C8A34A3BDD}" dt="2025-04-02T18:13:49.037" v="5825" actId="692"/>
        <pc:sldMkLst>
          <pc:docMk/>
          <pc:sldMk cId="769096934" sldId="2210"/>
        </pc:sldMkLst>
        <pc:spChg chg="mod">
          <ac:chgData name="Carlo Abi-Raad" userId="08fc5628-31e7-49b7-aa1d-2f25a1b05d33" providerId="ADAL" clId="{91DF428D-10D1-344C-A879-47C8A34A3BDD}" dt="2025-03-31T18:18:43.404" v="3990" actId="2711"/>
          <ac:spMkLst>
            <pc:docMk/>
            <pc:sldMk cId="769096934" sldId="2210"/>
            <ac:spMk id="4" creationId="{02B43A25-29E4-C991-1B53-F018B1F4A080}"/>
          </ac:spMkLst>
        </pc:spChg>
        <pc:spChg chg="mod">
          <ac:chgData name="Carlo Abi-Raad" userId="08fc5628-31e7-49b7-aa1d-2f25a1b05d33" providerId="ADAL" clId="{91DF428D-10D1-344C-A879-47C8A34A3BDD}" dt="2025-03-31T03:50:30.445" v="2943" actId="207"/>
          <ac:spMkLst>
            <pc:docMk/>
            <pc:sldMk cId="769096934" sldId="2210"/>
            <ac:spMk id="6" creationId="{4B7DB092-683D-6256-1958-DDA729BDCC59}"/>
          </ac:spMkLst>
        </pc:spChg>
        <pc:spChg chg="mod">
          <ac:chgData name="Carlo Abi-Raad" userId="08fc5628-31e7-49b7-aa1d-2f25a1b05d33" providerId="ADAL" clId="{91DF428D-10D1-344C-A879-47C8A34A3BDD}" dt="2025-03-31T17:22:25.849" v="3419" actId="14100"/>
          <ac:spMkLst>
            <pc:docMk/>
            <pc:sldMk cId="769096934" sldId="2210"/>
            <ac:spMk id="10" creationId="{E0E00BEC-57BF-3B24-0ED4-00223DE44ADB}"/>
          </ac:spMkLst>
        </pc:spChg>
        <pc:spChg chg="mod">
          <ac:chgData name="Carlo Abi-Raad" userId="08fc5628-31e7-49b7-aa1d-2f25a1b05d33" providerId="ADAL" clId="{91DF428D-10D1-344C-A879-47C8A34A3BDD}" dt="2025-03-31T17:22:40.218" v="3420" actId="1076"/>
          <ac:spMkLst>
            <pc:docMk/>
            <pc:sldMk cId="769096934" sldId="2210"/>
            <ac:spMk id="11" creationId="{70CC154B-462F-66BC-A323-AEE01C5A9DAE}"/>
          </ac:spMkLst>
        </pc:spChg>
        <pc:grpChg chg="add mod">
          <ac:chgData name="Carlo Abi-Raad" userId="08fc5628-31e7-49b7-aa1d-2f25a1b05d33" providerId="ADAL" clId="{91DF428D-10D1-344C-A879-47C8A34A3BDD}" dt="2025-03-31T01:12:09.632" v="2872" actId="164"/>
          <ac:grpSpMkLst>
            <pc:docMk/>
            <pc:sldMk cId="769096934" sldId="2210"/>
            <ac:grpSpMk id="9" creationId="{9BE95248-A4BE-F4CA-E189-02FDF4C03AD2}"/>
          </ac:grpSpMkLst>
        </pc:grpChg>
        <pc:grpChg chg="add mod">
          <ac:chgData name="Carlo Abi-Raad" userId="08fc5628-31e7-49b7-aa1d-2f25a1b05d33" providerId="ADAL" clId="{91DF428D-10D1-344C-A879-47C8A34A3BDD}" dt="2025-03-31T17:20:35.499" v="3410" actId="1076"/>
          <ac:grpSpMkLst>
            <pc:docMk/>
            <pc:sldMk cId="769096934" sldId="2210"/>
            <ac:grpSpMk id="13" creationId="{EF8AB33B-733A-F81D-4C0B-46B9A69AAC71}"/>
          </ac:grpSpMkLst>
        </pc:grpChg>
        <pc:graphicFrameChg chg="add mod">
          <ac:chgData name="Carlo Abi-Raad" userId="08fc5628-31e7-49b7-aa1d-2f25a1b05d33" providerId="ADAL" clId="{91DF428D-10D1-344C-A879-47C8A34A3BDD}" dt="2025-04-02T18:13:49.037" v="5825" actId="692"/>
          <ac:graphicFrameMkLst>
            <pc:docMk/>
            <pc:sldMk cId="769096934" sldId="2210"/>
            <ac:graphicFrameMk id="8" creationId="{D32D1A77-0C79-FEB7-48EC-42CC2EBE64E8}"/>
          </ac:graphicFrameMkLst>
        </pc:graphicFrameChg>
      </pc:sldChg>
      <pc:sldChg chg="new del">
        <pc:chgData name="Carlo Abi-Raad" userId="08fc5628-31e7-49b7-aa1d-2f25a1b05d33" providerId="ADAL" clId="{91DF428D-10D1-344C-A879-47C8A34A3BDD}" dt="2025-03-31T01:23:11.783" v="2891" actId="680"/>
        <pc:sldMkLst>
          <pc:docMk/>
          <pc:sldMk cId="1609112338" sldId="2212"/>
        </pc:sldMkLst>
      </pc:sldChg>
      <pc:sldChg chg="addSp delSp modSp new mod modClrScheme chgLayout">
        <pc:chgData name="Carlo Abi-Raad" userId="08fc5628-31e7-49b7-aa1d-2f25a1b05d33" providerId="ADAL" clId="{91DF428D-10D1-344C-A879-47C8A34A3BDD}" dt="2025-04-02T18:12:51.420" v="5817" actId="692"/>
        <pc:sldMkLst>
          <pc:docMk/>
          <pc:sldMk cId="1933953106" sldId="2212"/>
        </pc:sldMkLst>
        <pc:spChg chg="mod ord">
          <ac:chgData name="Carlo Abi-Raad" userId="08fc5628-31e7-49b7-aa1d-2f25a1b05d33" providerId="ADAL" clId="{91DF428D-10D1-344C-A879-47C8A34A3BDD}" dt="2025-03-31T17:40:31.033" v="3526" actId="108"/>
          <ac:spMkLst>
            <pc:docMk/>
            <pc:sldMk cId="1933953106" sldId="2212"/>
            <ac:spMk id="2" creationId="{C34414FD-BF34-93D8-9782-AA5CABCF5315}"/>
          </ac:spMkLst>
        </pc:spChg>
        <pc:spChg chg="add del mod ord">
          <ac:chgData name="Carlo Abi-Raad" userId="08fc5628-31e7-49b7-aa1d-2f25a1b05d33" providerId="ADAL" clId="{91DF428D-10D1-344C-A879-47C8A34A3BDD}" dt="2025-03-31T16:45:32.892" v="3177" actId="700"/>
          <ac:spMkLst>
            <pc:docMk/>
            <pc:sldMk cId="1933953106" sldId="2212"/>
            <ac:spMk id="11" creationId="{7925F6B7-0F6A-731E-E415-82D3D989F3AA}"/>
          </ac:spMkLst>
        </pc:spChg>
        <pc:spChg chg="add del mod ord">
          <ac:chgData name="Carlo Abi-Raad" userId="08fc5628-31e7-49b7-aa1d-2f25a1b05d33" providerId="ADAL" clId="{91DF428D-10D1-344C-A879-47C8A34A3BDD}" dt="2025-03-31T16:46:58.190" v="3227" actId="20577"/>
          <ac:spMkLst>
            <pc:docMk/>
            <pc:sldMk cId="1933953106" sldId="2212"/>
            <ac:spMk id="13" creationId="{A3758F1C-BF59-051C-B156-1C862E1C7F9D}"/>
          </ac:spMkLst>
        </pc:spChg>
        <pc:spChg chg="add del mod">
          <ac:chgData name="Carlo Abi-Raad" userId="08fc5628-31e7-49b7-aa1d-2f25a1b05d33" providerId="ADAL" clId="{91DF428D-10D1-344C-A879-47C8A34A3BDD}" dt="2025-03-31T17:04:54.159" v="3366" actId="20577"/>
          <ac:spMkLst>
            <pc:docMk/>
            <pc:sldMk cId="1933953106" sldId="2212"/>
            <ac:spMk id="15" creationId="{100249F5-303C-04CE-C35A-F6D4AA7182D5}"/>
          </ac:spMkLst>
        </pc:spChg>
        <pc:spChg chg="add mod ord">
          <ac:chgData name="Carlo Abi-Raad" userId="08fc5628-31e7-49b7-aa1d-2f25a1b05d33" providerId="ADAL" clId="{91DF428D-10D1-344C-A879-47C8A34A3BDD}" dt="2025-04-01T03:41:37.345" v="4737" actId="20577"/>
          <ac:spMkLst>
            <pc:docMk/>
            <pc:sldMk cId="1933953106" sldId="2212"/>
            <ac:spMk id="17" creationId="{1956A8E8-6EFC-B144-BB49-180D3AFCBB3E}"/>
          </ac:spMkLst>
        </pc:spChg>
        <pc:graphicFrameChg chg="add mod">
          <ac:chgData name="Carlo Abi-Raad" userId="08fc5628-31e7-49b7-aa1d-2f25a1b05d33" providerId="ADAL" clId="{91DF428D-10D1-344C-A879-47C8A34A3BDD}" dt="2025-04-02T18:12:51.420" v="5817" actId="692"/>
          <ac:graphicFrameMkLst>
            <pc:docMk/>
            <pc:sldMk cId="1933953106" sldId="2212"/>
            <ac:graphicFrameMk id="6" creationId="{5378A142-CAE1-2C02-22B6-E7B40E0416E7}"/>
          </ac:graphicFrameMkLst>
        </pc:graphicFrameChg>
        <pc:graphicFrameChg chg="add mod modGraphic">
          <ac:chgData name="Carlo Abi-Raad" userId="08fc5628-31e7-49b7-aa1d-2f25a1b05d33" providerId="ADAL" clId="{91DF428D-10D1-344C-A879-47C8A34A3BDD}" dt="2025-03-31T17:46:56.153" v="3564"/>
          <ac:graphicFrameMkLst>
            <pc:docMk/>
            <pc:sldMk cId="1933953106" sldId="2212"/>
            <ac:graphicFrameMk id="9" creationId="{AF46ECF5-018E-1654-B717-6152176E90CC}"/>
          </ac:graphicFrameMkLst>
        </pc:graphicFrameChg>
      </pc:sldChg>
      <pc:sldChg chg="modSp mod">
        <pc:chgData name="Carlo Abi-Raad" userId="08fc5628-31e7-49b7-aa1d-2f25a1b05d33" providerId="ADAL" clId="{91DF428D-10D1-344C-A879-47C8A34A3BDD}" dt="2025-04-02T18:11:57.994" v="5815" actId="113"/>
        <pc:sldMkLst>
          <pc:docMk/>
          <pc:sldMk cId="605004554" sldId="2215"/>
        </pc:sldMkLst>
        <pc:spChg chg="mod">
          <ac:chgData name="Carlo Abi-Raad" userId="08fc5628-31e7-49b7-aa1d-2f25a1b05d33" providerId="ADAL" clId="{91DF428D-10D1-344C-A879-47C8A34A3BDD}" dt="2025-04-02T18:11:57.994" v="5815" actId="113"/>
          <ac:spMkLst>
            <pc:docMk/>
            <pc:sldMk cId="605004554" sldId="2215"/>
            <ac:spMk id="2" creationId="{B8FFE6F6-14FC-BEDC-4662-BDD0FDF2F220}"/>
          </ac:spMkLst>
        </pc:spChg>
        <pc:spChg chg="mod">
          <ac:chgData name="Carlo Abi-Raad" userId="08fc5628-31e7-49b7-aa1d-2f25a1b05d33" providerId="ADAL" clId="{91DF428D-10D1-344C-A879-47C8A34A3BDD}" dt="2025-04-01T00:37:02.354" v="4603" actId="207"/>
          <ac:spMkLst>
            <pc:docMk/>
            <pc:sldMk cId="605004554" sldId="2215"/>
            <ac:spMk id="7" creationId="{0A325F2A-B25B-0DED-8C8F-C9BBD625D179}"/>
          </ac:spMkLst>
        </pc:spChg>
        <pc:spChg chg="mod">
          <ac:chgData name="Carlo Abi-Raad" userId="08fc5628-31e7-49b7-aa1d-2f25a1b05d33" providerId="ADAL" clId="{91DF428D-10D1-344C-A879-47C8A34A3BDD}" dt="2025-04-01T03:26:31.135" v="4622" actId="207"/>
          <ac:spMkLst>
            <pc:docMk/>
            <pc:sldMk cId="605004554" sldId="2215"/>
            <ac:spMk id="8" creationId="{1D2DA766-01DE-DD03-DCCF-846BF18E4586}"/>
          </ac:spMkLst>
        </pc:spChg>
        <pc:spChg chg="mod">
          <ac:chgData name="Carlo Abi-Raad" userId="08fc5628-31e7-49b7-aa1d-2f25a1b05d33" providerId="ADAL" clId="{91DF428D-10D1-344C-A879-47C8A34A3BDD}" dt="2025-04-01T03:26:31.135" v="4622" actId="207"/>
          <ac:spMkLst>
            <pc:docMk/>
            <pc:sldMk cId="605004554" sldId="2215"/>
            <ac:spMk id="21" creationId="{8F3AED8A-6759-0E0B-149E-39A338E228B8}"/>
          </ac:spMkLst>
        </pc:spChg>
        <pc:spChg chg="mod">
          <ac:chgData name="Carlo Abi-Raad" userId="08fc5628-31e7-49b7-aa1d-2f25a1b05d33" providerId="ADAL" clId="{91DF428D-10D1-344C-A879-47C8A34A3BDD}" dt="2025-04-01T03:26:31.135" v="4622" actId="207"/>
          <ac:spMkLst>
            <pc:docMk/>
            <pc:sldMk cId="605004554" sldId="2215"/>
            <ac:spMk id="26" creationId="{FF777E86-51DE-A14A-FE2F-181E4E8799D4}"/>
          </ac:spMkLst>
        </pc:spChg>
        <pc:spChg chg="mod">
          <ac:chgData name="Carlo Abi-Raad" userId="08fc5628-31e7-49b7-aa1d-2f25a1b05d33" providerId="ADAL" clId="{91DF428D-10D1-344C-A879-47C8A34A3BDD}" dt="2025-04-01T03:26:31.135" v="4622" actId="207"/>
          <ac:spMkLst>
            <pc:docMk/>
            <pc:sldMk cId="605004554" sldId="2215"/>
            <ac:spMk id="27" creationId="{6DEE03D9-3224-37BF-6713-E13E1D0B7916}"/>
          </ac:spMkLst>
        </pc:spChg>
      </pc:sldChg>
      <pc:sldChg chg="addSp delSp modSp add del mod">
        <pc:chgData name="Carlo Abi-Raad" userId="08fc5628-31e7-49b7-aa1d-2f25a1b05d33" providerId="ADAL" clId="{91DF428D-10D1-344C-A879-47C8A34A3BDD}" dt="2025-03-31T18:33:35.945" v="4053" actId="2696"/>
        <pc:sldMkLst>
          <pc:docMk/>
          <pc:sldMk cId="2191858715" sldId="2216"/>
        </pc:sldMkLst>
      </pc:sldChg>
      <pc:sldChg chg="addSp delSp modSp add mod modShow">
        <pc:chgData name="Carlo Abi-Raad" userId="08fc5628-31e7-49b7-aa1d-2f25a1b05d33" providerId="ADAL" clId="{91DF428D-10D1-344C-A879-47C8A34A3BDD}" dt="2025-03-31T19:02:18.828" v="4241" actId="729"/>
        <pc:sldMkLst>
          <pc:docMk/>
          <pc:sldMk cId="97822105" sldId="2217"/>
        </pc:sldMkLst>
      </pc:sldChg>
      <pc:sldChg chg="add del">
        <pc:chgData name="Carlo Abi-Raad" userId="08fc5628-31e7-49b7-aa1d-2f25a1b05d33" providerId="ADAL" clId="{91DF428D-10D1-344C-A879-47C8A34A3BDD}" dt="2025-03-31T18:32:20.707" v="4048" actId="2696"/>
        <pc:sldMkLst>
          <pc:docMk/>
          <pc:sldMk cId="3482590421" sldId="2217"/>
        </pc:sldMkLst>
      </pc:sldChg>
      <pc:sldChg chg="modSp add del mod ord modShow">
        <pc:chgData name="Carlo Abi-Raad" userId="08fc5628-31e7-49b7-aa1d-2f25a1b05d33" providerId="ADAL" clId="{91DF428D-10D1-344C-A879-47C8A34A3BDD}" dt="2025-04-01T00:28:48.563" v="4602" actId="2696"/>
        <pc:sldMkLst>
          <pc:docMk/>
          <pc:sldMk cId="771553404" sldId="2218"/>
        </pc:sldMkLst>
      </pc:sldChg>
      <pc:sldChg chg="addSp delSp modSp add del mod ord modShow">
        <pc:chgData name="Carlo Abi-Raad" userId="08fc5628-31e7-49b7-aa1d-2f25a1b05d33" providerId="ADAL" clId="{91DF428D-10D1-344C-A879-47C8A34A3BDD}" dt="2025-04-01T22:24:33.390" v="5086" actId="2696"/>
        <pc:sldMkLst>
          <pc:docMk/>
          <pc:sldMk cId="1608393595" sldId="2219"/>
        </pc:sldMkLst>
      </pc:sldChg>
      <pc:sldChg chg="addSp delSp modSp add mod ord modShow">
        <pc:chgData name="Carlo Abi-Raad" userId="08fc5628-31e7-49b7-aa1d-2f25a1b05d33" providerId="ADAL" clId="{91DF428D-10D1-344C-A879-47C8A34A3BDD}" dt="2025-04-01T04:13:53.336" v="4839" actId="962"/>
        <pc:sldMkLst>
          <pc:docMk/>
          <pc:sldMk cId="1879744498" sldId="2224"/>
        </pc:sldMkLst>
        <pc:spChg chg="add del mod">
          <ac:chgData name="Carlo Abi-Raad" userId="08fc5628-31e7-49b7-aa1d-2f25a1b05d33" providerId="ADAL" clId="{91DF428D-10D1-344C-A879-47C8A34A3BDD}" dt="2025-04-01T04:13:48.104" v="4836"/>
          <ac:spMkLst>
            <pc:docMk/>
            <pc:sldMk cId="1879744498" sldId="2224"/>
            <ac:spMk id="7" creationId="{3F32A2D0-4F98-4D3F-FC14-AE5486C38DEC}"/>
          </ac:spMkLst>
        </pc:spChg>
        <pc:spChg chg="ord">
          <ac:chgData name="Carlo Abi-Raad" userId="08fc5628-31e7-49b7-aa1d-2f25a1b05d33" providerId="ADAL" clId="{91DF428D-10D1-344C-A879-47C8A34A3BDD}" dt="2025-04-01T04:13:51.559" v="4837" actId="26606"/>
          <ac:spMkLst>
            <pc:docMk/>
            <pc:sldMk cId="1879744498" sldId="2224"/>
            <ac:spMk id="9" creationId="{DBBCFE46-171D-3CA1-722B-221D456D2596}"/>
          </ac:spMkLst>
        </pc:spChg>
        <pc:spChg chg="add del">
          <ac:chgData name="Carlo Abi-Raad" userId="08fc5628-31e7-49b7-aa1d-2f25a1b05d33" providerId="ADAL" clId="{91DF428D-10D1-344C-A879-47C8A34A3BDD}" dt="2025-04-01T04:13:51.559" v="4837" actId="26606"/>
          <ac:spMkLst>
            <pc:docMk/>
            <pc:sldMk cId="1879744498" sldId="2224"/>
            <ac:spMk id="53" creationId="{DE97723D-F1B9-BBE3-5267-26F5213D694E}"/>
          </ac:spMkLst>
        </pc:spChg>
        <pc:spChg chg="add del">
          <ac:chgData name="Carlo Abi-Raad" userId="08fc5628-31e7-49b7-aa1d-2f25a1b05d33" providerId="ADAL" clId="{91DF428D-10D1-344C-A879-47C8A34A3BDD}" dt="2025-04-01T04:13:51.559" v="4837" actId="26606"/>
          <ac:spMkLst>
            <pc:docMk/>
            <pc:sldMk cId="1879744498" sldId="2224"/>
            <ac:spMk id="55" creationId="{8D16DF80-7967-00F5-7D41-289C17A65F8B}"/>
          </ac:spMkLst>
        </pc:spChg>
        <pc:spChg chg="add del">
          <ac:chgData name="Carlo Abi-Raad" userId="08fc5628-31e7-49b7-aa1d-2f25a1b05d33" providerId="ADAL" clId="{91DF428D-10D1-344C-A879-47C8A34A3BDD}" dt="2025-04-01T04:13:51.559" v="4837" actId="26606"/>
          <ac:spMkLst>
            <pc:docMk/>
            <pc:sldMk cId="1879744498" sldId="2224"/>
            <ac:spMk id="57" creationId="{CF347C74-F96D-56E4-C836-A55DC6B488D0}"/>
          </ac:spMkLst>
        </pc:spChg>
        <pc:spChg chg="add">
          <ac:chgData name="Carlo Abi-Raad" userId="08fc5628-31e7-49b7-aa1d-2f25a1b05d33" providerId="ADAL" clId="{91DF428D-10D1-344C-A879-47C8A34A3BDD}" dt="2025-04-01T04:13:51.559" v="4837" actId="26606"/>
          <ac:spMkLst>
            <pc:docMk/>
            <pc:sldMk cId="1879744498" sldId="2224"/>
            <ac:spMk id="62" creationId="{89DC2450-1D19-45FB-55A4-33D34D36345C}"/>
          </ac:spMkLst>
        </pc:spChg>
        <pc:spChg chg="add">
          <ac:chgData name="Carlo Abi-Raad" userId="08fc5628-31e7-49b7-aa1d-2f25a1b05d33" providerId="ADAL" clId="{91DF428D-10D1-344C-A879-47C8A34A3BDD}" dt="2025-04-01T04:13:51.559" v="4837" actId="26606"/>
          <ac:spMkLst>
            <pc:docMk/>
            <pc:sldMk cId="1879744498" sldId="2224"/>
            <ac:spMk id="64" creationId="{5773805C-9E03-9CC2-BAAA-5BCAFC912690}"/>
          </ac:spMkLst>
        </pc:spChg>
        <pc:spChg chg="add">
          <ac:chgData name="Carlo Abi-Raad" userId="08fc5628-31e7-49b7-aa1d-2f25a1b05d33" providerId="ADAL" clId="{91DF428D-10D1-344C-A879-47C8A34A3BDD}" dt="2025-04-01T04:13:51.559" v="4837" actId="26606"/>
          <ac:spMkLst>
            <pc:docMk/>
            <pc:sldMk cId="1879744498" sldId="2224"/>
            <ac:spMk id="66" creationId="{1AAD6E40-4C42-F79F-929D-B3957203B68E}"/>
          </ac:spMkLst>
        </pc:spChg>
        <pc:picChg chg="add del mod">
          <ac:chgData name="Carlo Abi-Raad" userId="08fc5628-31e7-49b7-aa1d-2f25a1b05d33" providerId="ADAL" clId="{91DF428D-10D1-344C-A879-47C8A34A3BDD}" dt="2025-04-01T04:13:45.131" v="4835" actId="478"/>
          <ac:picMkLst>
            <pc:docMk/>
            <pc:sldMk cId="1879744498" sldId="2224"/>
            <ac:picMk id="5" creationId="{98925A19-4A3F-3885-174F-87719830145E}"/>
          </ac:picMkLst>
        </pc:picChg>
        <pc:picChg chg="add mod">
          <ac:chgData name="Carlo Abi-Raad" userId="08fc5628-31e7-49b7-aa1d-2f25a1b05d33" providerId="ADAL" clId="{91DF428D-10D1-344C-A879-47C8A34A3BDD}" dt="2025-04-01T04:13:53.336" v="4839" actId="962"/>
          <ac:picMkLst>
            <pc:docMk/>
            <pc:sldMk cId="1879744498" sldId="2224"/>
            <ac:picMk id="8" creationId="{64FD7A0E-6827-77A7-F4D4-799EB036F114}"/>
          </ac:picMkLst>
        </pc:picChg>
      </pc:sldChg>
      <pc:sldChg chg="addSp delSp modSp add del mod">
        <pc:chgData name="Carlo Abi-Raad" userId="08fc5628-31e7-49b7-aa1d-2f25a1b05d33" providerId="ADAL" clId="{91DF428D-10D1-344C-A879-47C8A34A3BDD}" dt="2025-03-31T18:57:34.252" v="4240" actId="2696"/>
        <pc:sldMkLst>
          <pc:docMk/>
          <pc:sldMk cId="4198966567" sldId="2225"/>
        </pc:sldMkLst>
      </pc:sldChg>
      <pc:sldChg chg="addSp delSp modSp add del mod">
        <pc:chgData name="Carlo Abi-Raad" userId="08fc5628-31e7-49b7-aa1d-2f25a1b05d33" providerId="ADAL" clId="{91DF428D-10D1-344C-A879-47C8A34A3BDD}" dt="2025-04-01T04:45:23.948" v="4891" actId="2696"/>
        <pc:sldMkLst>
          <pc:docMk/>
          <pc:sldMk cId="3705022991" sldId="2226"/>
        </pc:sldMkLst>
      </pc:sldChg>
      <pc:sldChg chg="addSp delSp modSp mod">
        <pc:chgData name="Carlo Abi-Raad" userId="08fc5628-31e7-49b7-aa1d-2f25a1b05d33" providerId="ADAL" clId="{91DF428D-10D1-344C-A879-47C8A34A3BDD}" dt="2025-04-02T18:21:26.551" v="5857" actId="20577"/>
        <pc:sldMkLst>
          <pc:docMk/>
          <pc:sldMk cId="1295462071" sldId="2229"/>
        </pc:sldMkLst>
        <pc:spChg chg="mod">
          <ac:chgData name="Carlo Abi-Raad" userId="08fc5628-31e7-49b7-aa1d-2f25a1b05d33" providerId="ADAL" clId="{91DF428D-10D1-344C-A879-47C8A34A3BDD}" dt="2025-04-02T18:21:26.551" v="5857" actId="20577"/>
          <ac:spMkLst>
            <pc:docMk/>
            <pc:sldMk cId="1295462071" sldId="2229"/>
            <ac:spMk id="2" creationId="{CACEC39F-E50A-F9E1-1976-E5CF9A2D460D}"/>
          </ac:spMkLst>
        </pc:spChg>
        <pc:spChg chg="add del">
          <ac:chgData name="Carlo Abi-Raad" userId="08fc5628-31e7-49b7-aa1d-2f25a1b05d33" providerId="ADAL" clId="{91DF428D-10D1-344C-A879-47C8A34A3BDD}" dt="2025-04-02T04:21:38.269" v="5397" actId="478"/>
          <ac:spMkLst>
            <pc:docMk/>
            <pc:sldMk cId="1295462071" sldId="2229"/>
            <ac:spMk id="19" creationId="{2A41F577-5A77-3FCE-5B89-8761883D0391}"/>
          </ac:spMkLst>
        </pc:spChg>
        <pc:grpChg chg="add mod">
          <ac:chgData name="Carlo Abi-Raad" userId="08fc5628-31e7-49b7-aa1d-2f25a1b05d33" providerId="ADAL" clId="{91DF428D-10D1-344C-A879-47C8A34A3BDD}" dt="2025-04-02T04:20:51.688" v="5395" actId="1076"/>
          <ac:grpSpMkLst>
            <pc:docMk/>
            <pc:sldMk cId="1295462071" sldId="2229"/>
            <ac:grpSpMk id="15" creationId="{99497E09-A081-16AE-9C22-B038DF117704}"/>
          </ac:grpSpMkLst>
        </pc:grpChg>
        <pc:grpChg chg="add mod">
          <ac:chgData name="Carlo Abi-Raad" userId="08fc5628-31e7-49b7-aa1d-2f25a1b05d33" providerId="ADAL" clId="{91DF428D-10D1-344C-A879-47C8A34A3BDD}" dt="2025-04-02T04:20:06.011" v="5393" actId="1076"/>
          <ac:grpSpMkLst>
            <pc:docMk/>
            <pc:sldMk cId="1295462071" sldId="2229"/>
            <ac:grpSpMk id="16" creationId="{CDE3F274-B1CB-66E4-8CDC-386A1F204D7C}"/>
          </ac:grpSpMkLst>
        </pc:grpChg>
        <pc:grpChg chg="add mod">
          <ac:chgData name="Carlo Abi-Raad" userId="08fc5628-31e7-49b7-aa1d-2f25a1b05d33" providerId="ADAL" clId="{91DF428D-10D1-344C-A879-47C8A34A3BDD}" dt="2025-04-02T04:22:59.196" v="5411" actId="1076"/>
          <ac:grpSpMkLst>
            <pc:docMk/>
            <pc:sldMk cId="1295462071" sldId="2229"/>
            <ac:grpSpMk id="26" creationId="{5BDF2DF6-0212-637D-BFF4-C1228C4B2B9B}"/>
          </ac:grpSpMkLst>
        </pc:grpChg>
        <pc:grpChg chg="add mod">
          <ac:chgData name="Carlo Abi-Raad" userId="08fc5628-31e7-49b7-aa1d-2f25a1b05d33" providerId="ADAL" clId="{91DF428D-10D1-344C-A879-47C8A34A3BDD}" dt="2025-04-02T04:23:05.091" v="5412" actId="1076"/>
          <ac:grpSpMkLst>
            <pc:docMk/>
            <pc:sldMk cId="1295462071" sldId="2229"/>
            <ac:grpSpMk id="27" creationId="{7A7BE3CB-06D6-77A6-E903-A2688076BE24}"/>
          </ac:grpSpMkLst>
        </pc:grpChg>
        <pc:graphicFrameChg chg="modGraphic">
          <ac:chgData name="Carlo Abi-Raad" userId="08fc5628-31e7-49b7-aa1d-2f25a1b05d33" providerId="ADAL" clId="{91DF428D-10D1-344C-A879-47C8A34A3BDD}" dt="2025-04-02T04:22:53.947" v="5410" actId="20577"/>
          <ac:graphicFrameMkLst>
            <pc:docMk/>
            <pc:sldMk cId="1295462071" sldId="2229"/>
            <ac:graphicFrameMk id="6" creationId="{90D84662-5365-3BF3-0454-4B139F8F04A8}"/>
          </ac:graphicFrameMkLst>
        </pc:graphicFrameChg>
        <pc:cxnChg chg="add mod">
          <ac:chgData name="Carlo Abi-Raad" userId="08fc5628-31e7-49b7-aa1d-2f25a1b05d33" providerId="ADAL" clId="{91DF428D-10D1-344C-A879-47C8A34A3BDD}" dt="2025-04-02T04:23:47.957" v="5427" actId="692"/>
          <ac:cxnSpMkLst>
            <pc:docMk/>
            <pc:sldMk cId="1295462071" sldId="2229"/>
            <ac:cxnSpMk id="9" creationId="{7766485A-055B-5F39-D907-43D0A7E48BD1}"/>
          </ac:cxnSpMkLst>
        </pc:cxnChg>
        <pc:cxnChg chg="add mod">
          <ac:chgData name="Carlo Abi-Raad" userId="08fc5628-31e7-49b7-aa1d-2f25a1b05d33" providerId="ADAL" clId="{91DF428D-10D1-344C-A879-47C8A34A3BDD}" dt="2025-04-02T04:23:47.957" v="5427" actId="692"/>
          <ac:cxnSpMkLst>
            <pc:docMk/>
            <pc:sldMk cId="1295462071" sldId="2229"/>
            <ac:cxnSpMk id="10" creationId="{030661A4-44DE-C767-5A8A-BBD72A0E0D8B}"/>
          </ac:cxnSpMkLst>
        </pc:cxnChg>
        <pc:cxnChg chg="mod">
          <ac:chgData name="Carlo Abi-Raad" userId="08fc5628-31e7-49b7-aa1d-2f25a1b05d33" providerId="ADAL" clId="{91DF428D-10D1-344C-A879-47C8A34A3BDD}" dt="2025-04-02T04:23:51.537" v="5432" actId="692"/>
          <ac:cxnSpMkLst>
            <pc:docMk/>
            <pc:sldMk cId="1295462071" sldId="2229"/>
            <ac:cxnSpMk id="17" creationId="{1C89BFB7-ACED-59BB-765F-87FCC4EAEFFD}"/>
          </ac:cxnSpMkLst>
        </pc:cxnChg>
        <pc:cxnChg chg="mod">
          <ac:chgData name="Carlo Abi-Raad" userId="08fc5628-31e7-49b7-aa1d-2f25a1b05d33" providerId="ADAL" clId="{91DF428D-10D1-344C-A879-47C8A34A3BDD}" dt="2025-04-02T04:23:51.537" v="5432" actId="692"/>
          <ac:cxnSpMkLst>
            <pc:docMk/>
            <pc:sldMk cId="1295462071" sldId="2229"/>
            <ac:cxnSpMk id="18" creationId="{2473A8C9-579F-7ED4-97E9-2DD92F63A2E4}"/>
          </ac:cxnSpMkLst>
        </pc:cxnChg>
        <pc:cxnChg chg="add del">
          <ac:chgData name="Carlo Abi-Raad" userId="08fc5628-31e7-49b7-aa1d-2f25a1b05d33" providerId="ADAL" clId="{91DF428D-10D1-344C-A879-47C8A34A3BDD}" dt="2025-04-02T04:22:02.270" v="5399" actId="478"/>
          <ac:cxnSpMkLst>
            <pc:docMk/>
            <pc:sldMk cId="1295462071" sldId="2229"/>
            <ac:cxnSpMk id="21" creationId="{AB591F7E-BF74-C392-4DD6-21FB790B3855}"/>
          </ac:cxnSpMkLst>
        </pc:cxnChg>
        <pc:cxnChg chg="add mod">
          <ac:chgData name="Carlo Abi-Raad" userId="08fc5628-31e7-49b7-aa1d-2f25a1b05d33" providerId="ADAL" clId="{91DF428D-10D1-344C-A879-47C8A34A3BDD}" dt="2025-04-02T04:23:44.402" v="5422" actId="692"/>
          <ac:cxnSpMkLst>
            <pc:docMk/>
            <pc:sldMk cId="1295462071" sldId="2229"/>
            <ac:cxnSpMk id="22" creationId="{D670C183-6F79-6180-2CDB-70C4DFA7FC76}"/>
          </ac:cxnSpMkLst>
        </pc:cxnChg>
        <pc:cxnChg chg="add mod">
          <ac:chgData name="Carlo Abi-Raad" userId="08fc5628-31e7-49b7-aa1d-2f25a1b05d33" providerId="ADAL" clId="{91DF428D-10D1-344C-A879-47C8A34A3BDD}" dt="2025-04-02T04:23:44.402" v="5422" actId="692"/>
          <ac:cxnSpMkLst>
            <pc:docMk/>
            <pc:sldMk cId="1295462071" sldId="2229"/>
            <ac:cxnSpMk id="23" creationId="{285B743C-C9F6-B5CD-8517-5024CB8FA677}"/>
          </ac:cxnSpMkLst>
        </pc:cxnChg>
        <pc:cxnChg chg="mod">
          <ac:chgData name="Carlo Abi-Raad" userId="08fc5628-31e7-49b7-aa1d-2f25a1b05d33" providerId="ADAL" clId="{91DF428D-10D1-344C-A879-47C8A34A3BDD}" dt="2025-04-02T04:23:38.570" v="5417" actId="692"/>
          <ac:cxnSpMkLst>
            <pc:docMk/>
            <pc:sldMk cId="1295462071" sldId="2229"/>
            <ac:cxnSpMk id="28" creationId="{066CD4A7-DE8B-E5B7-452B-B23508CC3730}"/>
          </ac:cxnSpMkLst>
        </pc:cxnChg>
        <pc:cxnChg chg="mod">
          <ac:chgData name="Carlo Abi-Raad" userId="08fc5628-31e7-49b7-aa1d-2f25a1b05d33" providerId="ADAL" clId="{91DF428D-10D1-344C-A879-47C8A34A3BDD}" dt="2025-04-02T04:23:38.570" v="5417" actId="692"/>
          <ac:cxnSpMkLst>
            <pc:docMk/>
            <pc:sldMk cId="1295462071" sldId="2229"/>
            <ac:cxnSpMk id="29" creationId="{ECD56A4B-1B77-85E8-FD47-C3CDE3F7D0FF}"/>
          </ac:cxnSpMkLst>
        </pc:cxnChg>
      </pc:sldChg>
      <pc:sldChg chg="addSp modSp mod">
        <pc:chgData name="Carlo Abi-Raad" userId="08fc5628-31e7-49b7-aa1d-2f25a1b05d33" providerId="ADAL" clId="{91DF428D-10D1-344C-A879-47C8A34A3BDD}" dt="2025-04-02T18:29:47.871" v="6017" actId="571"/>
        <pc:sldMkLst>
          <pc:docMk/>
          <pc:sldMk cId="3295877462" sldId="2230"/>
        </pc:sldMkLst>
        <pc:spChg chg="add mod">
          <ac:chgData name="Carlo Abi-Raad" userId="08fc5628-31e7-49b7-aa1d-2f25a1b05d33" providerId="ADAL" clId="{91DF428D-10D1-344C-A879-47C8A34A3BDD}" dt="2025-04-02T18:29:47.871" v="6017" actId="571"/>
          <ac:spMkLst>
            <pc:docMk/>
            <pc:sldMk cId="3295877462" sldId="2230"/>
            <ac:spMk id="5" creationId="{973CAFAC-6220-2515-CCC0-D3334E9BC805}"/>
          </ac:spMkLst>
        </pc:spChg>
        <pc:spChg chg="mod">
          <ac:chgData name="Carlo Abi-Raad" userId="08fc5628-31e7-49b7-aa1d-2f25a1b05d33" providerId="ADAL" clId="{91DF428D-10D1-344C-A879-47C8A34A3BDD}" dt="2025-04-02T18:28:46.230" v="5951" actId="14100"/>
          <ac:spMkLst>
            <pc:docMk/>
            <pc:sldMk cId="3295877462" sldId="2230"/>
            <ac:spMk id="10" creationId="{1A97EDF5-85B0-89A8-E605-D246CC0A6D58}"/>
          </ac:spMkLst>
        </pc:spChg>
        <pc:spChg chg="mod">
          <ac:chgData name="Carlo Abi-Raad" userId="08fc5628-31e7-49b7-aa1d-2f25a1b05d33" providerId="ADAL" clId="{91DF428D-10D1-344C-A879-47C8A34A3BDD}" dt="2025-04-02T18:29:16.269" v="5966" actId="1037"/>
          <ac:spMkLst>
            <pc:docMk/>
            <pc:sldMk cId="3295877462" sldId="2230"/>
            <ac:spMk id="12" creationId="{0D8B1259-5266-022F-693A-42347BAFDAE7}"/>
          </ac:spMkLst>
        </pc:spChg>
        <pc:spChg chg="mod">
          <ac:chgData name="Carlo Abi-Raad" userId="08fc5628-31e7-49b7-aa1d-2f25a1b05d33" providerId="ADAL" clId="{91DF428D-10D1-344C-A879-47C8A34A3BDD}" dt="2025-04-02T18:28:36.814" v="5950" actId="20577"/>
          <ac:spMkLst>
            <pc:docMk/>
            <pc:sldMk cId="3295877462" sldId="2230"/>
            <ac:spMk id="13" creationId="{4ABFBCED-65AC-A571-119C-62DA27A1E89F}"/>
          </ac:spMkLst>
        </pc:spChg>
        <pc:spChg chg="mod">
          <ac:chgData name="Carlo Abi-Raad" userId="08fc5628-31e7-49b7-aa1d-2f25a1b05d33" providerId="ADAL" clId="{91DF428D-10D1-344C-A879-47C8A34A3BDD}" dt="2025-04-02T18:03:23.391" v="5786" actId="20577"/>
          <ac:spMkLst>
            <pc:docMk/>
            <pc:sldMk cId="3295877462" sldId="2230"/>
            <ac:spMk id="15" creationId="{6E71D38F-5FB6-C05E-8F2A-1119ADD3EF8B}"/>
          </ac:spMkLst>
        </pc:spChg>
        <pc:spChg chg="mod">
          <ac:chgData name="Carlo Abi-Raad" userId="08fc5628-31e7-49b7-aa1d-2f25a1b05d33" providerId="ADAL" clId="{91DF428D-10D1-344C-A879-47C8A34A3BDD}" dt="2025-04-02T18:29:24.336" v="5983" actId="1037"/>
          <ac:spMkLst>
            <pc:docMk/>
            <pc:sldMk cId="3295877462" sldId="2230"/>
            <ac:spMk id="18" creationId="{0F232DAB-117B-4974-8762-D475F3AA024C}"/>
          </ac:spMkLst>
        </pc:spChg>
        <pc:spChg chg="mod">
          <ac:chgData name="Carlo Abi-Raad" userId="08fc5628-31e7-49b7-aa1d-2f25a1b05d33" providerId="ADAL" clId="{91DF428D-10D1-344C-A879-47C8A34A3BDD}" dt="2025-04-02T18:29:36.905" v="6015" actId="1037"/>
          <ac:spMkLst>
            <pc:docMk/>
            <pc:sldMk cId="3295877462" sldId="2230"/>
            <ac:spMk id="25" creationId="{7BE2FE5A-CB39-307E-48B7-D8B76E5304AE}"/>
          </ac:spMkLst>
        </pc:spChg>
      </pc:sldChg>
      <pc:sldChg chg="modSp mod">
        <pc:chgData name="Carlo Abi-Raad" userId="08fc5628-31e7-49b7-aa1d-2f25a1b05d33" providerId="ADAL" clId="{91DF428D-10D1-344C-A879-47C8A34A3BDD}" dt="2025-04-02T00:20:52.183" v="5195" actId="207"/>
        <pc:sldMkLst>
          <pc:docMk/>
          <pc:sldMk cId="126571796" sldId="2237"/>
        </pc:sldMkLst>
        <pc:spChg chg="mod">
          <ac:chgData name="Carlo Abi-Raad" userId="08fc5628-31e7-49b7-aa1d-2f25a1b05d33" providerId="ADAL" clId="{91DF428D-10D1-344C-A879-47C8A34A3BDD}" dt="2025-04-02T00:20:52.183" v="5195" actId="207"/>
          <ac:spMkLst>
            <pc:docMk/>
            <pc:sldMk cId="126571796" sldId="2237"/>
            <ac:spMk id="8" creationId="{1C460FA3-F58E-2002-F544-EA7D762CAD6C}"/>
          </ac:spMkLst>
        </pc:spChg>
        <pc:graphicFrameChg chg="modGraphic">
          <ac:chgData name="Carlo Abi-Raad" userId="08fc5628-31e7-49b7-aa1d-2f25a1b05d33" providerId="ADAL" clId="{91DF428D-10D1-344C-A879-47C8A34A3BDD}" dt="2025-04-02T00:17:09.881" v="5187"/>
          <ac:graphicFrameMkLst>
            <pc:docMk/>
            <pc:sldMk cId="126571796" sldId="2237"/>
            <ac:graphicFrameMk id="2" creationId="{7C62835C-1156-4618-B89A-1C555DCB6340}"/>
          </ac:graphicFrameMkLst>
        </pc:graphicFrameChg>
      </pc:sldChg>
      <pc:sldChg chg="modSp mod">
        <pc:chgData name="Carlo Abi-Raad" userId="08fc5628-31e7-49b7-aa1d-2f25a1b05d33" providerId="ADAL" clId="{91DF428D-10D1-344C-A879-47C8A34A3BDD}" dt="2025-04-02T17:38:46.055" v="5735"/>
        <pc:sldMkLst>
          <pc:docMk/>
          <pc:sldMk cId="2391271550" sldId="2238"/>
        </pc:sldMkLst>
        <pc:spChg chg="mod">
          <ac:chgData name="Carlo Abi-Raad" userId="08fc5628-31e7-49b7-aa1d-2f25a1b05d33" providerId="ADAL" clId="{91DF428D-10D1-344C-A879-47C8A34A3BDD}" dt="2025-04-02T15:36:06.637" v="5653" actId="207"/>
          <ac:spMkLst>
            <pc:docMk/>
            <pc:sldMk cId="2391271550" sldId="2238"/>
            <ac:spMk id="8" creationId="{D4F84DE7-6D46-60D3-6634-22C22F351230}"/>
          </ac:spMkLst>
        </pc:spChg>
        <pc:spChg chg="mod">
          <ac:chgData name="Carlo Abi-Raad" userId="08fc5628-31e7-49b7-aa1d-2f25a1b05d33" providerId="ADAL" clId="{91DF428D-10D1-344C-A879-47C8A34A3BDD}" dt="2025-04-02T15:36:06.637" v="5653" actId="207"/>
          <ac:spMkLst>
            <pc:docMk/>
            <pc:sldMk cId="2391271550" sldId="2238"/>
            <ac:spMk id="12" creationId="{2E6E81AC-7C7F-D080-0FB8-6FB16ACC95AF}"/>
          </ac:spMkLst>
        </pc:spChg>
        <pc:spChg chg="mod">
          <ac:chgData name="Carlo Abi-Raad" userId="08fc5628-31e7-49b7-aa1d-2f25a1b05d33" providerId="ADAL" clId="{91DF428D-10D1-344C-A879-47C8A34A3BDD}" dt="2025-04-02T15:36:06.637" v="5653" actId="207"/>
          <ac:spMkLst>
            <pc:docMk/>
            <pc:sldMk cId="2391271550" sldId="2238"/>
            <ac:spMk id="13" creationId="{919ECC86-548B-712F-916D-29510081D79C}"/>
          </ac:spMkLst>
        </pc:spChg>
        <pc:spChg chg="mod">
          <ac:chgData name="Carlo Abi-Raad" userId="08fc5628-31e7-49b7-aa1d-2f25a1b05d33" providerId="ADAL" clId="{91DF428D-10D1-344C-A879-47C8A34A3BDD}" dt="2025-04-02T15:36:06.637" v="5653" actId="207"/>
          <ac:spMkLst>
            <pc:docMk/>
            <pc:sldMk cId="2391271550" sldId="2238"/>
            <ac:spMk id="14" creationId="{91510DF1-63BD-EF5E-3511-F251D9ECA6F8}"/>
          </ac:spMkLst>
        </pc:spChg>
        <pc:graphicFrameChg chg="mod modGraphic">
          <ac:chgData name="Carlo Abi-Raad" userId="08fc5628-31e7-49b7-aa1d-2f25a1b05d33" providerId="ADAL" clId="{91DF428D-10D1-344C-A879-47C8A34A3BDD}" dt="2025-04-02T15:38:00.064" v="5664"/>
          <ac:graphicFrameMkLst>
            <pc:docMk/>
            <pc:sldMk cId="2391271550" sldId="2238"/>
            <ac:graphicFrameMk id="2" creationId="{7C62835C-1156-4618-B89A-1C555DCB6340}"/>
          </ac:graphicFrameMkLst>
        </pc:graphicFrameChg>
        <pc:graphicFrameChg chg="mod modGraphic">
          <ac:chgData name="Carlo Abi-Raad" userId="08fc5628-31e7-49b7-aa1d-2f25a1b05d33" providerId="ADAL" clId="{91DF428D-10D1-344C-A879-47C8A34A3BDD}" dt="2025-04-02T17:38:46.055" v="5735"/>
          <ac:graphicFrameMkLst>
            <pc:docMk/>
            <pc:sldMk cId="2391271550" sldId="2238"/>
            <ac:graphicFrameMk id="4" creationId="{7061D29F-7D63-52C4-8617-6CBB8DDC7C0F}"/>
          </ac:graphicFrameMkLst>
        </pc:graphicFrameChg>
        <pc:graphicFrameChg chg="modGraphic">
          <ac:chgData name="Carlo Abi-Raad" userId="08fc5628-31e7-49b7-aa1d-2f25a1b05d33" providerId="ADAL" clId="{91DF428D-10D1-344C-A879-47C8A34A3BDD}" dt="2025-04-02T15:37:07.404" v="5659"/>
          <ac:graphicFrameMkLst>
            <pc:docMk/>
            <pc:sldMk cId="2391271550" sldId="2238"/>
            <ac:graphicFrameMk id="7" creationId="{922A4CD0-CBF3-B4BC-3AC0-D65C5936DF5B}"/>
          </ac:graphicFrameMkLst>
        </pc:graphicFrameChg>
        <pc:graphicFrameChg chg="modGraphic">
          <ac:chgData name="Carlo Abi-Raad" userId="08fc5628-31e7-49b7-aa1d-2f25a1b05d33" providerId="ADAL" clId="{91DF428D-10D1-344C-A879-47C8A34A3BDD}" dt="2025-04-02T15:37:14.558" v="5661"/>
          <ac:graphicFrameMkLst>
            <pc:docMk/>
            <pc:sldMk cId="2391271550" sldId="2238"/>
            <ac:graphicFrameMk id="9" creationId="{F4569315-059B-41F8-8F00-60280CD2D7BB}"/>
          </ac:graphicFrameMkLst>
        </pc:graphicFrameChg>
      </pc:sldChg>
      <pc:sldChg chg="addSp delSp modSp add mod setBg modClrScheme modShow chgLayout">
        <pc:chgData name="Carlo Abi-Raad" userId="08fc5628-31e7-49b7-aa1d-2f25a1b05d33" providerId="ADAL" clId="{91DF428D-10D1-344C-A879-47C8A34A3BDD}" dt="2025-04-02T16:46:45.175" v="5698" actId="729"/>
        <pc:sldMkLst>
          <pc:docMk/>
          <pc:sldMk cId="3817512787" sldId="2239"/>
        </pc:sldMkLst>
        <pc:spChg chg="add del mod">
          <ac:chgData name="Carlo Abi-Raad" userId="08fc5628-31e7-49b7-aa1d-2f25a1b05d33" providerId="ADAL" clId="{91DF428D-10D1-344C-A879-47C8A34A3BDD}" dt="2025-04-01T03:37:26.181" v="4664" actId="478"/>
          <ac:spMkLst>
            <pc:docMk/>
            <pc:sldMk cId="3817512787" sldId="2239"/>
            <ac:spMk id="2" creationId="{652FD2F1-EA2F-20EF-D48C-A7D2733F5FA2}"/>
          </ac:spMkLst>
        </pc:spChg>
        <pc:spChg chg="add del mod ord">
          <ac:chgData name="Carlo Abi-Raad" userId="08fc5628-31e7-49b7-aa1d-2f25a1b05d33" providerId="ADAL" clId="{91DF428D-10D1-344C-A879-47C8A34A3BDD}" dt="2025-04-02T00:20:52.914" v="5196" actId="700"/>
          <ac:spMkLst>
            <pc:docMk/>
            <pc:sldMk cId="3817512787" sldId="2239"/>
            <ac:spMk id="2" creationId="{C8D8CA4D-C350-1935-7483-32B30A6009F3}"/>
          </ac:spMkLst>
        </pc:spChg>
        <pc:spChg chg="add del">
          <ac:chgData name="Carlo Abi-Raad" userId="08fc5628-31e7-49b7-aa1d-2f25a1b05d33" providerId="ADAL" clId="{91DF428D-10D1-344C-A879-47C8A34A3BDD}" dt="2025-04-02T00:20:52.914" v="5196" actId="700"/>
          <ac:spMkLst>
            <pc:docMk/>
            <pc:sldMk cId="3817512787" sldId="2239"/>
            <ac:spMk id="3" creationId="{9180495E-887A-4279-BD92-6C87815053BA}"/>
          </ac:spMkLst>
        </pc:spChg>
        <pc:spChg chg="add del mod">
          <ac:chgData name="Carlo Abi-Raad" userId="08fc5628-31e7-49b7-aa1d-2f25a1b05d33" providerId="ADAL" clId="{91DF428D-10D1-344C-A879-47C8A34A3BDD}" dt="2025-04-01T03:37:26.181" v="4664" actId="478"/>
          <ac:spMkLst>
            <pc:docMk/>
            <pc:sldMk cId="3817512787" sldId="2239"/>
            <ac:spMk id="3" creationId="{CFC405DD-95F1-59F9-133D-448EA4BC2825}"/>
          </ac:spMkLst>
        </pc:spChg>
        <pc:spChg chg="mod ord">
          <ac:chgData name="Carlo Abi-Raad" userId="08fc5628-31e7-49b7-aa1d-2f25a1b05d33" providerId="ADAL" clId="{91DF428D-10D1-344C-A879-47C8A34A3BDD}" dt="2025-04-02T00:20:52.914" v="5196" actId="700"/>
          <ac:spMkLst>
            <pc:docMk/>
            <pc:sldMk cId="3817512787" sldId="2239"/>
            <ac:spMk id="5" creationId="{63D66062-C1A6-438C-6384-6866FB201F6F}"/>
          </ac:spMkLst>
        </pc:spChg>
        <pc:spChg chg="add del mod ord">
          <ac:chgData name="Carlo Abi-Raad" userId="08fc5628-31e7-49b7-aa1d-2f25a1b05d33" providerId="ADAL" clId="{91DF428D-10D1-344C-A879-47C8A34A3BDD}" dt="2025-04-02T00:20:52.914" v="5196" actId="700"/>
          <ac:spMkLst>
            <pc:docMk/>
            <pc:sldMk cId="3817512787" sldId="2239"/>
            <ac:spMk id="7" creationId="{AD92811C-0488-643D-21BA-737EDA5D7689}"/>
          </ac:spMkLst>
        </pc:spChg>
        <pc:spChg chg="del mod ord">
          <ac:chgData name="Carlo Abi-Raad" userId="08fc5628-31e7-49b7-aa1d-2f25a1b05d33" providerId="ADAL" clId="{91DF428D-10D1-344C-A879-47C8A34A3BDD}" dt="2025-04-02T00:21:33.861" v="5228" actId="478"/>
          <ac:spMkLst>
            <pc:docMk/>
            <pc:sldMk cId="3817512787" sldId="2239"/>
            <ac:spMk id="8" creationId="{14066313-962F-F060-3D04-17D23F906E84}"/>
          </ac:spMkLst>
        </pc:spChg>
        <pc:spChg chg="add del">
          <ac:chgData name="Carlo Abi-Raad" userId="08fc5628-31e7-49b7-aa1d-2f25a1b05d33" providerId="ADAL" clId="{91DF428D-10D1-344C-A879-47C8A34A3BDD}" dt="2025-04-02T00:20:52.914" v="5196" actId="700"/>
          <ac:spMkLst>
            <pc:docMk/>
            <pc:sldMk cId="3817512787" sldId="2239"/>
            <ac:spMk id="9" creationId="{CBE500E3-7A56-1C30-537F-9458B6A1223B}"/>
          </ac:spMkLst>
        </pc:spChg>
        <pc:spChg chg="add del">
          <ac:chgData name="Carlo Abi-Raad" userId="08fc5628-31e7-49b7-aa1d-2f25a1b05d33" providerId="ADAL" clId="{91DF428D-10D1-344C-A879-47C8A34A3BDD}" dt="2025-04-02T00:20:52.914" v="5196" actId="700"/>
          <ac:spMkLst>
            <pc:docMk/>
            <pc:sldMk cId="3817512787" sldId="2239"/>
            <ac:spMk id="10" creationId="{812A12DA-9445-E031-3DE6-E67AB4667266}"/>
          </ac:spMkLst>
        </pc:spChg>
        <pc:spChg chg="add del">
          <ac:chgData name="Carlo Abi-Raad" userId="08fc5628-31e7-49b7-aa1d-2f25a1b05d33" providerId="ADAL" clId="{91DF428D-10D1-344C-A879-47C8A34A3BDD}" dt="2025-04-02T00:20:52.914" v="5196" actId="700"/>
          <ac:spMkLst>
            <pc:docMk/>
            <pc:sldMk cId="3817512787" sldId="2239"/>
            <ac:spMk id="12" creationId="{3CD1CCB2-4E38-93C8-A4E5-8B91DA1C3C77}"/>
          </ac:spMkLst>
        </pc:spChg>
        <pc:spChg chg="add del mod ord">
          <ac:chgData name="Carlo Abi-Raad" userId="08fc5628-31e7-49b7-aa1d-2f25a1b05d33" providerId="ADAL" clId="{91DF428D-10D1-344C-A879-47C8A34A3BDD}" dt="2025-04-02T00:21:03.492" v="5197" actId="478"/>
          <ac:spMkLst>
            <pc:docMk/>
            <pc:sldMk cId="3817512787" sldId="2239"/>
            <ac:spMk id="13" creationId="{22C8B23F-1032-A606-0B5B-A49C1CBEFC02}"/>
          </ac:spMkLst>
        </pc:spChg>
        <pc:spChg chg="del">
          <ac:chgData name="Carlo Abi-Raad" userId="08fc5628-31e7-49b7-aa1d-2f25a1b05d33" providerId="ADAL" clId="{91DF428D-10D1-344C-A879-47C8A34A3BDD}" dt="2025-04-01T03:32:50.868" v="4646" actId="478"/>
          <ac:spMkLst>
            <pc:docMk/>
            <pc:sldMk cId="3817512787" sldId="2239"/>
            <ac:spMk id="14" creationId="{225261E3-E9F0-28AB-1ECC-6C7A43739922}"/>
          </ac:spMkLst>
        </pc:spChg>
        <pc:spChg chg="del">
          <ac:chgData name="Carlo Abi-Raad" userId="08fc5628-31e7-49b7-aa1d-2f25a1b05d33" providerId="ADAL" clId="{91DF428D-10D1-344C-A879-47C8A34A3BDD}" dt="2025-04-01T03:32:50.868" v="4646" actId="478"/>
          <ac:spMkLst>
            <pc:docMk/>
            <pc:sldMk cId="3817512787" sldId="2239"/>
            <ac:spMk id="15" creationId="{95553D44-4833-532D-714D-30816E56EB8B}"/>
          </ac:spMkLst>
        </pc:spChg>
        <pc:spChg chg="del">
          <ac:chgData name="Carlo Abi-Raad" userId="08fc5628-31e7-49b7-aa1d-2f25a1b05d33" providerId="ADAL" clId="{91DF428D-10D1-344C-A879-47C8A34A3BDD}" dt="2025-04-01T03:32:50.868" v="4646" actId="478"/>
          <ac:spMkLst>
            <pc:docMk/>
            <pc:sldMk cId="3817512787" sldId="2239"/>
            <ac:spMk id="16" creationId="{48BB0405-57D4-72B8-E719-CE638A1B3326}"/>
          </ac:spMkLst>
        </pc:spChg>
        <pc:spChg chg="del">
          <ac:chgData name="Carlo Abi-Raad" userId="08fc5628-31e7-49b7-aa1d-2f25a1b05d33" providerId="ADAL" clId="{91DF428D-10D1-344C-A879-47C8A34A3BDD}" dt="2025-04-01T03:32:50.868" v="4646" actId="478"/>
          <ac:spMkLst>
            <pc:docMk/>
            <pc:sldMk cId="3817512787" sldId="2239"/>
            <ac:spMk id="17" creationId="{AE8BD9E0-ABF9-C6A2-676B-612867685AA2}"/>
          </ac:spMkLst>
        </pc:spChg>
        <pc:spChg chg="add del mod ord">
          <ac:chgData name="Carlo Abi-Raad" userId="08fc5628-31e7-49b7-aa1d-2f25a1b05d33" providerId="ADAL" clId="{91DF428D-10D1-344C-A879-47C8A34A3BDD}" dt="2025-04-02T00:21:30.479" v="5227"/>
          <ac:spMkLst>
            <pc:docMk/>
            <pc:sldMk cId="3817512787" sldId="2239"/>
            <ac:spMk id="18" creationId="{F6E8E18E-6AC6-578C-54DF-AC0ACE83E923}"/>
          </ac:spMkLst>
        </pc:spChg>
        <pc:spChg chg="add mod">
          <ac:chgData name="Carlo Abi-Raad" userId="08fc5628-31e7-49b7-aa1d-2f25a1b05d33" providerId="ADAL" clId="{91DF428D-10D1-344C-A879-47C8A34A3BDD}" dt="2025-04-02T00:21:33.861" v="5228" actId="478"/>
          <ac:spMkLst>
            <pc:docMk/>
            <pc:sldMk cId="3817512787" sldId="2239"/>
            <ac:spMk id="20" creationId="{BDBF3AC8-9A6C-8000-A2AC-95B2D2FE77F5}"/>
          </ac:spMkLst>
        </pc:spChg>
        <pc:graphicFrameChg chg="modGraphic">
          <ac:chgData name="Carlo Abi-Raad" userId="08fc5628-31e7-49b7-aa1d-2f25a1b05d33" providerId="ADAL" clId="{91DF428D-10D1-344C-A879-47C8A34A3BDD}" dt="2025-04-02T16:45:11.914" v="5697"/>
          <ac:graphicFrameMkLst>
            <pc:docMk/>
            <pc:sldMk cId="3817512787" sldId="2239"/>
            <ac:graphicFrameMk id="4" creationId="{411D1016-F6E1-5228-BFD4-B9A1FFABFD61}"/>
          </ac:graphicFrameMkLst>
        </pc:graphicFrameChg>
      </pc:sldChg>
      <pc:sldChg chg="modSp mod">
        <pc:chgData name="Carlo Abi-Raad" userId="08fc5628-31e7-49b7-aa1d-2f25a1b05d33" providerId="ADAL" clId="{91DF428D-10D1-344C-A879-47C8A34A3BDD}" dt="2025-04-02T18:20:48.960" v="5856" actId="20577"/>
        <pc:sldMkLst>
          <pc:docMk/>
          <pc:sldMk cId="3465619800" sldId="2240"/>
        </pc:sldMkLst>
        <pc:spChg chg="mod">
          <ac:chgData name="Carlo Abi-Raad" userId="08fc5628-31e7-49b7-aa1d-2f25a1b05d33" providerId="ADAL" clId="{91DF428D-10D1-344C-A879-47C8A34A3BDD}" dt="2025-04-02T18:20:48.960" v="5856" actId="20577"/>
          <ac:spMkLst>
            <pc:docMk/>
            <pc:sldMk cId="3465619800" sldId="2240"/>
            <ac:spMk id="5" creationId="{B63024AE-0E0D-0C5A-2C5A-C58B025D832C}"/>
          </ac:spMkLst>
        </pc:spChg>
        <pc:spChg chg="mod">
          <ac:chgData name="Carlo Abi-Raad" userId="08fc5628-31e7-49b7-aa1d-2f25a1b05d33" providerId="ADAL" clId="{91DF428D-10D1-344C-A879-47C8A34A3BDD}" dt="2025-04-02T18:20:41.643" v="5852" actId="20577"/>
          <ac:spMkLst>
            <pc:docMk/>
            <pc:sldMk cId="3465619800" sldId="2240"/>
            <ac:spMk id="32" creationId="{7CC530D1-430F-B6E2-3E78-19E9A17311A2}"/>
          </ac:spMkLst>
        </pc:spChg>
        <pc:spChg chg="mod">
          <ac:chgData name="Carlo Abi-Raad" userId="08fc5628-31e7-49b7-aa1d-2f25a1b05d33" providerId="ADAL" clId="{91DF428D-10D1-344C-A879-47C8A34A3BDD}" dt="2025-04-02T18:20:42.871" v="5853" actId="20577"/>
          <ac:spMkLst>
            <pc:docMk/>
            <pc:sldMk cId="3465619800" sldId="2240"/>
            <ac:spMk id="33" creationId="{EAC0BCD2-19A0-B5A1-DF06-3CBFE615C32F}"/>
          </ac:spMkLst>
        </pc:spChg>
        <pc:spChg chg="mod">
          <ac:chgData name="Carlo Abi-Raad" userId="08fc5628-31e7-49b7-aa1d-2f25a1b05d33" providerId="ADAL" clId="{91DF428D-10D1-344C-A879-47C8A34A3BDD}" dt="2025-04-02T18:20:44.002" v="5854" actId="20577"/>
          <ac:spMkLst>
            <pc:docMk/>
            <pc:sldMk cId="3465619800" sldId="2240"/>
            <ac:spMk id="34" creationId="{60EFC85E-6413-9627-EF1F-62A8FA653522}"/>
          </ac:spMkLst>
        </pc:spChg>
        <pc:spChg chg="mod">
          <ac:chgData name="Carlo Abi-Raad" userId="08fc5628-31e7-49b7-aa1d-2f25a1b05d33" providerId="ADAL" clId="{91DF428D-10D1-344C-A879-47C8A34A3BDD}" dt="2025-04-02T18:20:45.395" v="5855" actId="20577"/>
          <ac:spMkLst>
            <pc:docMk/>
            <pc:sldMk cId="3465619800" sldId="2240"/>
            <ac:spMk id="35" creationId="{B05BA212-B4B9-EBE8-9E7F-3DC673E6561C}"/>
          </ac:spMkLst>
        </pc:spChg>
      </pc:sldChg>
      <pc:sldChg chg="add del ord">
        <pc:chgData name="Carlo Abi-Raad" userId="08fc5628-31e7-49b7-aa1d-2f25a1b05d33" providerId="ADAL" clId="{91DF428D-10D1-344C-A879-47C8A34A3BDD}" dt="2025-04-01T22:27:31.916" v="5102" actId="2696"/>
        <pc:sldMkLst>
          <pc:docMk/>
          <pc:sldMk cId="1809440933" sldId="2241"/>
        </pc:sldMkLst>
      </pc:sldChg>
      <pc:sldChg chg="addSp delSp modSp add mod ord">
        <pc:chgData name="Carlo Abi-Raad" userId="08fc5628-31e7-49b7-aa1d-2f25a1b05d33" providerId="ADAL" clId="{91DF428D-10D1-344C-A879-47C8A34A3BDD}" dt="2025-04-01T22:25:47.355" v="5091" actId="20578"/>
        <pc:sldMkLst>
          <pc:docMk/>
          <pc:sldMk cId="1280728325" sldId="2242"/>
        </pc:sldMkLst>
        <pc:spChg chg="add del mod">
          <ac:chgData name="Carlo Abi-Raad" userId="08fc5628-31e7-49b7-aa1d-2f25a1b05d33" providerId="ADAL" clId="{91DF428D-10D1-344C-A879-47C8A34A3BDD}" dt="2025-04-01T04:22:10.517" v="4850"/>
          <ac:spMkLst>
            <pc:docMk/>
            <pc:sldMk cId="1280728325" sldId="2242"/>
            <ac:spMk id="3" creationId="{992BBCEA-C997-A023-399A-5B26EEB73670}"/>
          </ac:spMkLst>
        </pc:spChg>
        <pc:spChg chg="mod ord">
          <ac:chgData name="Carlo Abi-Raad" userId="08fc5628-31e7-49b7-aa1d-2f25a1b05d33" providerId="ADAL" clId="{91DF428D-10D1-344C-A879-47C8A34A3BDD}" dt="2025-04-01T22:10:46.054" v="5082" actId="20577"/>
          <ac:spMkLst>
            <pc:docMk/>
            <pc:sldMk cId="1280728325" sldId="2242"/>
            <ac:spMk id="9" creationId="{FA2955D8-B74B-DA7A-5189-E1F5BBA47E68}"/>
          </ac:spMkLst>
        </pc:spChg>
        <pc:spChg chg="del">
          <ac:chgData name="Carlo Abi-Raad" userId="08fc5628-31e7-49b7-aa1d-2f25a1b05d33" providerId="ADAL" clId="{91DF428D-10D1-344C-A879-47C8A34A3BDD}" dt="2025-04-01T04:22:15.839" v="4851" actId="26606"/>
          <ac:spMkLst>
            <pc:docMk/>
            <pc:sldMk cId="1280728325" sldId="2242"/>
            <ac:spMk id="30" creationId="{2E9E5451-D11F-5FDD-1CDB-AAEE2F167A67}"/>
          </ac:spMkLst>
        </pc:spChg>
        <pc:spChg chg="del">
          <ac:chgData name="Carlo Abi-Raad" userId="08fc5628-31e7-49b7-aa1d-2f25a1b05d33" providerId="ADAL" clId="{91DF428D-10D1-344C-A879-47C8A34A3BDD}" dt="2025-04-01T04:22:15.839" v="4851" actId="26606"/>
          <ac:spMkLst>
            <pc:docMk/>
            <pc:sldMk cId="1280728325" sldId="2242"/>
            <ac:spMk id="32" creationId="{B78C9555-4953-179B-8598-B9C611EE8A9D}"/>
          </ac:spMkLst>
        </pc:spChg>
        <pc:spChg chg="del">
          <ac:chgData name="Carlo Abi-Raad" userId="08fc5628-31e7-49b7-aa1d-2f25a1b05d33" providerId="ADAL" clId="{91DF428D-10D1-344C-A879-47C8A34A3BDD}" dt="2025-04-01T04:22:15.839" v="4851" actId="26606"/>
          <ac:spMkLst>
            <pc:docMk/>
            <pc:sldMk cId="1280728325" sldId="2242"/>
            <ac:spMk id="34" creationId="{AF111C4C-A7BB-5DFD-70AC-8027FCB5164E}"/>
          </ac:spMkLst>
        </pc:spChg>
        <pc:spChg chg="add">
          <ac:chgData name="Carlo Abi-Raad" userId="08fc5628-31e7-49b7-aa1d-2f25a1b05d33" providerId="ADAL" clId="{91DF428D-10D1-344C-A879-47C8A34A3BDD}" dt="2025-04-01T04:22:15.839" v="4851" actId="26606"/>
          <ac:spMkLst>
            <pc:docMk/>
            <pc:sldMk cId="1280728325" sldId="2242"/>
            <ac:spMk id="39" creationId="{7F733C86-A169-55FA-A9D5-C3EA01CF1DAA}"/>
          </ac:spMkLst>
        </pc:spChg>
        <pc:spChg chg="add">
          <ac:chgData name="Carlo Abi-Raad" userId="08fc5628-31e7-49b7-aa1d-2f25a1b05d33" providerId="ADAL" clId="{91DF428D-10D1-344C-A879-47C8A34A3BDD}" dt="2025-04-01T04:22:15.839" v="4851" actId="26606"/>
          <ac:spMkLst>
            <pc:docMk/>
            <pc:sldMk cId="1280728325" sldId="2242"/>
            <ac:spMk id="41" creationId="{F287332C-C641-CFE7-3D08-FAA67146A319}"/>
          </ac:spMkLst>
        </pc:spChg>
        <pc:spChg chg="add">
          <ac:chgData name="Carlo Abi-Raad" userId="08fc5628-31e7-49b7-aa1d-2f25a1b05d33" providerId="ADAL" clId="{91DF428D-10D1-344C-A879-47C8A34A3BDD}" dt="2025-04-01T04:22:15.839" v="4851" actId="26606"/>
          <ac:spMkLst>
            <pc:docMk/>
            <pc:sldMk cId="1280728325" sldId="2242"/>
            <ac:spMk id="43" creationId="{E61E87D5-C92B-BD0C-BA52-F4CFD871FBD3}"/>
          </ac:spMkLst>
        </pc:spChg>
        <pc:picChg chg="add mod">
          <ac:chgData name="Carlo Abi-Raad" userId="08fc5628-31e7-49b7-aa1d-2f25a1b05d33" providerId="ADAL" clId="{91DF428D-10D1-344C-A879-47C8A34A3BDD}" dt="2025-04-01T04:22:18.448" v="4853" actId="962"/>
          <ac:picMkLst>
            <pc:docMk/>
            <pc:sldMk cId="1280728325" sldId="2242"/>
            <ac:picMk id="4" creationId="{635866DA-3249-4B3D-C63A-14F4F526C4FE}"/>
          </ac:picMkLst>
        </pc:picChg>
        <pc:picChg chg="del">
          <ac:chgData name="Carlo Abi-Raad" userId="08fc5628-31e7-49b7-aa1d-2f25a1b05d33" providerId="ADAL" clId="{91DF428D-10D1-344C-A879-47C8A34A3BDD}" dt="2025-04-01T04:22:03.956" v="4849" actId="478"/>
          <ac:picMkLst>
            <pc:docMk/>
            <pc:sldMk cId="1280728325" sldId="2242"/>
            <ac:picMk id="25" creationId="{69D17369-9A0A-5D75-4A8F-4642F056CF90}"/>
          </ac:picMkLst>
        </pc:picChg>
      </pc:sldChg>
      <pc:sldChg chg="addSp delSp modSp add del mod">
        <pc:chgData name="Carlo Abi-Raad" userId="08fc5628-31e7-49b7-aa1d-2f25a1b05d33" providerId="ADAL" clId="{91DF428D-10D1-344C-A879-47C8A34A3BDD}" dt="2025-04-01T04:55:34.593" v="4898" actId="2696"/>
        <pc:sldMkLst>
          <pc:docMk/>
          <pc:sldMk cId="3393550696" sldId="2243"/>
        </pc:sldMkLst>
        <pc:spChg chg="add del mod">
          <ac:chgData name="Carlo Abi-Raad" userId="08fc5628-31e7-49b7-aa1d-2f25a1b05d33" providerId="ADAL" clId="{91DF428D-10D1-344C-A879-47C8A34A3BDD}" dt="2025-04-01T04:22:33.567" v="4855"/>
          <ac:spMkLst>
            <pc:docMk/>
            <pc:sldMk cId="3393550696" sldId="2243"/>
            <ac:spMk id="3" creationId="{9CA70925-D772-0405-87C5-3B0B6B3DCA57}"/>
          </ac:spMkLst>
        </pc:spChg>
        <pc:spChg chg="mod ord">
          <ac:chgData name="Carlo Abi-Raad" userId="08fc5628-31e7-49b7-aa1d-2f25a1b05d33" providerId="ADAL" clId="{91DF428D-10D1-344C-A879-47C8A34A3BDD}" dt="2025-04-01T04:22:37.253" v="4856" actId="26606"/>
          <ac:spMkLst>
            <pc:docMk/>
            <pc:sldMk cId="3393550696" sldId="2243"/>
            <ac:spMk id="9" creationId="{CF6A3B8D-46AC-7DB2-074A-D5738A3C5581}"/>
          </ac:spMkLst>
        </pc:spChg>
        <pc:spChg chg="del">
          <ac:chgData name="Carlo Abi-Raad" userId="08fc5628-31e7-49b7-aa1d-2f25a1b05d33" providerId="ADAL" clId="{91DF428D-10D1-344C-A879-47C8A34A3BDD}" dt="2025-04-01T04:22:37.253" v="4856" actId="26606"/>
          <ac:spMkLst>
            <pc:docMk/>
            <pc:sldMk cId="3393550696" sldId="2243"/>
            <ac:spMk id="10" creationId="{13564E3B-3D01-3AA6-7F11-BDD8AE8CF19F}"/>
          </ac:spMkLst>
        </pc:spChg>
        <pc:spChg chg="del">
          <ac:chgData name="Carlo Abi-Raad" userId="08fc5628-31e7-49b7-aa1d-2f25a1b05d33" providerId="ADAL" clId="{91DF428D-10D1-344C-A879-47C8A34A3BDD}" dt="2025-04-01T04:22:37.253" v="4856" actId="26606"/>
          <ac:spMkLst>
            <pc:docMk/>
            <pc:sldMk cId="3393550696" sldId="2243"/>
            <ac:spMk id="12" creationId="{34A23085-641A-68DD-4BD8-4A84735D844E}"/>
          </ac:spMkLst>
        </pc:spChg>
        <pc:spChg chg="del">
          <ac:chgData name="Carlo Abi-Raad" userId="08fc5628-31e7-49b7-aa1d-2f25a1b05d33" providerId="ADAL" clId="{91DF428D-10D1-344C-A879-47C8A34A3BDD}" dt="2025-04-01T04:22:37.253" v="4856" actId="26606"/>
          <ac:spMkLst>
            <pc:docMk/>
            <pc:sldMk cId="3393550696" sldId="2243"/>
            <ac:spMk id="13" creationId="{6FB2D045-F063-A7CF-4E9F-707F5E059EA6}"/>
          </ac:spMkLst>
        </pc:spChg>
        <pc:spChg chg="add">
          <ac:chgData name="Carlo Abi-Raad" userId="08fc5628-31e7-49b7-aa1d-2f25a1b05d33" providerId="ADAL" clId="{91DF428D-10D1-344C-A879-47C8A34A3BDD}" dt="2025-04-01T04:22:37.253" v="4856" actId="26606"/>
          <ac:spMkLst>
            <pc:docMk/>
            <pc:sldMk cId="3393550696" sldId="2243"/>
            <ac:spMk id="18" creationId="{20FA56D5-B40B-FFD8-305D-898C4C8A0A1B}"/>
          </ac:spMkLst>
        </pc:spChg>
        <pc:spChg chg="add">
          <ac:chgData name="Carlo Abi-Raad" userId="08fc5628-31e7-49b7-aa1d-2f25a1b05d33" providerId="ADAL" clId="{91DF428D-10D1-344C-A879-47C8A34A3BDD}" dt="2025-04-01T04:22:37.253" v="4856" actId="26606"/>
          <ac:spMkLst>
            <pc:docMk/>
            <pc:sldMk cId="3393550696" sldId="2243"/>
            <ac:spMk id="20" creationId="{B0575308-7CC0-4638-EC86-3EAC7619EA46}"/>
          </ac:spMkLst>
        </pc:spChg>
        <pc:spChg chg="add">
          <ac:chgData name="Carlo Abi-Raad" userId="08fc5628-31e7-49b7-aa1d-2f25a1b05d33" providerId="ADAL" clId="{91DF428D-10D1-344C-A879-47C8A34A3BDD}" dt="2025-04-01T04:22:37.253" v="4856" actId="26606"/>
          <ac:spMkLst>
            <pc:docMk/>
            <pc:sldMk cId="3393550696" sldId="2243"/>
            <ac:spMk id="22" creationId="{D9FB8165-F19C-434E-DD59-CB823A33C343}"/>
          </ac:spMkLst>
        </pc:spChg>
        <pc:picChg chg="add mod">
          <ac:chgData name="Carlo Abi-Raad" userId="08fc5628-31e7-49b7-aa1d-2f25a1b05d33" providerId="ADAL" clId="{91DF428D-10D1-344C-A879-47C8A34A3BDD}" dt="2025-04-01T04:22:39.131" v="4858" actId="962"/>
          <ac:picMkLst>
            <pc:docMk/>
            <pc:sldMk cId="3393550696" sldId="2243"/>
            <ac:picMk id="4" creationId="{7E9D6B88-6239-74DF-48F5-D12C7C25D6A5}"/>
          </ac:picMkLst>
        </pc:picChg>
        <pc:picChg chg="del">
          <ac:chgData name="Carlo Abi-Raad" userId="08fc5628-31e7-49b7-aa1d-2f25a1b05d33" providerId="ADAL" clId="{91DF428D-10D1-344C-A879-47C8A34A3BDD}" dt="2025-04-01T04:22:30.771" v="4854" actId="478"/>
          <ac:picMkLst>
            <pc:docMk/>
            <pc:sldMk cId="3393550696" sldId="2243"/>
            <ac:picMk id="15" creationId="{19F29385-101B-D850-0F4B-53CE4B20791E}"/>
          </ac:picMkLst>
        </pc:picChg>
      </pc:sldChg>
      <pc:sldChg chg="addSp delSp modSp add del mod">
        <pc:chgData name="Carlo Abi-Raad" userId="08fc5628-31e7-49b7-aa1d-2f25a1b05d33" providerId="ADAL" clId="{91DF428D-10D1-344C-A879-47C8A34A3BDD}" dt="2025-04-01T22:10:16.882" v="5060" actId="2696"/>
        <pc:sldMkLst>
          <pc:docMk/>
          <pc:sldMk cId="1439442414" sldId="2244"/>
        </pc:sldMkLst>
        <pc:spChg chg="add del mod">
          <ac:chgData name="Carlo Abi-Raad" userId="08fc5628-31e7-49b7-aa1d-2f25a1b05d33" providerId="ADAL" clId="{91DF428D-10D1-344C-A879-47C8A34A3BDD}" dt="2025-04-01T04:22:58.637" v="4860"/>
          <ac:spMkLst>
            <pc:docMk/>
            <pc:sldMk cId="1439442414" sldId="2244"/>
            <ac:spMk id="3" creationId="{591518E1-A119-6C04-B129-74F7A79534B5}"/>
          </ac:spMkLst>
        </pc:spChg>
        <pc:spChg chg="mod ord">
          <ac:chgData name="Carlo Abi-Raad" userId="08fc5628-31e7-49b7-aa1d-2f25a1b05d33" providerId="ADAL" clId="{91DF428D-10D1-344C-A879-47C8A34A3BDD}" dt="2025-04-01T04:23:01.786" v="4861" actId="26606"/>
          <ac:spMkLst>
            <pc:docMk/>
            <pc:sldMk cId="1439442414" sldId="2244"/>
            <ac:spMk id="9" creationId="{D57C2235-F57B-9925-FC16-E894F7025825}"/>
          </ac:spMkLst>
        </pc:spChg>
        <pc:spChg chg="del">
          <ac:chgData name="Carlo Abi-Raad" userId="08fc5628-31e7-49b7-aa1d-2f25a1b05d33" providerId="ADAL" clId="{91DF428D-10D1-344C-A879-47C8A34A3BDD}" dt="2025-04-01T04:23:01.786" v="4861" actId="26606"/>
          <ac:spMkLst>
            <pc:docMk/>
            <pc:sldMk cId="1439442414" sldId="2244"/>
            <ac:spMk id="10" creationId="{BFE4893F-48B3-8F64-7A60-F25AB6D41632}"/>
          </ac:spMkLst>
        </pc:spChg>
        <pc:spChg chg="del">
          <ac:chgData name="Carlo Abi-Raad" userId="08fc5628-31e7-49b7-aa1d-2f25a1b05d33" providerId="ADAL" clId="{91DF428D-10D1-344C-A879-47C8A34A3BDD}" dt="2025-04-01T04:23:01.786" v="4861" actId="26606"/>
          <ac:spMkLst>
            <pc:docMk/>
            <pc:sldMk cId="1439442414" sldId="2244"/>
            <ac:spMk id="12" creationId="{135BAA8A-536F-C0BC-EFDC-F3EF8F91302B}"/>
          </ac:spMkLst>
        </pc:spChg>
        <pc:spChg chg="del">
          <ac:chgData name="Carlo Abi-Raad" userId="08fc5628-31e7-49b7-aa1d-2f25a1b05d33" providerId="ADAL" clId="{91DF428D-10D1-344C-A879-47C8A34A3BDD}" dt="2025-04-01T04:23:01.786" v="4861" actId="26606"/>
          <ac:spMkLst>
            <pc:docMk/>
            <pc:sldMk cId="1439442414" sldId="2244"/>
            <ac:spMk id="13" creationId="{58618A68-7925-90CA-2FB9-1F7C545E8493}"/>
          </ac:spMkLst>
        </pc:spChg>
        <pc:spChg chg="add">
          <ac:chgData name="Carlo Abi-Raad" userId="08fc5628-31e7-49b7-aa1d-2f25a1b05d33" providerId="ADAL" clId="{91DF428D-10D1-344C-A879-47C8A34A3BDD}" dt="2025-04-01T04:23:01.786" v="4861" actId="26606"/>
          <ac:spMkLst>
            <pc:docMk/>
            <pc:sldMk cId="1439442414" sldId="2244"/>
            <ac:spMk id="18" creationId="{BEDACF21-90E7-702B-FABA-B1C2E7EB2B9F}"/>
          </ac:spMkLst>
        </pc:spChg>
        <pc:spChg chg="add">
          <ac:chgData name="Carlo Abi-Raad" userId="08fc5628-31e7-49b7-aa1d-2f25a1b05d33" providerId="ADAL" clId="{91DF428D-10D1-344C-A879-47C8A34A3BDD}" dt="2025-04-01T04:23:01.786" v="4861" actId="26606"/>
          <ac:spMkLst>
            <pc:docMk/>
            <pc:sldMk cId="1439442414" sldId="2244"/>
            <ac:spMk id="20" creationId="{240BC7CC-DEC1-2730-24CC-80568A2A0BC2}"/>
          </ac:spMkLst>
        </pc:spChg>
        <pc:spChg chg="add">
          <ac:chgData name="Carlo Abi-Raad" userId="08fc5628-31e7-49b7-aa1d-2f25a1b05d33" providerId="ADAL" clId="{91DF428D-10D1-344C-A879-47C8A34A3BDD}" dt="2025-04-01T04:23:01.786" v="4861" actId="26606"/>
          <ac:spMkLst>
            <pc:docMk/>
            <pc:sldMk cId="1439442414" sldId="2244"/>
            <ac:spMk id="22" creationId="{544E021C-C34E-F7B8-392B-7344FB4020E1}"/>
          </ac:spMkLst>
        </pc:spChg>
        <pc:picChg chg="add mod">
          <ac:chgData name="Carlo Abi-Raad" userId="08fc5628-31e7-49b7-aa1d-2f25a1b05d33" providerId="ADAL" clId="{91DF428D-10D1-344C-A879-47C8A34A3BDD}" dt="2025-04-01T04:23:03.929" v="4863" actId="962"/>
          <ac:picMkLst>
            <pc:docMk/>
            <pc:sldMk cId="1439442414" sldId="2244"/>
            <ac:picMk id="4" creationId="{74383126-2A9F-87A3-F8BC-6E52B18F7953}"/>
          </ac:picMkLst>
        </pc:picChg>
        <pc:picChg chg="del">
          <ac:chgData name="Carlo Abi-Raad" userId="08fc5628-31e7-49b7-aa1d-2f25a1b05d33" providerId="ADAL" clId="{91DF428D-10D1-344C-A879-47C8A34A3BDD}" dt="2025-04-01T04:22:56.249" v="4859" actId="478"/>
          <ac:picMkLst>
            <pc:docMk/>
            <pc:sldMk cId="1439442414" sldId="2244"/>
            <ac:picMk id="15" creationId="{38030AD8-8CDE-8B88-0650-107F566E34D6}"/>
          </ac:picMkLst>
        </pc:picChg>
      </pc:sldChg>
      <pc:sldChg chg="addSp delSp modSp add del mod ord">
        <pc:chgData name="Carlo Abi-Raad" userId="08fc5628-31e7-49b7-aa1d-2f25a1b05d33" providerId="ADAL" clId="{91DF428D-10D1-344C-A879-47C8A34A3BDD}" dt="2025-04-01T21:44:11.156" v="5013" actId="2696"/>
        <pc:sldMkLst>
          <pc:docMk/>
          <pc:sldMk cId="74205812" sldId="2245"/>
        </pc:sldMkLst>
        <pc:spChg chg="add del mod">
          <ac:chgData name="Carlo Abi-Raad" userId="08fc5628-31e7-49b7-aa1d-2f25a1b05d33" providerId="ADAL" clId="{91DF428D-10D1-344C-A879-47C8A34A3BDD}" dt="2025-04-01T04:23:20.748" v="4865"/>
          <ac:spMkLst>
            <pc:docMk/>
            <pc:sldMk cId="74205812" sldId="2245"/>
            <ac:spMk id="3" creationId="{BCB6B483-3B17-7774-84F3-12EF04175ACC}"/>
          </ac:spMkLst>
        </pc:spChg>
        <pc:spChg chg="mod ord">
          <ac:chgData name="Carlo Abi-Raad" userId="08fc5628-31e7-49b7-aa1d-2f25a1b05d33" providerId="ADAL" clId="{91DF428D-10D1-344C-A879-47C8A34A3BDD}" dt="2025-04-01T21:13:39.174" v="4989"/>
          <ac:spMkLst>
            <pc:docMk/>
            <pc:sldMk cId="74205812" sldId="2245"/>
            <ac:spMk id="9" creationId="{1521D569-194B-F3EB-5FCD-26904FA4D512}"/>
          </ac:spMkLst>
        </pc:spChg>
        <pc:spChg chg="del">
          <ac:chgData name="Carlo Abi-Raad" userId="08fc5628-31e7-49b7-aa1d-2f25a1b05d33" providerId="ADAL" clId="{91DF428D-10D1-344C-A879-47C8A34A3BDD}" dt="2025-04-01T04:23:23.704" v="4866" actId="26606"/>
          <ac:spMkLst>
            <pc:docMk/>
            <pc:sldMk cId="74205812" sldId="2245"/>
            <ac:spMk id="10" creationId="{48D3CB97-55F4-4BB4-850A-867003076535}"/>
          </ac:spMkLst>
        </pc:spChg>
        <pc:spChg chg="del">
          <ac:chgData name="Carlo Abi-Raad" userId="08fc5628-31e7-49b7-aa1d-2f25a1b05d33" providerId="ADAL" clId="{91DF428D-10D1-344C-A879-47C8A34A3BDD}" dt="2025-04-01T04:23:23.704" v="4866" actId="26606"/>
          <ac:spMkLst>
            <pc:docMk/>
            <pc:sldMk cId="74205812" sldId="2245"/>
            <ac:spMk id="12" creationId="{A8264944-9A56-880B-E81A-43A3161FCE79}"/>
          </ac:spMkLst>
        </pc:spChg>
        <pc:spChg chg="del">
          <ac:chgData name="Carlo Abi-Raad" userId="08fc5628-31e7-49b7-aa1d-2f25a1b05d33" providerId="ADAL" clId="{91DF428D-10D1-344C-A879-47C8A34A3BDD}" dt="2025-04-01T04:23:23.704" v="4866" actId="26606"/>
          <ac:spMkLst>
            <pc:docMk/>
            <pc:sldMk cId="74205812" sldId="2245"/>
            <ac:spMk id="13" creationId="{A19C93C6-A43D-1818-82F6-62842F215EEE}"/>
          </ac:spMkLst>
        </pc:spChg>
        <pc:spChg chg="add">
          <ac:chgData name="Carlo Abi-Raad" userId="08fc5628-31e7-49b7-aa1d-2f25a1b05d33" providerId="ADAL" clId="{91DF428D-10D1-344C-A879-47C8A34A3BDD}" dt="2025-04-01T04:23:23.704" v="4866" actId="26606"/>
          <ac:spMkLst>
            <pc:docMk/>
            <pc:sldMk cId="74205812" sldId="2245"/>
            <ac:spMk id="18" creationId="{26635761-B857-3C28-0B32-2C4B53F50E93}"/>
          </ac:spMkLst>
        </pc:spChg>
        <pc:spChg chg="add">
          <ac:chgData name="Carlo Abi-Raad" userId="08fc5628-31e7-49b7-aa1d-2f25a1b05d33" providerId="ADAL" clId="{91DF428D-10D1-344C-A879-47C8A34A3BDD}" dt="2025-04-01T04:23:23.704" v="4866" actId="26606"/>
          <ac:spMkLst>
            <pc:docMk/>
            <pc:sldMk cId="74205812" sldId="2245"/>
            <ac:spMk id="20" creationId="{EDDE99E2-A864-9007-BDC6-B4E56EDA2CFD}"/>
          </ac:spMkLst>
        </pc:spChg>
        <pc:spChg chg="add">
          <ac:chgData name="Carlo Abi-Raad" userId="08fc5628-31e7-49b7-aa1d-2f25a1b05d33" providerId="ADAL" clId="{91DF428D-10D1-344C-A879-47C8A34A3BDD}" dt="2025-04-01T04:23:23.704" v="4866" actId="26606"/>
          <ac:spMkLst>
            <pc:docMk/>
            <pc:sldMk cId="74205812" sldId="2245"/>
            <ac:spMk id="22" creationId="{8536CAC0-2C7D-30B7-F399-F53FBA89616D}"/>
          </ac:spMkLst>
        </pc:spChg>
        <pc:picChg chg="add mod">
          <ac:chgData name="Carlo Abi-Raad" userId="08fc5628-31e7-49b7-aa1d-2f25a1b05d33" providerId="ADAL" clId="{91DF428D-10D1-344C-A879-47C8A34A3BDD}" dt="2025-04-01T04:23:26.374" v="4868" actId="962"/>
          <ac:picMkLst>
            <pc:docMk/>
            <pc:sldMk cId="74205812" sldId="2245"/>
            <ac:picMk id="4" creationId="{43CD55E5-27AA-96E6-C3E7-D58899770066}"/>
          </ac:picMkLst>
        </pc:picChg>
        <pc:picChg chg="del">
          <ac:chgData name="Carlo Abi-Raad" userId="08fc5628-31e7-49b7-aa1d-2f25a1b05d33" providerId="ADAL" clId="{91DF428D-10D1-344C-A879-47C8A34A3BDD}" dt="2025-04-01T04:23:18.450" v="4864" actId="478"/>
          <ac:picMkLst>
            <pc:docMk/>
            <pc:sldMk cId="74205812" sldId="2245"/>
            <ac:picMk id="15" creationId="{5A00330C-9247-D99B-C733-9F91A1542EAF}"/>
          </ac:picMkLst>
        </pc:picChg>
      </pc:sldChg>
      <pc:sldChg chg="addSp delSp modSp add del mod">
        <pc:chgData name="Carlo Abi-Raad" userId="08fc5628-31e7-49b7-aa1d-2f25a1b05d33" providerId="ADAL" clId="{91DF428D-10D1-344C-A879-47C8A34A3BDD}" dt="2025-04-01T20:56:46.716" v="4945" actId="2696"/>
        <pc:sldMkLst>
          <pc:docMk/>
          <pc:sldMk cId="35633630" sldId="2246"/>
        </pc:sldMkLst>
        <pc:spChg chg="add del mod">
          <ac:chgData name="Carlo Abi-Raad" userId="08fc5628-31e7-49b7-aa1d-2f25a1b05d33" providerId="ADAL" clId="{91DF428D-10D1-344C-A879-47C8A34A3BDD}" dt="2025-04-01T04:24:02.393" v="4870"/>
          <ac:spMkLst>
            <pc:docMk/>
            <pc:sldMk cId="35633630" sldId="2246"/>
            <ac:spMk id="3" creationId="{62CD2219-115B-400F-6B36-ACEA8057F64D}"/>
          </ac:spMkLst>
        </pc:spChg>
        <pc:spChg chg="ord">
          <ac:chgData name="Carlo Abi-Raad" userId="08fc5628-31e7-49b7-aa1d-2f25a1b05d33" providerId="ADAL" clId="{91DF428D-10D1-344C-A879-47C8A34A3BDD}" dt="2025-04-01T04:24:05.382" v="4871" actId="26606"/>
          <ac:spMkLst>
            <pc:docMk/>
            <pc:sldMk cId="35633630" sldId="2246"/>
            <ac:spMk id="9" creationId="{D1487E31-65A6-C04D-2A6D-3C4A52549930}"/>
          </ac:spMkLst>
        </pc:spChg>
        <pc:spChg chg="del">
          <ac:chgData name="Carlo Abi-Raad" userId="08fc5628-31e7-49b7-aa1d-2f25a1b05d33" providerId="ADAL" clId="{91DF428D-10D1-344C-A879-47C8A34A3BDD}" dt="2025-04-01T04:24:05.382" v="4871" actId="26606"/>
          <ac:spMkLst>
            <pc:docMk/>
            <pc:sldMk cId="35633630" sldId="2246"/>
            <ac:spMk id="20" creationId="{1B17128C-343D-F834-AD90-83F43D7B0B25}"/>
          </ac:spMkLst>
        </pc:spChg>
        <pc:spChg chg="del">
          <ac:chgData name="Carlo Abi-Raad" userId="08fc5628-31e7-49b7-aa1d-2f25a1b05d33" providerId="ADAL" clId="{91DF428D-10D1-344C-A879-47C8A34A3BDD}" dt="2025-04-01T04:24:05.382" v="4871" actId="26606"/>
          <ac:spMkLst>
            <pc:docMk/>
            <pc:sldMk cId="35633630" sldId="2246"/>
            <ac:spMk id="22" creationId="{7F0BC109-507D-A69D-66B7-C93352840362}"/>
          </ac:spMkLst>
        </pc:spChg>
        <pc:spChg chg="del">
          <ac:chgData name="Carlo Abi-Raad" userId="08fc5628-31e7-49b7-aa1d-2f25a1b05d33" providerId="ADAL" clId="{91DF428D-10D1-344C-A879-47C8A34A3BDD}" dt="2025-04-01T04:24:05.382" v="4871" actId="26606"/>
          <ac:spMkLst>
            <pc:docMk/>
            <pc:sldMk cId="35633630" sldId="2246"/>
            <ac:spMk id="24" creationId="{C72DC495-37F0-2D7C-6A13-9E7EC3DD0E23}"/>
          </ac:spMkLst>
        </pc:spChg>
        <pc:spChg chg="add">
          <ac:chgData name="Carlo Abi-Raad" userId="08fc5628-31e7-49b7-aa1d-2f25a1b05d33" providerId="ADAL" clId="{91DF428D-10D1-344C-A879-47C8A34A3BDD}" dt="2025-04-01T04:24:05.382" v="4871" actId="26606"/>
          <ac:spMkLst>
            <pc:docMk/>
            <pc:sldMk cId="35633630" sldId="2246"/>
            <ac:spMk id="29" creationId="{4B6D67F5-D3C6-0318-EE5E-1416A9BA7B53}"/>
          </ac:spMkLst>
        </pc:spChg>
        <pc:spChg chg="add">
          <ac:chgData name="Carlo Abi-Raad" userId="08fc5628-31e7-49b7-aa1d-2f25a1b05d33" providerId="ADAL" clId="{91DF428D-10D1-344C-A879-47C8A34A3BDD}" dt="2025-04-01T04:24:05.382" v="4871" actId="26606"/>
          <ac:spMkLst>
            <pc:docMk/>
            <pc:sldMk cId="35633630" sldId="2246"/>
            <ac:spMk id="31" creationId="{E06825FB-D919-DF08-3A3A-99312FD0B8D7}"/>
          </ac:spMkLst>
        </pc:spChg>
        <pc:spChg chg="add">
          <ac:chgData name="Carlo Abi-Raad" userId="08fc5628-31e7-49b7-aa1d-2f25a1b05d33" providerId="ADAL" clId="{91DF428D-10D1-344C-A879-47C8A34A3BDD}" dt="2025-04-01T04:24:05.382" v="4871" actId="26606"/>
          <ac:spMkLst>
            <pc:docMk/>
            <pc:sldMk cId="35633630" sldId="2246"/>
            <ac:spMk id="33" creationId="{58C28A9F-0B72-663F-A633-28DE8D7C709E}"/>
          </ac:spMkLst>
        </pc:spChg>
        <pc:picChg chg="add mod">
          <ac:chgData name="Carlo Abi-Raad" userId="08fc5628-31e7-49b7-aa1d-2f25a1b05d33" providerId="ADAL" clId="{91DF428D-10D1-344C-A879-47C8A34A3BDD}" dt="2025-04-01T04:24:07.366" v="4873" actId="962"/>
          <ac:picMkLst>
            <pc:docMk/>
            <pc:sldMk cId="35633630" sldId="2246"/>
            <ac:picMk id="4" creationId="{F9BC5218-C0C4-44E0-3A41-78A94D242EEA}"/>
          </ac:picMkLst>
        </pc:picChg>
        <pc:picChg chg="del">
          <ac:chgData name="Carlo Abi-Raad" userId="08fc5628-31e7-49b7-aa1d-2f25a1b05d33" providerId="ADAL" clId="{91DF428D-10D1-344C-A879-47C8A34A3BDD}" dt="2025-04-01T04:23:59.894" v="4869" actId="478"/>
          <ac:picMkLst>
            <pc:docMk/>
            <pc:sldMk cId="35633630" sldId="2246"/>
            <ac:picMk id="15" creationId="{1ECDFD60-29E8-37E7-8A73-900390AFF4CE}"/>
          </ac:picMkLst>
        </pc:picChg>
      </pc:sldChg>
      <pc:sldChg chg="addSp delSp modSp add del mod">
        <pc:chgData name="Carlo Abi-Raad" userId="08fc5628-31e7-49b7-aa1d-2f25a1b05d33" providerId="ADAL" clId="{91DF428D-10D1-344C-A879-47C8A34A3BDD}" dt="2025-04-01T20:53:22.350" v="4933" actId="2696"/>
        <pc:sldMkLst>
          <pc:docMk/>
          <pc:sldMk cId="2081575966" sldId="2247"/>
        </pc:sldMkLst>
        <pc:spChg chg="add del mod">
          <ac:chgData name="Carlo Abi-Raad" userId="08fc5628-31e7-49b7-aa1d-2f25a1b05d33" providerId="ADAL" clId="{91DF428D-10D1-344C-A879-47C8A34A3BDD}" dt="2025-04-01T04:24:50.237" v="4875"/>
          <ac:spMkLst>
            <pc:docMk/>
            <pc:sldMk cId="2081575966" sldId="2247"/>
            <ac:spMk id="3" creationId="{C9444BD8-B0D9-E63A-BF8A-7C233DD54A4D}"/>
          </ac:spMkLst>
        </pc:spChg>
        <pc:spChg chg="add del mod">
          <ac:chgData name="Carlo Abi-Raad" userId="08fc5628-31e7-49b7-aa1d-2f25a1b05d33" providerId="ADAL" clId="{91DF428D-10D1-344C-A879-47C8A34A3BDD}" dt="2025-04-01T04:25:33.572" v="4877"/>
          <ac:spMkLst>
            <pc:docMk/>
            <pc:sldMk cId="2081575966" sldId="2247"/>
            <ac:spMk id="6" creationId="{30F44745-1833-FE7C-BE5E-45260BD94A2B}"/>
          </ac:spMkLst>
        </pc:spChg>
        <pc:spChg chg="mod ord">
          <ac:chgData name="Carlo Abi-Raad" userId="08fc5628-31e7-49b7-aa1d-2f25a1b05d33" providerId="ADAL" clId="{91DF428D-10D1-344C-A879-47C8A34A3BDD}" dt="2025-04-01T05:03:26.710" v="4914" actId="26606"/>
          <ac:spMkLst>
            <pc:docMk/>
            <pc:sldMk cId="2081575966" sldId="2247"/>
            <ac:spMk id="9" creationId="{7E850A25-B6FB-7C93-B5B6-E7A2C2693A0D}"/>
          </ac:spMkLst>
        </pc:spChg>
        <pc:spChg chg="del">
          <ac:chgData name="Carlo Abi-Raad" userId="08fc5628-31e7-49b7-aa1d-2f25a1b05d33" providerId="ADAL" clId="{91DF428D-10D1-344C-A879-47C8A34A3BDD}" dt="2025-04-01T04:25:36.679" v="4878" actId="26606"/>
          <ac:spMkLst>
            <pc:docMk/>
            <pc:sldMk cId="2081575966" sldId="2247"/>
            <ac:spMk id="10" creationId="{3C737906-8686-B4F5-C62F-5402F3E59847}"/>
          </ac:spMkLst>
        </pc:spChg>
        <pc:spChg chg="add del mod">
          <ac:chgData name="Carlo Abi-Raad" userId="08fc5628-31e7-49b7-aa1d-2f25a1b05d33" providerId="ADAL" clId="{91DF428D-10D1-344C-A879-47C8A34A3BDD}" dt="2025-04-01T04:56:33.591" v="4900"/>
          <ac:spMkLst>
            <pc:docMk/>
            <pc:sldMk cId="2081575966" sldId="2247"/>
            <ac:spMk id="11" creationId="{A46F7E2E-BC4F-8426-01CC-BFC2356E379A}"/>
          </ac:spMkLst>
        </pc:spChg>
        <pc:spChg chg="del">
          <ac:chgData name="Carlo Abi-Raad" userId="08fc5628-31e7-49b7-aa1d-2f25a1b05d33" providerId="ADAL" clId="{91DF428D-10D1-344C-A879-47C8A34A3BDD}" dt="2025-04-01T04:25:36.679" v="4878" actId="26606"/>
          <ac:spMkLst>
            <pc:docMk/>
            <pc:sldMk cId="2081575966" sldId="2247"/>
            <ac:spMk id="12" creationId="{5A4355B0-2077-F6D9-7C67-88390D1A9FE3}"/>
          </ac:spMkLst>
        </pc:spChg>
        <pc:spChg chg="del">
          <ac:chgData name="Carlo Abi-Raad" userId="08fc5628-31e7-49b7-aa1d-2f25a1b05d33" providerId="ADAL" clId="{91DF428D-10D1-344C-A879-47C8A34A3BDD}" dt="2025-04-01T04:25:36.679" v="4878" actId="26606"/>
          <ac:spMkLst>
            <pc:docMk/>
            <pc:sldMk cId="2081575966" sldId="2247"/>
            <ac:spMk id="13" creationId="{0104253A-124D-234E-06E0-E873EA85FA39}"/>
          </ac:spMkLst>
        </pc:spChg>
        <pc:spChg chg="add del mod">
          <ac:chgData name="Carlo Abi-Raad" userId="08fc5628-31e7-49b7-aa1d-2f25a1b05d33" providerId="ADAL" clId="{91DF428D-10D1-344C-A879-47C8A34A3BDD}" dt="2025-04-01T05:00:45.955" v="4907"/>
          <ac:spMkLst>
            <pc:docMk/>
            <pc:sldMk cId="2081575966" sldId="2247"/>
            <ac:spMk id="17" creationId="{4DE96F42-7BB3-B1A1-C432-FFA574183D13}"/>
          </ac:spMkLst>
        </pc:spChg>
        <pc:spChg chg="add del">
          <ac:chgData name="Carlo Abi-Raad" userId="08fc5628-31e7-49b7-aa1d-2f25a1b05d33" providerId="ADAL" clId="{91DF428D-10D1-344C-A879-47C8A34A3BDD}" dt="2025-04-01T04:57:10.498" v="4905" actId="26606"/>
          <ac:spMkLst>
            <pc:docMk/>
            <pc:sldMk cId="2081575966" sldId="2247"/>
            <ac:spMk id="18" creationId="{CCA63EFF-5B82-79C7-2F15-C720D28B98F0}"/>
          </ac:spMkLst>
        </pc:spChg>
        <pc:spChg chg="add del">
          <ac:chgData name="Carlo Abi-Raad" userId="08fc5628-31e7-49b7-aa1d-2f25a1b05d33" providerId="ADAL" clId="{91DF428D-10D1-344C-A879-47C8A34A3BDD}" dt="2025-04-01T04:57:10.498" v="4905" actId="26606"/>
          <ac:spMkLst>
            <pc:docMk/>
            <pc:sldMk cId="2081575966" sldId="2247"/>
            <ac:spMk id="20" creationId="{E3661635-A823-9AF3-9E96-56F2F370FF14}"/>
          </ac:spMkLst>
        </pc:spChg>
        <pc:spChg chg="add del">
          <ac:chgData name="Carlo Abi-Raad" userId="08fc5628-31e7-49b7-aa1d-2f25a1b05d33" providerId="ADAL" clId="{91DF428D-10D1-344C-A879-47C8A34A3BDD}" dt="2025-04-01T04:57:10.498" v="4905" actId="26606"/>
          <ac:spMkLst>
            <pc:docMk/>
            <pc:sldMk cId="2081575966" sldId="2247"/>
            <ac:spMk id="22" creationId="{DB52AFDD-DE6E-4899-77DF-DE38609555B5}"/>
          </ac:spMkLst>
        </pc:spChg>
        <pc:spChg chg="add del mod">
          <ac:chgData name="Carlo Abi-Raad" userId="08fc5628-31e7-49b7-aa1d-2f25a1b05d33" providerId="ADAL" clId="{91DF428D-10D1-344C-A879-47C8A34A3BDD}" dt="2025-04-01T05:01:00.384" v="4909"/>
          <ac:spMkLst>
            <pc:docMk/>
            <pc:sldMk cId="2081575966" sldId="2247"/>
            <ac:spMk id="23" creationId="{92FF2590-A770-1A07-784F-B0E427D8C39D}"/>
          </ac:spMkLst>
        </pc:spChg>
        <pc:spChg chg="add del mod">
          <ac:chgData name="Carlo Abi-Raad" userId="08fc5628-31e7-49b7-aa1d-2f25a1b05d33" providerId="ADAL" clId="{91DF428D-10D1-344C-A879-47C8A34A3BDD}" dt="2025-04-01T05:03:10.316" v="4911"/>
          <ac:spMkLst>
            <pc:docMk/>
            <pc:sldMk cId="2081575966" sldId="2247"/>
            <ac:spMk id="26" creationId="{941E2C54-0668-DC28-C468-82462FC26FF8}"/>
          </ac:spMkLst>
        </pc:spChg>
        <pc:spChg chg="add del">
          <ac:chgData name="Carlo Abi-Raad" userId="08fc5628-31e7-49b7-aa1d-2f25a1b05d33" providerId="ADAL" clId="{91DF428D-10D1-344C-A879-47C8A34A3BDD}" dt="2025-04-01T05:03:26.710" v="4914" actId="26606"/>
          <ac:spMkLst>
            <pc:docMk/>
            <pc:sldMk cId="2081575966" sldId="2247"/>
            <ac:spMk id="27" creationId="{F01851C4-3075-0938-E951-6D90A26BE81F}"/>
          </ac:spMkLst>
        </pc:spChg>
        <pc:spChg chg="add del">
          <ac:chgData name="Carlo Abi-Raad" userId="08fc5628-31e7-49b7-aa1d-2f25a1b05d33" providerId="ADAL" clId="{91DF428D-10D1-344C-A879-47C8A34A3BDD}" dt="2025-04-01T05:03:26.710" v="4914" actId="26606"/>
          <ac:spMkLst>
            <pc:docMk/>
            <pc:sldMk cId="2081575966" sldId="2247"/>
            <ac:spMk id="29" creationId="{355A4EC9-D612-1F28-DAF5-DB6BDE195ECD}"/>
          </ac:spMkLst>
        </pc:spChg>
        <pc:spChg chg="add del">
          <ac:chgData name="Carlo Abi-Raad" userId="08fc5628-31e7-49b7-aa1d-2f25a1b05d33" providerId="ADAL" clId="{91DF428D-10D1-344C-A879-47C8A34A3BDD}" dt="2025-04-01T05:03:26.710" v="4914" actId="26606"/>
          <ac:spMkLst>
            <pc:docMk/>
            <pc:sldMk cId="2081575966" sldId="2247"/>
            <ac:spMk id="31" creationId="{0F65DA95-2DC8-76E3-9516-3F93DA15854F}"/>
          </ac:spMkLst>
        </pc:spChg>
        <pc:spChg chg="add del mod">
          <ac:chgData name="Carlo Abi-Raad" userId="08fc5628-31e7-49b7-aa1d-2f25a1b05d33" providerId="ADAL" clId="{91DF428D-10D1-344C-A879-47C8A34A3BDD}" dt="2025-04-01T05:03:22.485" v="4913"/>
          <ac:spMkLst>
            <pc:docMk/>
            <pc:sldMk cId="2081575966" sldId="2247"/>
            <ac:spMk id="32" creationId="{44E4C390-7811-8F64-1FE0-4F4014C3EC81}"/>
          </ac:spMkLst>
        </pc:spChg>
        <pc:spChg chg="add">
          <ac:chgData name="Carlo Abi-Raad" userId="08fc5628-31e7-49b7-aa1d-2f25a1b05d33" providerId="ADAL" clId="{91DF428D-10D1-344C-A879-47C8A34A3BDD}" dt="2025-04-01T05:03:26.710" v="4914" actId="26606"/>
          <ac:spMkLst>
            <pc:docMk/>
            <pc:sldMk cId="2081575966" sldId="2247"/>
            <ac:spMk id="38" creationId="{FDDEF27B-7DE8-788B-3498-264F9236E739}"/>
          </ac:spMkLst>
        </pc:spChg>
        <pc:spChg chg="add">
          <ac:chgData name="Carlo Abi-Raad" userId="08fc5628-31e7-49b7-aa1d-2f25a1b05d33" providerId="ADAL" clId="{91DF428D-10D1-344C-A879-47C8A34A3BDD}" dt="2025-04-01T05:03:26.710" v="4914" actId="26606"/>
          <ac:spMkLst>
            <pc:docMk/>
            <pc:sldMk cId="2081575966" sldId="2247"/>
            <ac:spMk id="40" creationId="{0322B6C4-13FE-42B0-1AD9-78C985B6E4B6}"/>
          </ac:spMkLst>
        </pc:spChg>
        <pc:spChg chg="add">
          <ac:chgData name="Carlo Abi-Raad" userId="08fc5628-31e7-49b7-aa1d-2f25a1b05d33" providerId="ADAL" clId="{91DF428D-10D1-344C-A879-47C8A34A3BDD}" dt="2025-04-01T05:03:26.710" v="4914" actId="26606"/>
          <ac:spMkLst>
            <pc:docMk/>
            <pc:sldMk cId="2081575966" sldId="2247"/>
            <ac:spMk id="42" creationId="{93A2433D-D70F-62E0-FCBF-88B26C6382BF}"/>
          </ac:spMkLst>
        </pc:spChg>
        <pc:picChg chg="add del mod">
          <ac:chgData name="Carlo Abi-Raad" userId="08fc5628-31e7-49b7-aa1d-2f25a1b05d33" providerId="ADAL" clId="{91DF428D-10D1-344C-A879-47C8A34A3BDD}" dt="2025-04-01T04:24:59.871" v="4876" actId="478"/>
          <ac:picMkLst>
            <pc:docMk/>
            <pc:sldMk cId="2081575966" sldId="2247"/>
            <ac:picMk id="4" creationId="{BC7FEA7B-25A9-7F9A-04F6-71F8499BD5FF}"/>
          </ac:picMkLst>
        </pc:picChg>
        <pc:picChg chg="add del mod">
          <ac:chgData name="Carlo Abi-Raad" userId="08fc5628-31e7-49b7-aa1d-2f25a1b05d33" providerId="ADAL" clId="{91DF428D-10D1-344C-A879-47C8A34A3BDD}" dt="2025-04-01T04:56:30.635" v="4899" actId="478"/>
          <ac:picMkLst>
            <pc:docMk/>
            <pc:sldMk cId="2081575966" sldId="2247"/>
            <ac:picMk id="7" creationId="{020BFE6E-39AF-707A-1FA7-91D143E96C68}"/>
          </ac:picMkLst>
        </pc:picChg>
        <pc:picChg chg="add del mod">
          <ac:chgData name="Carlo Abi-Raad" userId="08fc5628-31e7-49b7-aa1d-2f25a1b05d33" providerId="ADAL" clId="{91DF428D-10D1-344C-A879-47C8A34A3BDD}" dt="2025-04-01T05:00:43.602" v="4906" actId="478"/>
          <ac:picMkLst>
            <pc:docMk/>
            <pc:sldMk cId="2081575966" sldId="2247"/>
            <ac:picMk id="14" creationId="{C62CE91B-0A79-9B94-416B-A83B45A14A02}"/>
          </ac:picMkLst>
        </pc:picChg>
        <pc:picChg chg="del">
          <ac:chgData name="Carlo Abi-Raad" userId="08fc5628-31e7-49b7-aa1d-2f25a1b05d33" providerId="ADAL" clId="{91DF428D-10D1-344C-A879-47C8A34A3BDD}" dt="2025-04-01T04:24:47.777" v="4874" actId="478"/>
          <ac:picMkLst>
            <pc:docMk/>
            <pc:sldMk cId="2081575966" sldId="2247"/>
            <ac:picMk id="15" creationId="{A768E481-1AF3-3086-4CE5-320FFD7A1285}"/>
          </ac:picMkLst>
        </pc:picChg>
        <pc:picChg chg="add del mod">
          <ac:chgData name="Carlo Abi-Raad" userId="08fc5628-31e7-49b7-aa1d-2f25a1b05d33" providerId="ADAL" clId="{91DF428D-10D1-344C-A879-47C8A34A3BDD}" dt="2025-04-01T05:00:50.793" v="4908" actId="478"/>
          <ac:picMkLst>
            <pc:docMk/>
            <pc:sldMk cId="2081575966" sldId="2247"/>
            <ac:picMk id="19" creationId="{05C79EB5-5F58-259D-5D0D-8B7653086B49}"/>
          </ac:picMkLst>
        </pc:picChg>
        <pc:picChg chg="add del mod">
          <ac:chgData name="Carlo Abi-Raad" userId="08fc5628-31e7-49b7-aa1d-2f25a1b05d33" providerId="ADAL" clId="{91DF428D-10D1-344C-A879-47C8A34A3BDD}" dt="2025-04-01T05:01:15.454" v="4910" actId="478"/>
          <ac:picMkLst>
            <pc:docMk/>
            <pc:sldMk cId="2081575966" sldId="2247"/>
            <ac:picMk id="24" creationId="{F2551D48-E7D3-28E7-6B41-1C8239D13103}"/>
          </ac:picMkLst>
        </pc:picChg>
        <pc:picChg chg="add del mod">
          <ac:chgData name="Carlo Abi-Raad" userId="08fc5628-31e7-49b7-aa1d-2f25a1b05d33" providerId="ADAL" clId="{91DF428D-10D1-344C-A879-47C8A34A3BDD}" dt="2025-04-01T05:03:20.254" v="4912" actId="478"/>
          <ac:picMkLst>
            <pc:docMk/>
            <pc:sldMk cId="2081575966" sldId="2247"/>
            <ac:picMk id="28" creationId="{59E698A8-61C2-D390-CDDA-100D1CE3FBD9}"/>
          </ac:picMkLst>
        </pc:picChg>
        <pc:picChg chg="add mod">
          <ac:chgData name="Carlo Abi-Raad" userId="08fc5628-31e7-49b7-aa1d-2f25a1b05d33" providerId="ADAL" clId="{91DF428D-10D1-344C-A879-47C8A34A3BDD}" dt="2025-04-01T05:03:28.560" v="4916" actId="962"/>
          <ac:picMkLst>
            <pc:docMk/>
            <pc:sldMk cId="2081575966" sldId="2247"/>
            <ac:picMk id="33" creationId="{63777554-070F-E9E2-396F-53A1AFE02C42}"/>
          </ac:picMkLst>
        </pc:picChg>
      </pc:sldChg>
      <pc:sldChg chg="addSp delSp modSp add del mod">
        <pc:chgData name="Carlo Abi-Raad" userId="08fc5628-31e7-49b7-aa1d-2f25a1b05d33" providerId="ADAL" clId="{91DF428D-10D1-344C-A879-47C8A34A3BDD}" dt="2025-04-01T21:12:16.869" v="4966" actId="2696"/>
        <pc:sldMkLst>
          <pc:docMk/>
          <pc:sldMk cId="3944640240" sldId="2248"/>
        </pc:sldMkLst>
        <pc:spChg chg="del">
          <ac:chgData name="Carlo Abi-Raad" userId="08fc5628-31e7-49b7-aa1d-2f25a1b05d33" providerId="ADAL" clId="{91DF428D-10D1-344C-A879-47C8A34A3BDD}" dt="2025-04-01T04:25:59.562" v="4883" actId="26606"/>
          <ac:spMkLst>
            <pc:docMk/>
            <pc:sldMk cId="3944640240" sldId="2248"/>
            <ac:spMk id="3" creationId="{E0907196-9134-6EE5-17A3-7192092A0877}"/>
          </ac:spMkLst>
        </pc:spChg>
        <pc:spChg chg="mod ord">
          <ac:chgData name="Carlo Abi-Raad" userId="08fc5628-31e7-49b7-aa1d-2f25a1b05d33" providerId="ADAL" clId="{91DF428D-10D1-344C-A879-47C8A34A3BDD}" dt="2025-04-01T04:25:59.562" v="4883" actId="26606"/>
          <ac:spMkLst>
            <pc:docMk/>
            <pc:sldMk cId="3944640240" sldId="2248"/>
            <ac:spMk id="4" creationId="{48635A39-F25B-700C-48CD-CCE0E719DF37}"/>
          </ac:spMkLst>
        </pc:spChg>
        <pc:spChg chg="del">
          <ac:chgData name="Carlo Abi-Raad" userId="08fc5628-31e7-49b7-aa1d-2f25a1b05d33" providerId="ADAL" clId="{91DF428D-10D1-344C-A879-47C8A34A3BDD}" dt="2025-04-01T04:25:59.562" v="4883" actId="26606"/>
          <ac:spMkLst>
            <pc:docMk/>
            <pc:sldMk cId="3944640240" sldId="2248"/>
            <ac:spMk id="5" creationId="{96159142-C50E-E150-40FA-E6E080BC6013}"/>
          </ac:spMkLst>
        </pc:spChg>
        <pc:spChg chg="del">
          <ac:chgData name="Carlo Abi-Raad" userId="08fc5628-31e7-49b7-aa1d-2f25a1b05d33" providerId="ADAL" clId="{91DF428D-10D1-344C-A879-47C8A34A3BDD}" dt="2025-04-01T04:25:59.562" v="4883" actId="26606"/>
          <ac:spMkLst>
            <pc:docMk/>
            <pc:sldMk cId="3944640240" sldId="2248"/>
            <ac:spMk id="6" creationId="{F03F09DA-CCAE-F730-4A98-F5E7673D0C17}"/>
          </ac:spMkLst>
        </pc:spChg>
        <pc:spChg chg="add del mod">
          <ac:chgData name="Carlo Abi-Raad" userId="08fc5628-31e7-49b7-aa1d-2f25a1b05d33" providerId="ADAL" clId="{91DF428D-10D1-344C-A879-47C8A34A3BDD}" dt="2025-04-01T04:25:56.885" v="4882"/>
          <ac:spMkLst>
            <pc:docMk/>
            <pc:sldMk cId="3944640240" sldId="2248"/>
            <ac:spMk id="7" creationId="{B958C3C5-5402-712D-FC19-51B786CFB099}"/>
          </ac:spMkLst>
        </pc:spChg>
        <pc:spChg chg="add">
          <ac:chgData name="Carlo Abi-Raad" userId="08fc5628-31e7-49b7-aa1d-2f25a1b05d33" providerId="ADAL" clId="{91DF428D-10D1-344C-A879-47C8A34A3BDD}" dt="2025-04-01T04:25:59.562" v="4883" actId="26606"/>
          <ac:spMkLst>
            <pc:docMk/>
            <pc:sldMk cId="3944640240" sldId="2248"/>
            <ac:spMk id="14" creationId="{BE7BEA3F-7AD8-6750-B7D6-3A492B00E92B}"/>
          </ac:spMkLst>
        </pc:spChg>
        <pc:spChg chg="add">
          <ac:chgData name="Carlo Abi-Raad" userId="08fc5628-31e7-49b7-aa1d-2f25a1b05d33" providerId="ADAL" clId="{91DF428D-10D1-344C-A879-47C8A34A3BDD}" dt="2025-04-01T04:25:59.562" v="4883" actId="26606"/>
          <ac:spMkLst>
            <pc:docMk/>
            <pc:sldMk cId="3944640240" sldId="2248"/>
            <ac:spMk id="16" creationId="{6DB85FC9-CF19-B9DD-97B4-6B0AC3180A97}"/>
          </ac:spMkLst>
        </pc:spChg>
        <pc:spChg chg="add">
          <ac:chgData name="Carlo Abi-Raad" userId="08fc5628-31e7-49b7-aa1d-2f25a1b05d33" providerId="ADAL" clId="{91DF428D-10D1-344C-A879-47C8A34A3BDD}" dt="2025-04-01T04:25:59.562" v="4883" actId="26606"/>
          <ac:spMkLst>
            <pc:docMk/>
            <pc:sldMk cId="3944640240" sldId="2248"/>
            <ac:spMk id="18" creationId="{0EC856D8-FE54-2EC1-7F49-E53FF662412E}"/>
          </ac:spMkLst>
        </pc:spChg>
        <pc:picChg chg="del">
          <ac:chgData name="Carlo Abi-Raad" userId="08fc5628-31e7-49b7-aa1d-2f25a1b05d33" providerId="ADAL" clId="{91DF428D-10D1-344C-A879-47C8A34A3BDD}" dt="2025-04-01T04:25:53.248" v="4881" actId="478"/>
          <ac:picMkLst>
            <pc:docMk/>
            <pc:sldMk cId="3944640240" sldId="2248"/>
            <ac:picMk id="8" creationId="{4B5C57C5-CBD3-8B82-2EE1-96081172D650}"/>
          </ac:picMkLst>
        </pc:picChg>
        <pc:picChg chg="add mod">
          <ac:chgData name="Carlo Abi-Raad" userId="08fc5628-31e7-49b7-aa1d-2f25a1b05d33" providerId="ADAL" clId="{91DF428D-10D1-344C-A879-47C8A34A3BDD}" dt="2025-04-01T04:26:01.670" v="4885" actId="962"/>
          <ac:picMkLst>
            <pc:docMk/>
            <pc:sldMk cId="3944640240" sldId="2248"/>
            <ac:picMk id="9" creationId="{AE46AF05-1C73-F449-DB94-B1755ECB926C}"/>
          </ac:picMkLst>
        </pc:picChg>
      </pc:sldChg>
      <pc:sldChg chg="addSp delSp modSp add del mod">
        <pc:chgData name="Carlo Abi-Raad" userId="08fc5628-31e7-49b7-aa1d-2f25a1b05d33" providerId="ADAL" clId="{91DF428D-10D1-344C-A879-47C8A34A3BDD}" dt="2025-04-01T21:28:36.261" v="5003" actId="2696"/>
        <pc:sldMkLst>
          <pc:docMk/>
          <pc:sldMk cId="4193993570" sldId="2249"/>
        </pc:sldMkLst>
        <pc:spChg chg="add del mod">
          <ac:chgData name="Carlo Abi-Raad" userId="08fc5628-31e7-49b7-aa1d-2f25a1b05d33" providerId="ADAL" clId="{91DF428D-10D1-344C-A879-47C8A34A3BDD}" dt="2025-04-01T04:28:03.488" v="4887"/>
          <ac:spMkLst>
            <pc:docMk/>
            <pc:sldMk cId="4193993570" sldId="2249"/>
            <ac:spMk id="3" creationId="{2B0F248C-31B8-A535-D34D-EE3559525E1B}"/>
          </ac:spMkLst>
        </pc:spChg>
        <pc:spChg chg="mod ord">
          <ac:chgData name="Carlo Abi-Raad" userId="08fc5628-31e7-49b7-aa1d-2f25a1b05d33" providerId="ADAL" clId="{91DF428D-10D1-344C-A879-47C8A34A3BDD}" dt="2025-04-01T04:28:07.729" v="4888" actId="26606"/>
          <ac:spMkLst>
            <pc:docMk/>
            <pc:sldMk cId="4193993570" sldId="2249"/>
            <ac:spMk id="9" creationId="{1EEC07CB-A355-54B4-19B3-B555CA7FF7C0}"/>
          </ac:spMkLst>
        </pc:spChg>
        <pc:spChg chg="del">
          <ac:chgData name="Carlo Abi-Raad" userId="08fc5628-31e7-49b7-aa1d-2f25a1b05d33" providerId="ADAL" clId="{91DF428D-10D1-344C-A879-47C8A34A3BDD}" dt="2025-04-01T04:28:07.729" v="4888" actId="26606"/>
          <ac:spMkLst>
            <pc:docMk/>
            <pc:sldMk cId="4193993570" sldId="2249"/>
            <ac:spMk id="10" creationId="{362C79C8-5C0A-3471-F4B4-F5688A2E6C64}"/>
          </ac:spMkLst>
        </pc:spChg>
        <pc:spChg chg="del">
          <ac:chgData name="Carlo Abi-Raad" userId="08fc5628-31e7-49b7-aa1d-2f25a1b05d33" providerId="ADAL" clId="{91DF428D-10D1-344C-A879-47C8A34A3BDD}" dt="2025-04-01T04:28:07.729" v="4888" actId="26606"/>
          <ac:spMkLst>
            <pc:docMk/>
            <pc:sldMk cId="4193993570" sldId="2249"/>
            <ac:spMk id="12" creationId="{BF113562-D48A-179F-A97C-AEF2D0F3E352}"/>
          </ac:spMkLst>
        </pc:spChg>
        <pc:spChg chg="del">
          <ac:chgData name="Carlo Abi-Raad" userId="08fc5628-31e7-49b7-aa1d-2f25a1b05d33" providerId="ADAL" clId="{91DF428D-10D1-344C-A879-47C8A34A3BDD}" dt="2025-04-01T04:28:07.729" v="4888" actId="26606"/>
          <ac:spMkLst>
            <pc:docMk/>
            <pc:sldMk cId="4193993570" sldId="2249"/>
            <ac:spMk id="13" creationId="{82B1AA91-9C6A-D20D-4B2F-12FE8B2BD363}"/>
          </ac:spMkLst>
        </pc:spChg>
        <pc:spChg chg="add">
          <ac:chgData name="Carlo Abi-Raad" userId="08fc5628-31e7-49b7-aa1d-2f25a1b05d33" providerId="ADAL" clId="{91DF428D-10D1-344C-A879-47C8A34A3BDD}" dt="2025-04-01T04:28:07.729" v="4888" actId="26606"/>
          <ac:spMkLst>
            <pc:docMk/>
            <pc:sldMk cId="4193993570" sldId="2249"/>
            <ac:spMk id="18" creationId="{6FCFF582-6AE3-973F-577F-53340371EB5E}"/>
          </ac:spMkLst>
        </pc:spChg>
        <pc:spChg chg="add">
          <ac:chgData name="Carlo Abi-Raad" userId="08fc5628-31e7-49b7-aa1d-2f25a1b05d33" providerId="ADAL" clId="{91DF428D-10D1-344C-A879-47C8A34A3BDD}" dt="2025-04-01T04:28:07.729" v="4888" actId="26606"/>
          <ac:spMkLst>
            <pc:docMk/>
            <pc:sldMk cId="4193993570" sldId="2249"/>
            <ac:spMk id="20" creationId="{FC8118B0-8B88-7A52-FB26-F041581C952A}"/>
          </ac:spMkLst>
        </pc:spChg>
        <pc:spChg chg="add">
          <ac:chgData name="Carlo Abi-Raad" userId="08fc5628-31e7-49b7-aa1d-2f25a1b05d33" providerId="ADAL" clId="{91DF428D-10D1-344C-A879-47C8A34A3BDD}" dt="2025-04-01T04:28:07.729" v="4888" actId="26606"/>
          <ac:spMkLst>
            <pc:docMk/>
            <pc:sldMk cId="4193993570" sldId="2249"/>
            <ac:spMk id="22" creationId="{2A2ACEA7-2B1F-7DA0-5034-4400F579B53E}"/>
          </ac:spMkLst>
        </pc:spChg>
        <pc:picChg chg="add mod">
          <ac:chgData name="Carlo Abi-Raad" userId="08fc5628-31e7-49b7-aa1d-2f25a1b05d33" providerId="ADAL" clId="{91DF428D-10D1-344C-A879-47C8A34A3BDD}" dt="2025-04-01T04:28:11.066" v="4890" actId="962"/>
          <ac:picMkLst>
            <pc:docMk/>
            <pc:sldMk cId="4193993570" sldId="2249"/>
            <ac:picMk id="4" creationId="{EA11D364-0617-C36B-7519-AFE1A1E00DD3}"/>
          </ac:picMkLst>
        </pc:picChg>
        <pc:picChg chg="del">
          <ac:chgData name="Carlo Abi-Raad" userId="08fc5628-31e7-49b7-aa1d-2f25a1b05d33" providerId="ADAL" clId="{91DF428D-10D1-344C-A879-47C8A34A3BDD}" dt="2025-04-01T04:26:43.428" v="4886" actId="478"/>
          <ac:picMkLst>
            <pc:docMk/>
            <pc:sldMk cId="4193993570" sldId="2249"/>
            <ac:picMk id="15" creationId="{5AE8318F-8A98-69C1-1C7C-F704B3AF798A}"/>
          </ac:picMkLst>
        </pc:picChg>
      </pc:sldChg>
      <pc:sldChg chg="addSp delSp modSp add mod ord">
        <pc:chgData name="Carlo Abi-Raad" userId="08fc5628-31e7-49b7-aa1d-2f25a1b05d33" providerId="ADAL" clId="{91DF428D-10D1-344C-A879-47C8A34A3BDD}" dt="2025-04-01T22:24:57.017" v="5087" actId="20578"/>
        <pc:sldMkLst>
          <pc:docMk/>
          <pc:sldMk cId="3790567012" sldId="2250"/>
        </pc:sldMkLst>
        <pc:spChg chg="add del mod">
          <ac:chgData name="Carlo Abi-Raad" userId="08fc5628-31e7-49b7-aa1d-2f25a1b05d33" providerId="ADAL" clId="{91DF428D-10D1-344C-A879-47C8A34A3BDD}" dt="2025-04-01T04:55:07.085" v="4894"/>
          <ac:spMkLst>
            <pc:docMk/>
            <pc:sldMk cId="3790567012" sldId="2250"/>
            <ac:spMk id="3" creationId="{1A67648F-0F1A-85C4-1C8D-D8E8E6F70819}"/>
          </ac:spMkLst>
        </pc:spChg>
        <pc:spChg chg="ord">
          <ac:chgData name="Carlo Abi-Raad" userId="08fc5628-31e7-49b7-aa1d-2f25a1b05d33" providerId="ADAL" clId="{91DF428D-10D1-344C-A879-47C8A34A3BDD}" dt="2025-04-01T04:55:11.116" v="4895" actId="26606"/>
          <ac:spMkLst>
            <pc:docMk/>
            <pc:sldMk cId="3790567012" sldId="2250"/>
            <ac:spMk id="9" creationId="{04C9D681-AF19-04BC-22F7-5229F60CBDD0}"/>
          </ac:spMkLst>
        </pc:spChg>
        <pc:spChg chg="del">
          <ac:chgData name="Carlo Abi-Raad" userId="08fc5628-31e7-49b7-aa1d-2f25a1b05d33" providerId="ADAL" clId="{91DF428D-10D1-344C-A879-47C8A34A3BDD}" dt="2025-04-01T04:55:11.116" v="4895" actId="26606"/>
          <ac:spMkLst>
            <pc:docMk/>
            <pc:sldMk cId="3790567012" sldId="2250"/>
            <ac:spMk id="18" creationId="{CE944088-8E88-473C-7A1E-1B326550F203}"/>
          </ac:spMkLst>
        </pc:spChg>
        <pc:spChg chg="del">
          <ac:chgData name="Carlo Abi-Raad" userId="08fc5628-31e7-49b7-aa1d-2f25a1b05d33" providerId="ADAL" clId="{91DF428D-10D1-344C-A879-47C8A34A3BDD}" dt="2025-04-01T04:55:11.116" v="4895" actId="26606"/>
          <ac:spMkLst>
            <pc:docMk/>
            <pc:sldMk cId="3790567012" sldId="2250"/>
            <ac:spMk id="20" creationId="{C6645331-37DF-AAA8-6030-4913B2DBB397}"/>
          </ac:spMkLst>
        </pc:spChg>
        <pc:spChg chg="del">
          <ac:chgData name="Carlo Abi-Raad" userId="08fc5628-31e7-49b7-aa1d-2f25a1b05d33" providerId="ADAL" clId="{91DF428D-10D1-344C-A879-47C8A34A3BDD}" dt="2025-04-01T04:55:11.116" v="4895" actId="26606"/>
          <ac:spMkLst>
            <pc:docMk/>
            <pc:sldMk cId="3790567012" sldId="2250"/>
            <ac:spMk id="22" creationId="{97DCDC6E-F51A-265D-E95C-4671B428F4C1}"/>
          </ac:spMkLst>
        </pc:spChg>
        <pc:spChg chg="add">
          <ac:chgData name="Carlo Abi-Raad" userId="08fc5628-31e7-49b7-aa1d-2f25a1b05d33" providerId="ADAL" clId="{91DF428D-10D1-344C-A879-47C8A34A3BDD}" dt="2025-04-01T04:55:11.116" v="4895" actId="26606"/>
          <ac:spMkLst>
            <pc:docMk/>
            <pc:sldMk cId="3790567012" sldId="2250"/>
            <ac:spMk id="27" creationId="{817D5D76-4ED7-962D-7C17-085BACCFAF8C}"/>
          </ac:spMkLst>
        </pc:spChg>
        <pc:spChg chg="add">
          <ac:chgData name="Carlo Abi-Raad" userId="08fc5628-31e7-49b7-aa1d-2f25a1b05d33" providerId="ADAL" clId="{91DF428D-10D1-344C-A879-47C8A34A3BDD}" dt="2025-04-01T04:55:11.116" v="4895" actId="26606"/>
          <ac:spMkLst>
            <pc:docMk/>
            <pc:sldMk cId="3790567012" sldId="2250"/>
            <ac:spMk id="29" creationId="{407E41FB-6C6B-3132-D2DB-913E0887C84D}"/>
          </ac:spMkLst>
        </pc:spChg>
        <pc:spChg chg="add">
          <ac:chgData name="Carlo Abi-Raad" userId="08fc5628-31e7-49b7-aa1d-2f25a1b05d33" providerId="ADAL" clId="{91DF428D-10D1-344C-A879-47C8A34A3BDD}" dt="2025-04-01T04:55:11.116" v="4895" actId="26606"/>
          <ac:spMkLst>
            <pc:docMk/>
            <pc:sldMk cId="3790567012" sldId="2250"/>
            <ac:spMk id="31" creationId="{7F7E66FC-CA4B-D46B-7DF6-E328D4C7EBD9}"/>
          </ac:spMkLst>
        </pc:spChg>
        <pc:picChg chg="del">
          <ac:chgData name="Carlo Abi-Raad" userId="08fc5628-31e7-49b7-aa1d-2f25a1b05d33" providerId="ADAL" clId="{91DF428D-10D1-344C-A879-47C8A34A3BDD}" dt="2025-04-01T04:55:03.302" v="4893" actId="478"/>
          <ac:picMkLst>
            <pc:docMk/>
            <pc:sldMk cId="3790567012" sldId="2250"/>
            <ac:picMk id="4" creationId="{84DCE668-9A0F-E657-A5ED-1E577D1B8B98}"/>
          </ac:picMkLst>
        </pc:picChg>
        <pc:picChg chg="add mod">
          <ac:chgData name="Carlo Abi-Raad" userId="08fc5628-31e7-49b7-aa1d-2f25a1b05d33" providerId="ADAL" clId="{91DF428D-10D1-344C-A879-47C8A34A3BDD}" dt="2025-04-01T04:55:14.067" v="4897" actId="962"/>
          <ac:picMkLst>
            <pc:docMk/>
            <pc:sldMk cId="3790567012" sldId="2250"/>
            <ac:picMk id="5" creationId="{36412140-3C0D-C29C-8DA7-753A8E59984B}"/>
          </ac:picMkLst>
        </pc:picChg>
      </pc:sldChg>
      <pc:sldChg chg="modSp mod">
        <pc:chgData name="Carlo Abi-Raad" userId="08fc5628-31e7-49b7-aa1d-2f25a1b05d33" providerId="ADAL" clId="{91DF428D-10D1-344C-A879-47C8A34A3BDD}" dt="2025-04-02T18:15:33.030" v="5829" actId="20577"/>
        <pc:sldMkLst>
          <pc:docMk/>
          <pc:sldMk cId="2659131323" sldId="2251"/>
        </pc:sldMkLst>
        <pc:spChg chg="mod">
          <ac:chgData name="Carlo Abi-Raad" userId="08fc5628-31e7-49b7-aa1d-2f25a1b05d33" providerId="ADAL" clId="{91DF428D-10D1-344C-A879-47C8A34A3BDD}" dt="2025-04-02T18:15:33.030" v="5829" actId="20577"/>
          <ac:spMkLst>
            <pc:docMk/>
            <pc:sldMk cId="2659131323" sldId="2251"/>
            <ac:spMk id="22" creationId="{16F5E0C7-E821-7721-F854-ACFDF289F513}"/>
          </ac:spMkLst>
        </pc:spChg>
      </pc:sldChg>
      <pc:sldChg chg="addSp delSp modSp mod">
        <pc:chgData name="Carlo Abi-Raad" userId="08fc5628-31e7-49b7-aa1d-2f25a1b05d33" providerId="ADAL" clId="{91DF428D-10D1-344C-A879-47C8A34A3BDD}" dt="2025-04-02T04:51:53.700" v="5592"/>
        <pc:sldMkLst>
          <pc:docMk/>
          <pc:sldMk cId="540644153" sldId="2252"/>
        </pc:sldMkLst>
        <pc:spChg chg="mod">
          <ac:chgData name="Carlo Abi-Raad" userId="08fc5628-31e7-49b7-aa1d-2f25a1b05d33" providerId="ADAL" clId="{91DF428D-10D1-344C-A879-47C8A34A3BDD}" dt="2025-04-02T04:48:19.792" v="5568" actId="1076"/>
          <ac:spMkLst>
            <pc:docMk/>
            <pc:sldMk cId="540644153" sldId="2252"/>
            <ac:spMk id="49" creationId="{5A9A0174-B59C-FE1F-9E09-9D8DE6E3000E}"/>
          </ac:spMkLst>
        </pc:spChg>
        <pc:spChg chg="del mod">
          <ac:chgData name="Carlo Abi-Raad" userId="08fc5628-31e7-49b7-aa1d-2f25a1b05d33" providerId="ADAL" clId="{91DF428D-10D1-344C-A879-47C8A34A3BDD}" dt="2025-04-02T04:51:30.092" v="5587" actId="478"/>
          <ac:spMkLst>
            <pc:docMk/>
            <pc:sldMk cId="540644153" sldId="2252"/>
            <ac:spMk id="52" creationId="{D0976BB7-6E9C-C39C-6B6B-CB6D732F1792}"/>
          </ac:spMkLst>
        </pc:spChg>
        <pc:spChg chg="del mod">
          <ac:chgData name="Carlo Abi-Raad" userId="08fc5628-31e7-49b7-aa1d-2f25a1b05d33" providerId="ADAL" clId="{91DF428D-10D1-344C-A879-47C8A34A3BDD}" dt="2025-04-02T04:51:53.151" v="5591" actId="478"/>
          <ac:spMkLst>
            <pc:docMk/>
            <pc:sldMk cId="540644153" sldId="2252"/>
            <ac:spMk id="53" creationId="{C88A9803-3895-0345-8C43-38558A51E50D}"/>
          </ac:spMkLst>
        </pc:spChg>
        <pc:spChg chg="del">
          <ac:chgData name="Carlo Abi-Raad" userId="08fc5628-31e7-49b7-aa1d-2f25a1b05d33" providerId="ADAL" clId="{91DF428D-10D1-344C-A879-47C8A34A3BDD}" dt="2025-04-02T04:41:47.443" v="5512" actId="478"/>
          <ac:spMkLst>
            <pc:docMk/>
            <pc:sldMk cId="540644153" sldId="2252"/>
            <ac:spMk id="54" creationId="{8798AA91-4558-E41E-9D59-621EF909B26B}"/>
          </ac:spMkLst>
        </pc:spChg>
        <pc:spChg chg="mod">
          <ac:chgData name="Carlo Abi-Raad" userId="08fc5628-31e7-49b7-aa1d-2f25a1b05d33" providerId="ADAL" clId="{91DF428D-10D1-344C-A879-47C8A34A3BDD}" dt="2025-04-02T04:48:19.792" v="5568" actId="1076"/>
          <ac:spMkLst>
            <pc:docMk/>
            <pc:sldMk cId="540644153" sldId="2252"/>
            <ac:spMk id="55" creationId="{80925D2B-6C6B-E187-79BB-029427A23D94}"/>
          </ac:spMkLst>
        </pc:spChg>
        <pc:spChg chg="mod">
          <ac:chgData name="Carlo Abi-Raad" userId="08fc5628-31e7-49b7-aa1d-2f25a1b05d33" providerId="ADAL" clId="{91DF428D-10D1-344C-A879-47C8A34A3BDD}" dt="2025-04-02T04:48:19.792" v="5568" actId="1076"/>
          <ac:spMkLst>
            <pc:docMk/>
            <pc:sldMk cId="540644153" sldId="2252"/>
            <ac:spMk id="56" creationId="{315F5284-8A08-C13E-CE0F-D3D9315EE917}"/>
          </ac:spMkLst>
        </pc:spChg>
        <pc:spChg chg="mod">
          <ac:chgData name="Carlo Abi-Raad" userId="08fc5628-31e7-49b7-aa1d-2f25a1b05d33" providerId="ADAL" clId="{91DF428D-10D1-344C-A879-47C8A34A3BDD}" dt="2025-04-02T04:48:49.742" v="5571" actId="1076"/>
          <ac:spMkLst>
            <pc:docMk/>
            <pc:sldMk cId="540644153" sldId="2252"/>
            <ac:spMk id="57" creationId="{38875906-ACE6-DA08-FE5B-DB85EC2AE5AD}"/>
          </ac:spMkLst>
        </pc:spChg>
        <pc:spChg chg="mod">
          <ac:chgData name="Carlo Abi-Raad" userId="08fc5628-31e7-49b7-aa1d-2f25a1b05d33" providerId="ADAL" clId="{91DF428D-10D1-344C-A879-47C8A34A3BDD}" dt="2025-04-02T04:48:49.742" v="5571" actId="1076"/>
          <ac:spMkLst>
            <pc:docMk/>
            <pc:sldMk cId="540644153" sldId="2252"/>
            <ac:spMk id="58" creationId="{506E1156-3DE7-9C4E-9EFB-91452AF28C28}"/>
          </ac:spMkLst>
        </pc:spChg>
        <pc:spChg chg="mod">
          <ac:chgData name="Carlo Abi-Raad" userId="08fc5628-31e7-49b7-aa1d-2f25a1b05d33" providerId="ADAL" clId="{91DF428D-10D1-344C-A879-47C8A34A3BDD}" dt="2025-04-02T04:48:49.742" v="5571" actId="1076"/>
          <ac:spMkLst>
            <pc:docMk/>
            <pc:sldMk cId="540644153" sldId="2252"/>
            <ac:spMk id="59" creationId="{729426D5-804E-B083-5C74-8987D821A83E}"/>
          </ac:spMkLst>
        </pc:spChg>
        <pc:spChg chg="mod">
          <ac:chgData name="Carlo Abi-Raad" userId="08fc5628-31e7-49b7-aa1d-2f25a1b05d33" providerId="ADAL" clId="{91DF428D-10D1-344C-A879-47C8A34A3BDD}" dt="2025-04-02T04:48:31.078" v="5569" actId="1076"/>
          <ac:spMkLst>
            <pc:docMk/>
            <pc:sldMk cId="540644153" sldId="2252"/>
            <ac:spMk id="60" creationId="{AFA333C1-B9F9-CB68-72B4-5D8CC1366F33}"/>
          </ac:spMkLst>
        </pc:spChg>
        <pc:spChg chg="del mod">
          <ac:chgData name="Carlo Abi-Raad" userId="08fc5628-31e7-49b7-aa1d-2f25a1b05d33" providerId="ADAL" clId="{91DF428D-10D1-344C-A879-47C8A34A3BDD}" dt="2025-04-02T04:51:37.633" v="5589" actId="478"/>
          <ac:spMkLst>
            <pc:docMk/>
            <pc:sldMk cId="540644153" sldId="2252"/>
            <ac:spMk id="61" creationId="{25F39A84-7E5B-7812-7B0E-26BABECA7330}"/>
          </ac:spMkLst>
        </pc:spChg>
        <pc:spChg chg="del mod">
          <ac:chgData name="Carlo Abi-Raad" userId="08fc5628-31e7-49b7-aa1d-2f25a1b05d33" providerId="ADAL" clId="{91DF428D-10D1-344C-A879-47C8A34A3BDD}" dt="2025-04-02T04:51:18.619" v="5585" actId="478"/>
          <ac:spMkLst>
            <pc:docMk/>
            <pc:sldMk cId="540644153" sldId="2252"/>
            <ac:spMk id="62" creationId="{1A7CD29E-FE49-6794-2786-D5AD8B977F54}"/>
          </ac:spMkLst>
        </pc:spChg>
        <pc:spChg chg="del">
          <ac:chgData name="Carlo Abi-Raad" userId="08fc5628-31e7-49b7-aa1d-2f25a1b05d33" providerId="ADAL" clId="{91DF428D-10D1-344C-A879-47C8A34A3BDD}" dt="2025-04-02T04:41:48.714" v="5513" actId="478"/>
          <ac:spMkLst>
            <pc:docMk/>
            <pc:sldMk cId="540644153" sldId="2252"/>
            <ac:spMk id="63" creationId="{B7871FD9-1D34-C6D3-0D5F-B1A96803E8D7}"/>
          </ac:spMkLst>
        </pc:spChg>
        <pc:spChg chg="mod">
          <ac:chgData name="Carlo Abi-Raad" userId="08fc5628-31e7-49b7-aa1d-2f25a1b05d33" providerId="ADAL" clId="{91DF428D-10D1-344C-A879-47C8A34A3BDD}" dt="2025-04-02T04:48:31.078" v="5569" actId="1076"/>
          <ac:spMkLst>
            <pc:docMk/>
            <pc:sldMk cId="540644153" sldId="2252"/>
            <ac:spMk id="64" creationId="{9C87AA95-F460-BDD0-EC13-661E2A878D74}"/>
          </ac:spMkLst>
        </pc:spChg>
        <pc:spChg chg="mod">
          <ac:chgData name="Carlo Abi-Raad" userId="08fc5628-31e7-49b7-aa1d-2f25a1b05d33" providerId="ADAL" clId="{91DF428D-10D1-344C-A879-47C8A34A3BDD}" dt="2025-04-02T04:48:31.078" v="5569" actId="1076"/>
          <ac:spMkLst>
            <pc:docMk/>
            <pc:sldMk cId="540644153" sldId="2252"/>
            <ac:spMk id="65" creationId="{B0F82CAC-20D0-6BFC-C434-1958006CA9A6}"/>
          </ac:spMkLst>
        </pc:spChg>
        <pc:spChg chg="mod">
          <ac:chgData name="Carlo Abi-Raad" userId="08fc5628-31e7-49b7-aa1d-2f25a1b05d33" providerId="ADAL" clId="{91DF428D-10D1-344C-A879-47C8A34A3BDD}" dt="2025-04-02T04:48:43.457" v="5570" actId="1076"/>
          <ac:spMkLst>
            <pc:docMk/>
            <pc:sldMk cId="540644153" sldId="2252"/>
            <ac:spMk id="66" creationId="{76EB23F2-1BAA-EB00-A4DE-6D91E8AA8582}"/>
          </ac:spMkLst>
        </pc:spChg>
        <pc:spChg chg="mod">
          <ac:chgData name="Carlo Abi-Raad" userId="08fc5628-31e7-49b7-aa1d-2f25a1b05d33" providerId="ADAL" clId="{91DF428D-10D1-344C-A879-47C8A34A3BDD}" dt="2025-04-02T04:48:43.457" v="5570" actId="1076"/>
          <ac:spMkLst>
            <pc:docMk/>
            <pc:sldMk cId="540644153" sldId="2252"/>
            <ac:spMk id="67" creationId="{C2BB1C63-4F96-DE67-BA8C-5F108C0EFEEE}"/>
          </ac:spMkLst>
        </pc:spChg>
        <pc:spChg chg="mod">
          <ac:chgData name="Carlo Abi-Raad" userId="08fc5628-31e7-49b7-aa1d-2f25a1b05d33" providerId="ADAL" clId="{91DF428D-10D1-344C-A879-47C8A34A3BDD}" dt="2025-04-02T04:48:43.457" v="5570" actId="1076"/>
          <ac:spMkLst>
            <pc:docMk/>
            <pc:sldMk cId="540644153" sldId="2252"/>
            <ac:spMk id="68" creationId="{51BF1A7D-743A-D0E6-2387-D67EA51CCD24}"/>
          </ac:spMkLst>
        </pc:spChg>
        <pc:spChg chg="add mod">
          <ac:chgData name="Carlo Abi-Raad" userId="08fc5628-31e7-49b7-aa1d-2f25a1b05d33" providerId="ADAL" clId="{91DF428D-10D1-344C-A879-47C8A34A3BDD}" dt="2025-04-02T04:51:19.183" v="5586"/>
          <ac:spMkLst>
            <pc:docMk/>
            <pc:sldMk cId="540644153" sldId="2252"/>
            <ac:spMk id="69" creationId="{31F2B537-8905-05FD-07AB-A48E9A924D9B}"/>
          </ac:spMkLst>
        </pc:spChg>
        <pc:spChg chg="add mod">
          <ac:chgData name="Carlo Abi-Raad" userId="08fc5628-31e7-49b7-aa1d-2f25a1b05d33" providerId="ADAL" clId="{91DF428D-10D1-344C-A879-47C8A34A3BDD}" dt="2025-04-02T04:51:30.657" v="5588"/>
          <ac:spMkLst>
            <pc:docMk/>
            <pc:sldMk cId="540644153" sldId="2252"/>
            <ac:spMk id="70" creationId="{B67FDAF7-8B37-77D4-432C-6F026496F523}"/>
          </ac:spMkLst>
        </pc:spChg>
        <pc:spChg chg="add mod">
          <ac:chgData name="Carlo Abi-Raad" userId="08fc5628-31e7-49b7-aa1d-2f25a1b05d33" providerId="ADAL" clId="{91DF428D-10D1-344C-A879-47C8A34A3BDD}" dt="2025-04-02T04:51:38.161" v="5590"/>
          <ac:spMkLst>
            <pc:docMk/>
            <pc:sldMk cId="540644153" sldId="2252"/>
            <ac:spMk id="71" creationId="{F2B66F98-8D62-4536-D81F-0CA4CAE8C916}"/>
          </ac:spMkLst>
        </pc:spChg>
        <pc:spChg chg="add mod">
          <ac:chgData name="Carlo Abi-Raad" userId="08fc5628-31e7-49b7-aa1d-2f25a1b05d33" providerId="ADAL" clId="{91DF428D-10D1-344C-A879-47C8A34A3BDD}" dt="2025-04-02T04:51:53.700" v="5592"/>
          <ac:spMkLst>
            <pc:docMk/>
            <pc:sldMk cId="540644153" sldId="2252"/>
            <ac:spMk id="72" creationId="{750F8882-1DDE-FD55-2C73-035FE3AF3355}"/>
          </ac:spMkLst>
        </pc:spChg>
        <pc:cxnChg chg="add mod">
          <ac:chgData name="Carlo Abi-Raad" userId="08fc5628-31e7-49b7-aa1d-2f25a1b05d33" providerId="ADAL" clId="{91DF428D-10D1-344C-A879-47C8A34A3BDD}" dt="2025-04-02T04:46:53.106" v="5560"/>
          <ac:cxnSpMkLst>
            <pc:docMk/>
            <pc:sldMk cId="540644153" sldId="2252"/>
            <ac:cxnSpMk id="12" creationId="{3A86E42B-4785-6206-7188-6ED332E8670B}"/>
          </ac:cxnSpMkLst>
        </pc:cxnChg>
        <pc:cxnChg chg="add mod">
          <ac:chgData name="Carlo Abi-Raad" userId="08fc5628-31e7-49b7-aa1d-2f25a1b05d33" providerId="ADAL" clId="{91DF428D-10D1-344C-A879-47C8A34A3BDD}" dt="2025-04-02T04:46:58.335" v="5561"/>
          <ac:cxnSpMkLst>
            <pc:docMk/>
            <pc:sldMk cId="540644153" sldId="2252"/>
            <ac:cxnSpMk id="14" creationId="{90E41A0F-43C7-71DF-3F43-AD79586B212B}"/>
          </ac:cxnSpMkLst>
        </pc:cxnChg>
      </pc:sldChg>
      <pc:sldChg chg="addSp delSp modSp mod">
        <pc:chgData name="Carlo Abi-Raad" userId="08fc5628-31e7-49b7-aa1d-2f25a1b05d33" providerId="ADAL" clId="{91DF428D-10D1-344C-A879-47C8A34A3BDD}" dt="2025-04-02T04:33:16.705" v="5478" actId="1076"/>
        <pc:sldMkLst>
          <pc:docMk/>
          <pc:sldMk cId="751750684" sldId="2253"/>
        </pc:sldMkLst>
        <pc:spChg chg="add mod">
          <ac:chgData name="Carlo Abi-Raad" userId="08fc5628-31e7-49b7-aa1d-2f25a1b05d33" providerId="ADAL" clId="{91DF428D-10D1-344C-A879-47C8A34A3BDD}" dt="2025-04-01T23:52:31.032" v="5105"/>
          <ac:spMkLst>
            <pc:docMk/>
            <pc:sldMk cId="751750684" sldId="2253"/>
            <ac:spMk id="3" creationId="{AB32D81E-E46C-7874-7172-77D3622204AC}"/>
          </ac:spMkLst>
        </pc:spChg>
        <pc:spChg chg="add mod">
          <ac:chgData name="Carlo Abi-Raad" userId="08fc5628-31e7-49b7-aa1d-2f25a1b05d33" providerId="ADAL" clId="{91DF428D-10D1-344C-A879-47C8A34A3BDD}" dt="2025-04-01T23:52:37.028" v="5106"/>
          <ac:spMkLst>
            <pc:docMk/>
            <pc:sldMk cId="751750684" sldId="2253"/>
            <ac:spMk id="4" creationId="{FCE6223A-2035-CE92-2CBF-C1FAB7031FE7}"/>
          </ac:spMkLst>
        </pc:spChg>
        <pc:spChg chg="mod">
          <ac:chgData name="Carlo Abi-Raad" userId="08fc5628-31e7-49b7-aa1d-2f25a1b05d33" providerId="ADAL" clId="{91DF428D-10D1-344C-A879-47C8A34A3BDD}" dt="2025-04-02T04:33:16.705" v="5478" actId="1076"/>
          <ac:spMkLst>
            <pc:docMk/>
            <pc:sldMk cId="751750684" sldId="2253"/>
            <ac:spMk id="10" creationId="{D5D25ACE-602F-B426-8B0F-DF14FC4D0C69}"/>
          </ac:spMkLst>
        </pc:spChg>
        <pc:spChg chg="mod">
          <ac:chgData name="Carlo Abi-Raad" userId="08fc5628-31e7-49b7-aa1d-2f25a1b05d33" providerId="ADAL" clId="{91DF428D-10D1-344C-A879-47C8A34A3BDD}" dt="2025-04-02T04:33:16.705" v="5478" actId="1076"/>
          <ac:spMkLst>
            <pc:docMk/>
            <pc:sldMk cId="751750684" sldId="2253"/>
            <ac:spMk id="11" creationId="{0E9A550D-1D0F-3434-BBF8-1A0536807A91}"/>
          </ac:spMkLst>
        </pc:spChg>
        <pc:spChg chg="mod">
          <ac:chgData name="Carlo Abi-Raad" userId="08fc5628-31e7-49b7-aa1d-2f25a1b05d33" providerId="ADAL" clId="{91DF428D-10D1-344C-A879-47C8A34A3BDD}" dt="2025-04-02T04:33:16.705" v="5478" actId="1076"/>
          <ac:spMkLst>
            <pc:docMk/>
            <pc:sldMk cId="751750684" sldId="2253"/>
            <ac:spMk id="12" creationId="{AF9407C4-48E4-903B-541F-EF2B4B3EC379}"/>
          </ac:spMkLst>
        </pc:spChg>
        <pc:spChg chg="mod">
          <ac:chgData name="Carlo Abi-Raad" userId="08fc5628-31e7-49b7-aa1d-2f25a1b05d33" providerId="ADAL" clId="{91DF428D-10D1-344C-A879-47C8A34A3BDD}" dt="2025-04-02T00:15:37.497" v="5182" actId="692"/>
          <ac:spMkLst>
            <pc:docMk/>
            <pc:sldMk cId="751750684" sldId="2253"/>
            <ac:spMk id="15" creationId="{2E897211-0514-CFA2-23E6-C33E1E06DCFA}"/>
          </ac:spMkLst>
        </pc:spChg>
        <pc:spChg chg="del">
          <ac:chgData name="Carlo Abi-Raad" userId="08fc5628-31e7-49b7-aa1d-2f25a1b05d33" providerId="ADAL" clId="{91DF428D-10D1-344C-A879-47C8A34A3BDD}" dt="2025-04-01T23:56:52.222" v="5144" actId="478"/>
          <ac:spMkLst>
            <pc:docMk/>
            <pc:sldMk cId="751750684" sldId="2253"/>
            <ac:spMk id="16" creationId="{D760A440-3800-FF22-F2DF-DA1754E13404}"/>
          </ac:spMkLst>
        </pc:spChg>
        <pc:spChg chg="del">
          <ac:chgData name="Carlo Abi-Raad" userId="08fc5628-31e7-49b7-aa1d-2f25a1b05d33" providerId="ADAL" clId="{91DF428D-10D1-344C-A879-47C8A34A3BDD}" dt="2025-04-01T23:56:50.860" v="5143" actId="478"/>
          <ac:spMkLst>
            <pc:docMk/>
            <pc:sldMk cId="751750684" sldId="2253"/>
            <ac:spMk id="17" creationId="{93A58C2E-9CAF-E229-2E55-6854FC054A95}"/>
          </ac:spMkLst>
        </pc:spChg>
        <pc:spChg chg="mod">
          <ac:chgData name="Carlo Abi-Raad" userId="08fc5628-31e7-49b7-aa1d-2f25a1b05d33" providerId="ADAL" clId="{91DF428D-10D1-344C-A879-47C8A34A3BDD}" dt="2025-04-02T00:15:00.382" v="5180" actId="692"/>
          <ac:spMkLst>
            <pc:docMk/>
            <pc:sldMk cId="751750684" sldId="2253"/>
            <ac:spMk id="18" creationId="{D6E3F236-9D9D-F11E-1F19-E6CB60E7D07F}"/>
          </ac:spMkLst>
        </pc:spChg>
        <pc:spChg chg="mod">
          <ac:chgData name="Carlo Abi-Raad" userId="08fc5628-31e7-49b7-aa1d-2f25a1b05d33" providerId="ADAL" clId="{91DF428D-10D1-344C-A879-47C8A34A3BDD}" dt="2025-04-02T00:09:24.590" v="5163" actId="20577"/>
          <ac:spMkLst>
            <pc:docMk/>
            <pc:sldMk cId="751750684" sldId="2253"/>
            <ac:spMk id="19" creationId="{C0CCE110-46AA-002E-D38B-61D01D70CC8A}"/>
          </ac:spMkLst>
        </pc:spChg>
        <pc:spChg chg="mod">
          <ac:chgData name="Carlo Abi-Raad" userId="08fc5628-31e7-49b7-aa1d-2f25a1b05d33" providerId="ADAL" clId="{91DF428D-10D1-344C-A879-47C8A34A3BDD}" dt="2025-04-02T04:33:16.705" v="5478" actId="1076"/>
          <ac:spMkLst>
            <pc:docMk/>
            <pc:sldMk cId="751750684" sldId="2253"/>
            <ac:spMk id="23" creationId="{866C0529-1880-22F8-DD51-BC71C62DC9CC}"/>
          </ac:spMkLst>
        </pc:spChg>
        <pc:spChg chg="mod">
          <ac:chgData name="Carlo Abi-Raad" userId="08fc5628-31e7-49b7-aa1d-2f25a1b05d33" providerId="ADAL" clId="{91DF428D-10D1-344C-A879-47C8A34A3BDD}" dt="2025-04-02T04:33:16.705" v="5478" actId="1076"/>
          <ac:spMkLst>
            <pc:docMk/>
            <pc:sldMk cId="751750684" sldId="2253"/>
            <ac:spMk id="24" creationId="{8AE125F9-A131-CE24-074B-003443030095}"/>
          </ac:spMkLst>
        </pc:spChg>
        <pc:spChg chg="mod">
          <ac:chgData name="Carlo Abi-Raad" userId="08fc5628-31e7-49b7-aa1d-2f25a1b05d33" providerId="ADAL" clId="{91DF428D-10D1-344C-A879-47C8A34A3BDD}" dt="2025-04-02T04:33:16.705" v="5478" actId="1076"/>
          <ac:spMkLst>
            <pc:docMk/>
            <pc:sldMk cId="751750684" sldId="2253"/>
            <ac:spMk id="25" creationId="{3EB57BCC-1828-AFCF-AD28-CB0DBD995D65}"/>
          </ac:spMkLst>
        </pc:spChg>
        <pc:spChg chg="mod">
          <ac:chgData name="Carlo Abi-Raad" userId="08fc5628-31e7-49b7-aa1d-2f25a1b05d33" providerId="ADAL" clId="{91DF428D-10D1-344C-A879-47C8A34A3BDD}" dt="2025-04-02T04:33:16.705" v="5478" actId="1076"/>
          <ac:spMkLst>
            <pc:docMk/>
            <pc:sldMk cId="751750684" sldId="2253"/>
            <ac:spMk id="27" creationId="{ACC47D06-8B18-E4E4-A637-D235716F83AD}"/>
          </ac:spMkLst>
        </pc:spChg>
        <pc:spChg chg="add mod">
          <ac:chgData name="Carlo Abi-Raad" userId="08fc5628-31e7-49b7-aa1d-2f25a1b05d33" providerId="ADAL" clId="{91DF428D-10D1-344C-A879-47C8A34A3BDD}" dt="2025-04-02T00:16:37.718" v="5186" actId="692"/>
          <ac:spMkLst>
            <pc:docMk/>
            <pc:sldMk cId="751750684" sldId="2253"/>
            <ac:spMk id="28" creationId="{F0A45FD2-A930-A598-6568-CD079CC4A381}"/>
          </ac:spMkLst>
        </pc:spChg>
        <pc:spChg chg="add mod">
          <ac:chgData name="Carlo Abi-Raad" userId="08fc5628-31e7-49b7-aa1d-2f25a1b05d33" providerId="ADAL" clId="{91DF428D-10D1-344C-A879-47C8A34A3BDD}" dt="2025-04-02T00:16:37.718" v="5186" actId="692"/>
          <ac:spMkLst>
            <pc:docMk/>
            <pc:sldMk cId="751750684" sldId="2253"/>
            <ac:spMk id="29" creationId="{7BFDF2C0-9430-D770-7A7F-C9819F256774}"/>
          </ac:spMkLst>
        </pc:spChg>
        <pc:spChg chg="add mod">
          <ac:chgData name="Carlo Abi-Raad" userId="08fc5628-31e7-49b7-aa1d-2f25a1b05d33" providerId="ADAL" clId="{91DF428D-10D1-344C-A879-47C8A34A3BDD}" dt="2025-04-02T00:16:37.718" v="5186" actId="692"/>
          <ac:spMkLst>
            <pc:docMk/>
            <pc:sldMk cId="751750684" sldId="2253"/>
            <ac:spMk id="30" creationId="{22B1F397-5AAD-B8B3-E8B9-B689AFA94F02}"/>
          </ac:spMkLst>
        </pc:spChg>
        <pc:spChg chg="add mod">
          <ac:chgData name="Carlo Abi-Raad" userId="08fc5628-31e7-49b7-aa1d-2f25a1b05d33" providerId="ADAL" clId="{91DF428D-10D1-344C-A879-47C8A34A3BDD}" dt="2025-04-02T00:15:20.448" v="5181" actId="692"/>
          <ac:spMkLst>
            <pc:docMk/>
            <pc:sldMk cId="751750684" sldId="2253"/>
            <ac:spMk id="32" creationId="{914B6934-1E83-0369-4AC7-512783F2CDAD}"/>
          </ac:spMkLst>
        </pc:spChg>
        <pc:spChg chg="add del mod">
          <ac:chgData name="Carlo Abi-Raad" userId="08fc5628-31e7-49b7-aa1d-2f25a1b05d33" providerId="ADAL" clId="{91DF428D-10D1-344C-A879-47C8A34A3BDD}" dt="2025-04-01T23:55:51.604" v="5131" actId="478"/>
          <ac:spMkLst>
            <pc:docMk/>
            <pc:sldMk cId="751750684" sldId="2253"/>
            <ac:spMk id="33" creationId="{9A4D0734-9501-DFA1-1A2E-D208C988B3C1}"/>
          </ac:spMkLst>
        </pc:spChg>
        <pc:spChg chg="add del mod">
          <ac:chgData name="Carlo Abi-Raad" userId="08fc5628-31e7-49b7-aa1d-2f25a1b05d33" providerId="ADAL" clId="{91DF428D-10D1-344C-A879-47C8A34A3BDD}" dt="2025-04-01T23:55:52.985" v="5132" actId="478"/>
          <ac:spMkLst>
            <pc:docMk/>
            <pc:sldMk cId="751750684" sldId="2253"/>
            <ac:spMk id="34" creationId="{C2925E5D-F4C9-7AFE-E130-CA0D88047061}"/>
          </ac:spMkLst>
        </pc:spChg>
        <pc:spChg chg="mod">
          <ac:chgData name="Carlo Abi-Raad" userId="08fc5628-31e7-49b7-aa1d-2f25a1b05d33" providerId="ADAL" clId="{91DF428D-10D1-344C-A879-47C8A34A3BDD}" dt="2025-04-02T04:30:27.275" v="5459" actId="14100"/>
          <ac:spMkLst>
            <pc:docMk/>
            <pc:sldMk cId="751750684" sldId="2253"/>
            <ac:spMk id="35" creationId="{6EA66379-1811-3920-DB7B-46B3EFF5F1BB}"/>
          </ac:spMkLst>
        </pc:spChg>
        <pc:graphicFrameChg chg="mod">
          <ac:chgData name="Carlo Abi-Raad" userId="08fc5628-31e7-49b7-aa1d-2f25a1b05d33" providerId="ADAL" clId="{91DF428D-10D1-344C-A879-47C8A34A3BDD}" dt="2025-04-01T23:55:59.155" v="5135" actId="1076"/>
          <ac:graphicFrameMkLst>
            <pc:docMk/>
            <pc:sldMk cId="751750684" sldId="2253"/>
            <ac:graphicFrameMk id="6" creationId="{5EB76316-6ACE-2A48-2947-BFBBD28E64FB}"/>
          </ac:graphicFrameMkLst>
        </pc:graphicFrameChg>
        <pc:graphicFrameChg chg="modGraphic">
          <ac:chgData name="Carlo Abi-Raad" userId="08fc5628-31e7-49b7-aa1d-2f25a1b05d33" providerId="ADAL" clId="{91DF428D-10D1-344C-A879-47C8A34A3BDD}" dt="2025-04-02T04:32:41.221" v="5476" actId="20577"/>
          <ac:graphicFrameMkLst>
            <pc:docMk/>
            <pc:sldMk cId="751750684" sldId="2253"/>
            <ac:graphicFrameMk id="7" creationId="{056B59D7-327B-F07D-A4BE-217006271C73}"/>
          </ac:graphicFrameMkLst>
        </pc:graphicFrameChg>
        <pc:graphicFrameChg chg="modGraphic">
          <ac:chgData name="Carlo Abi-Raad" userId="08fc5628-31e7-49b7-aa1d-2f25a1b05d33" providerId="ADAL" clId="{91DF428D-10D1-344C-A879-47C8A34A3BDD}" dt="2025-04-02T04:32:49.786" v="5477" actId="14100"/>
          <ac:graphicFrameMkLst>
            <pc:docMk/>
            <pc:sldMk cId="751750684" sldId="2253"/>
            <ac:graphicFrameMk id="9" creationId="{E5F85D2B-D570-A956-00FA-B89E0D0DE040}"/>
          </ac:graphicFrameMkLst>
        </pc:graphicFrameChg>
        <pc:picChg chg="add">
          <ac:chgData name="Carlo Abi-Raad" userId="08fc5628-31e7-49b7-aa1d-2f25a1b05d33" providerId="ADAL" clId="{91DF428D-10D1-344C-A879-47C8A34A3BDD}" dt="2025-04-01T23:52:47.215" v="5107"/>
          <ac:picMkLst>
            <pc:docMk/>
            <pc:sldMk cId="751750684" sldId="2253"/>
            <ac:picMk id="26" creationId="{7B3E8DE7-A2F9-4EB7-F239-D57BA71E92BA}"/>
          </ac:picMkLst>
        </pc:picChg>
        <pc:cxnChg chg="mod">
          <ac:chgData name="Carlo Abi-Raad" userId="08fc5628-31e7-49b7-aa1d-2f25a1b05d33" providerId="ADAL" clId="{91DF428D-10D1-344C-A879-47C8A34A3BDD}" dt="2025-04-02T04:33:16.705" v="5478" actId="1076"/>
          <ac:cxnSpMkLst>
            <pc:docMk/>
            <pc:sldMk cId="751750684" sldId="2253"/>
            <ac:cxnSpMk id="20" creationId="{0FC9BA26-8A49-E3B6-9795-3F364FFA8718}"/>
          </ac:cxnSpMkLst>
        </pc:cxnChg>
      </pc:sldChg>
      <pc:sldChg chg="modSp mod">
        <pc:chgData name="Carlo Abi-Raad" userId="08fc5628-31e7-49b7-aa1d-2f25a1b05d33" providerId="ADAL" clId="{91DF428D-10D1-344C-A879-47C8A34A3BDD}" dt="2025-04-02T18:19:22.629" v="5849" actId="20577"/>
        <pc:sldMkLst>
          <pc:docMk/>
          <pc:sldMk cId="1585911357" sldId="2254"/>
        </pc:sldMkLst>
        <pc:spChg chg="mod">
          <ac:chgData name="Carlo Abi-Raad" userId="08fc5628-31e7-49b7-aa1d-2f25a1b05d33" providerId="ADAL" clId="{91DF428D-10D1-344C-A879-47C8A34A3BDD}" dt="2025-04-02T15:33:07.029" v="5649" actId="403"/>
          <ac:spMkLst>
            <pc:docMk/>
            <pc:sldMk cId="1585911357" sldId="2254"/>
            <ac:spMk id="3" creationId="{29DA6742-6DF2-DB87-02BC-147E344801C2}"/>
          </ac:spMkLst>
        </pc:spChg>
        <pc:spChg chg="mod">
          <ac:chgData name="Carlo Abi-Raad" userId="08fc5628-31e7-49b7-aa1d-2f25a1b05d33" providerId="ADAL" clId="{91DF428D-10D1-344C-A879-47C8A34A3BDD}" dt="2025-04-02T15:33:08.012" v="5651" actId="403"/>
          <ac:spMkLst>
            <pc:docMk/>
            <pc:sldMk cId="1585911357" sldId="2254"/>
            <ac:spMk id="4" creationId="{9059CEF1-0314-C528-E05D-552E513689CB}"/>
          </ac:spMkLst>
        </pc:spChg>
        <pc:spChg chg="mod">
          <ac:chgData name="Carlo Abi-Raad" userId="08fc5628-31e7-49b7-aa1d-2f25a1b05d33" providerId="ADAL" clId="{91DF428D-10D1-344C-A879-47C8A34A3BDD}" dt="2025-04-02T04:55:48.525" v="5594" actId="1076"/>
          <ac:spMkLst>
            <pc:docMk/>
            <pc:sldMk cId="1585911357" sldId="2254"/>
            <ac:spMk id="6" creationId="{2FD6FFC1-C657-014C-65E1-ECB017111DAA}"/>
          </ac:spMkLst>
        </pc:spChg>
        <pc:spChg chg="mod">
          <ac:chgData name="Carlo Abi-Raad" userId="08fc5628-31e7-49b7-aa1d-2f25a1b05d33" providerId="ADAL" clId="{91DF428D-10D1-344C-A879-47C8A34A3BDD}" dt="2025-04-02T18:19:18.146" v="5846" actId="1076"/>
          <ac:spMkLst>
            <pc:docMk/>
            <pc:sldMk cId="1585911357" sldId="2254"/>
            <ac:spMk id="26" creationId="{B6409406-2556-A27C-1B00-9164F466C7F1}"/>
          </ac:spMkLst>
        </pc:spChg>
        <pc:spChg chg="mod">
          <ac:chgData name="Carlo Abi-Raad" userId="08fc5628-31e7-49b7-aa1d-2f25a1b05d33" providerId="ADAL" clId="{91DF428D-10D1-344C-A879-47C8A34A3BDD}" dt="2025-04-02T15:32:46.569" v="5641" actId="1076"/>
          <ac:spMkLst>
            <pc:docMk/>
            <pc:sldMk cId="1585911357" sldId="2254"/>
            <ac:spMk id="33" creationId="{BA0DB8EF-E41F-FD7B-11C6-9D31DADC435D}"/>
          </ac:spMkLst>
        </pc:spChg>
        <pc:spChg chg="mod">
          <ac:chgData name="Carlo Abi-Raad" userId="08fc5628-31e7-49b7-aa1d-2f25a1b05d33" providerId="ADAL" clId="{91DF428D-10D1-344C-A879-47C8A34A3BDD}" dt="2025-04-02T15:32:46.569" v="5641" actId="1076"/>
          <ac:spMkLst>
            <pc:docMk/>
            <pc:sldMk cId="1585911357" sldId="2254"/>
            <ac:spMk id="35" creationId="{250564CA-850E-AD48-2643-2CF01F746563}"/>
          </ac:spMkLst>
        </pc:spChg>
        <pc:spChg chg="mod">
          <ac:chgData name="Carlo Abi-Raad" userId="08fc5628-31e7-49b7-aa1d-2f25a1b05d33" providerId="ADAL" clId="{91DF428D-10D1-344C-A879-47C8A34A3BDD}" dt="2025-04-02T15:32:46.569" v="5641" actId="1076"/>
          <ac:spMkLst>
            <pc:docMk/>
            <pc:sldMk cId="1585911357" sldId="2254"/>
            <ac:spMk id="36" creationId="{F388DC82-AEF6-CEFF-A1A0-45546C80FC79}"/>
          </ac:spMkLst>
        </pc:spChg>
        <pc:spChg chg="mod">
          <ac:chgData name="Carlo Abi-Raad" userId="08fc5628-31e7-49b7-aa1d-2f25a1b05d33" providerId="ADAL" clId="{91DF428D-10D1-344C-A879-47C8A34A3BDD}" dt="2025-04-02T15:32:46.569" v="5641" actId="1076"/>
          <ac:spMkLst>
            <pc:docMk/>
            <pc:sldMk cId="1585911357" sldId="2254"/>
            <ac:spMk id="37" creationId="{0524AA21-7D78-29DC-56AC-F5FD679DE6ED}"/>
          </ac:spMkLst>
        </pc:spChg>
        <pc:spChg chg="mod">
          <ac:chgData name="Carlo Abi-Raad" userId="08fc5628-31e7-49b7-aa1d-2f25a1b05d33" providerId="ADAL" clId="{91DF428D-10D1-344C-A879-47C8A34A3BDD}" dt="2025-04-02T04:55:48.525" v="5594" actId="1076"/>
          <ac:spMkLst>
            <pc:docMk/>
            <pc:sldMk cId="1585911357" sldId="2254"/>
            <ac:spMk id="38" creationId="{61C39439-9E23-0BEF-E57C-84CD94ACA2D2}"/>
          </ac:spMkLst>
        </pc:spChg>
        <pc:spChg chg="mod">
          <ac:chgData name="Carlo Abi-Raad" userId="08fc5628-31e7-49b7-aa1d-2f25a1b05d33" providerId="ADAL" clId="{91DF428D-10D1-344C-A879-47C8A34A3BDD}" dt="2025-04-02T04:55:48.525" v="5594" actId="1076"/>
          <ac:spMkLst>
            <pc:docMk/>
            <pc:sldMk cId="1585911357" sldId="2254"/>
            <ac:spMk id="39" creationId="{5206F0AA-A9E1-4DEC-AFA0-00193C60B0C1}"/>
          </ac:spMkLst>
        </pc:spChg>
        <pc:spChg chg="mod">
          <ac:chgData name="Carlo Abi-Raad" userId="08fc5628-31e7-49b7-aa1d-2f25a1b05d33" providerId="ADAL" clId="{91DF428D-10D1-344C-A879-47C8A34A3BDD}" dt="2025-04-02T15:32:46.569" v="5641" actId="1076"/>
          <ac:spMkLst>
            <pc:docMk/>
            <pc:sldMk cId="1585911357" sldId="2254"/>
            <ac:spMk id="40" creationId="{764D28BE-16D7-451B-7CC4-43C607CC56FB}"/>
          </ac:spMkLst>
        </pc:spChg>
        <pc:spChg chg="mod">
          <ac:chgData name="Carlo Abi-Raad" userId="08fc5628-31e7-49b7-aa1d-2f25a1b05d33" providerId="ADAL" clId="{91DF428D-10D1-344C-A879-47C8A34A3BDD}" dt="2025-04-02T15:32:46.569" v="5641" actId="1076"/>
          <ac:spMkLst>
            <pc:docMk/>
            <pc:sldMk cId="1585911357" sldId="2254"/>
            <ac:spMk id="41" creationId="{7A9E78D3-0D09-BCA2-296E-7E36A961BBE2}"/>
          </ac:spMkLst>
        </pc:spChg>
        <pc:spChg chg="mod">
          <ac:chgData name="Carlo Abi-Raad" userId="08fc5628-31e7-49b7-aa1d-2f25a1b05d33" providerId="ADAL" clId="{91DF428D-10D1-344C-A879-47C8A34A3BDD}" dt="2025-04-02T15:32:46.569" v="5641" actId="1076"/>
          <ac:spMkLst>
            <pc:docMk/>
            <pc:sldMk cId="1585911357" sldId="2254"/>
            <ac:spMk id="42" creationId="{77729942-AC03-4B4A-8CE3-99AA35B7B0D6}"/>
          </ac:spMkLst>
        </pc:spChg>
        <pc:spChg chg="mod">
          <ac:chgData name="Carlo Abi-Raad" userId="08fc5628-31e7-49b7-aa1d-2f25a1b05d33" providerId="ADAL" clId="{91DF428D-10D1-344C-A879-47C8A34A3BDD}" dt="2025-04-02T15:32:46.569" v="5641" actId="1076"/>
          <ac:spMkLst>
            <pc:docMk/>
            <pc:sldMk cId="1585911357" sldId="2254"/>
            <ac:spMk id="43" creationId="{FBD29C39-4D59-ADC0-BFE8-9E222157D9CF}"/>
          </ac:spMkLst>
        </pc:spChg>
        <pc:spChg chg="mod">
          <ac:chgData name="Carlo Abi-Raad" userId="08fc5628-31e7-49b7-aa1d-2f25a1b05d33" providerId="ADAL" clId="{91DF428D-10D1-344C-A879-47C8A34A3BDD}" dt="2025-04-02T04:55:48.525" v="5594" actId="1076"/>
          <ac:spMkLst>
            <pc:docMk/>
            <pc:sldMk cId="1585911357" sldId="2254"/>
            <ac:spMk id="44" creationId="{84C39ABE-0D25-B601-B0C1-C49C93355F8F}"/>
          </ac:spMkLst>
        </pc:spChg>
        <pc:spChg chg="mod">
          <ac:chgData name="Carlo Abi-Raad" userId="08fc5628-31e7-49b7-aa1d-2f25a1b05d33" providerId="ADAL" clId="{91DF428D-10D1-344C-A879-47C8A34A3BDD}" dt="2025-04-02T15:32:46.569" v="5641" actId="1076"/>
          <ac:spMkLst>
            <pc:docMk/>
            <pc:sldMk cId="1585911357" sldId="2254"/>
            <ac:spMk id="45" creationId="{CB98956D-1EDE-B20A-84DC-85C343222BEE}"/>
          </ac:spMkLst>
        </pc:spChg>
        <pc:spChg chg="mod">
          <ac:chgData name="Carlo Abi-Raad" userId="08fc5628-31e7-49b7-aa1d-2f25a1b05d33" providerId="ADAL" clId="{91DF428D-10D1-344C-A879-47C8A34A3BDD}" dt="2025-04-02T18:19:22.629" v="5849" actId="20577"/>
          <ac:spMkLst>
            <pc:docMk/>
            <pc:sldMk cId="1585911357" sldId="2254"/>
            <ac:spMk id="46" creationId="{7429B4C3-5D3C-E41E-6BF4-4BA32DE7B67D}"/>
          </ac:spMkLst>
        </pc:spChg>
        <pc:spChg chg="mod">
          <ac:chgData name="Carlo Abi-Raad" userId="08fc5628-31e7-49b7-aa1d-2f25a1b05d33" providerId="ADAL" clId="{91DF428D-10D1-344C-A879-47C8A34A3BDD}" dt="2025-04-02T04:56:45.763" v="5600" actId="1076"/>
          <ac:spMkLst>
            <pc:docMk/>
            <pc:sldMk cId="1585911357" sldId="2254"/>
            <ac:spMk id="48" creationId="{71761BA1-02E3-D581-5EF9-60E8ED29D5C2}"/>
          </ac:spMkLst>
        </pc:spChg>
      </pc:sldChg>
      <pc:sldChg chg="addSp delSp modSp add mod ord">
        <pc:chgData name="Carlo Abi-Raad" userId="08fc5628-31e7-49b7-aa1d-2f25a1b05d33" providerId="ADAL" clId="{91DF428D-10D1-344C-A879-47C8A34A3BDD}" dt="2025-04-01T22:24:29.130" v="5085" actId="20578"/>
        <pc:sldMkLst>
          <pc:docMk/>
          <pc:sldMk cId="3080742896" sldId="2255"/>
        </pc:sldMkLst>
        <pc:spChg chg="add del mod">
          <ac:chgData name="Carlo Abi-Raad" userId="08fc5628-31e7-49b7-aa1d-2f25a1b05d33" providerId="ADAL" clId="{91DF428D-10D1-344C-A879-47C8A34A3BDD}" dt="2025-04-01T20:48:36.448" v="4919"/>
          <ac:spMkLst>
            <pc:docMk/>
            <pc:sldMk cId="3080742896" sldId="2255"/>
            <ac:spMk id="3" creationId="{37423445-4367-8D71-494C-2D7381A3ED66}"/>
          </ac:spMkLst>
        </pc:spChg>
        <pc:spChg chg="add del mod">
          <ac:chgData name="Carlo Abi-Raad" userId="08fc5628-31e7-49b7-aa1d-2f25a1b05d33" providerId="ADAL" clId="{91DF428D-10D1-344C-A879-47C8A34A3BDD}" dt="2025-04-01T20:49:16.506" v="4924"/>
          <ac:spMkLst>
            <pc:docMk/>
            <pc:sldMk cId="3080742896" sldId="2255"/>
            <ac:spMk id="6" creationId="{0B929042-36C1-FF49-EC64-476B29D5B7F1}"/>
          </ac:spMkLst>
        </pc:spChg>
        <pc:spChg chg="mod ord">
          <ac:chgData name="Carlo Abi-Raad" userId="08fc5628-31e7-49b7-aa1d-2f25a1b05d33" providerId="ADAL" clId="{91DF428D-10D1-344C-A879-47C8A34A3BDD}" dt="2025-04-01T22:10:40.639" v="5073" actId="20577"/>
          <ac:spMkLst>
            <pc:docMk/>
            <pc:sldMk cId="3080742896" sldId="2255"/>
            <ac:spMk id="9" creationId="{AF4145DB-9673-A2C2-C8E1-8FC7EB7F46E3}"/>
          </ac:spMkLst>
        </pc:spChg>
        <pc:spChg chg="add del mod">
          <ac:chgData name="Carlo Abi-Raad" userId="08fc5628-31e7-49b7-aa1d-2f25a1b05d33" providerId="ADAL" clId="{91DF428D-10D1-344C-A879-47C8A34A3BDD}" dt="2025-04-01T20:53:12.787" v="4929"/>
          <ac:spMkLst>
            <pc:docMk/>
            <pc:sldMk cId="3080742896" sldId="2255"/>
            <ac:spMk id="10" creationId="{D8D50B42-6EAB-7520-D990-BFD43B98332D}"/>
          </ac:spMkLst>
        </pc:spChg>
        <pc:spChg chg="del">
          <ac:chgData name="Carlo Abi-Raad" userId="08fc5628-31e7-49b7-aa1d-2f25a1b05d33" providerId="ADAL" clId="{91DF428D-10D1-344C-A879-47C8A34A3BDD}" dt="2025-04-01T20:48:41.056" v="4920" actId="26606"/>
          <ac:spMkLst>
            <pc:docMk/>
            <pc:sldMk cId="3080742896" sldId="2255"/>
            <ac:spMk id="38" creationId="{A8E3F140-CF93-2D8A-D5B8-E4B083144566}"/>
          </ac:spMkLst>
        </pc:spChg>
        <pc:spChg chg="del">
          <ac:chgData name="Carlo Abi-Raad" userId="08fc5628-31e7-49b7-aa1d-2f25a1b05d33" providerId="ADAL" clId="{91DF428D-10D1-344C-A879-47C8A34A3BDD}" dt="2025-04-01T20:48:41.056" v="4920" actId="26606"/>
          <ac:spMkLst>
            <pc:docMk/>
            <pc:sldMk cId="3080742896" sldId="2255"/>
            <ac:spMk id="40" creationId="{66ECD6D7-E123-6E68-0792-427EF5F80623}"/>
          </ac:spMkLst>
        </pc:spChg>
        <pc:spChg chg="del">
          <ac:chgData name="Carlo Abi-Raad" userId="08fc5628-31e7-49b7-aa1d-2f25a1b05d33" providerId="ADAL" clId="{91DF428D-10D1-344C-A879-47C8A34A3BDD}" dt="2025-04-01T20:48:41.056" v="4920" actId="26606"/>
          <ac:spMkLst>
            <pc:docMk/>
            <pc:sldMk cId="3080742896" sldId="2255"/>
            <ac:spMk id="42" creationId="{4B66AD7E-98F8-520D-BF0B-CDB56583AF17}"/>
          </ac:spMkLst>
        </pc:spChg>
        <pc:spChg chg="add del">
          <ac:chgData name="Carlo Abi-Raad" userId="08fc5628-31e7-49b7-aa1d-2f25a1b05d33" providerId="ADAL" clId="{91DF428D-10D1-344C-A879-47C8A34A3BDD}" dt="2025-04-01T20:49:19.166" v="4925" actId="26606"/>
          <ac:spMkLst>
            <pc:docMk/>
            <pc:sldMk cId="3080742896" sldId="2255"/>
            <ac:spMk id="47" creationId="{5509FCFB-C041-F1A1-D80E-6AC723C8BCDB}"/>
          </ac:spMkLst>
        </pc:spChg>
        <pc:spChg chg="add del">
          <ac:chgData name="Carlo Abi-Raad" userId="08fc5628-31e7-49b7-aa1d-2f25a1b05d33" providerId="ADAL" clId="{91DF428D-10D1-344C-A879-47C8A34A3BDD}" dt="2025-04-01T20:49:19.166" v="4925" actId="26606"/>
          <ac:spMkLst>
            <pc:docMk/>
            <pc:sldMk cId="3080742896" sldId="2255"/>
            <ac:spMk id="49" creationId="{AA7BB29D-4D61-D1EA-9B40-6F3A9B1C24B7}"/>
          </ac:spMkLst>
        </pc:spChg>
        <pc:spChg chg="add del">
          <ac:chgData name="Carlo Abi-Raad" userId="08fc5628-31e7-49b7-aa1d-2f25a1b05d33" providerId="ADAL" clId="{91DF428D-10D1-344C-A879-47C8A34A3BDD}" dt="2025-04-01T20:49:19.166" v="4925" actId="26606"/>
          <ac:spMkLst>
            <pc:docMk/>
            <pc:sldMk cId="3080742896" sldId="2255"/>
            <ac:spMk id="51" creationId="{C73081F3-3116-BDA0-9384-10C05658D61F}"/>
          </ac:spMkLst>
        </pc:spChg>
        <pc:spChg chg="add del">
          <ac:chgData name="Carlo Abi-Raad" userId="08fc5628-31e7-49b7-aa1d-2f25a1b05d33" providerId="ADAL" clId="{91DF428D-10D1-344C-A879-47C8A34A3BDD}" dt="2025-04-01T20:53:15.962" v="4930" actId="26606"/>
          <ac:spMkLst>
            <pc:docMk/>
            <pc:sldMk cId="3080742896" sldId="2255"/>
            <ac:spMk id="56" creationId="{C4620A6B-9FFD-6B3B-8955-8DF2257E7379}"/>
          </ac:spMkLst>
        </pc:spChg>
        <pc:spChg chg="add del">
          <ac:chgData name="Carlo Abi-Raad" userId="08fc5628-31e7-49b7-aa1d-2f25a1b05d33" providerId="ADAL" clId="{91DF428D-10D1-344C-A879-47C8A34A3BDD}" dt="2025-04-01T20:53:15.962" v="4930" actId="26606"/>
          <ac:spMkLst>
            <pc:docMk/>
            <pc:sldMk cId="3080742896" sldId="2255"/>
            <ac:spMk id="58" creationId="{2B2C9CCC-5548-F01C-5048-29AF174CF535}"/>
          </ac:spMkLst>
        </pc:spChg>
        <pc:spChg chg="add del">
          <ac:chgData name="Carlo Abi-Raad" userId="08fc5628-31e7-49b7-aa1d-2f25a1b05d33" providerId="ADAL" clId="{91DF428D-10D1-344C-A879-47C8A34A3BDD}" dt="2025-04-01T20:53:15.962" v="4930" actId="26606"/>
          <ac:spMkLst>
            <pc:docMk/>
            <pc:sldMk cId="3080742896" sldId="2255"/>
            <ac:spMk id="60" creationId="{D95DC43B-2A3D-596C-0667-A3AD7B8E696C}"/>
          </ac:spMkLst>
        </pc:spChg>
        <pc:spChg chg="add">
          <ac:chgData name="Carlo Abi-Raad" userId="08fc5628-31e7-49b7-aa1d-2f25a1b05d33" providerId="ADAL" clId="{91DF428D-10D1-344C-A879-47C8A34A3BDD}" dt="2025-04-01T20:53:15.962" v="4930" actId="26606"/>
          <ac:spMkLst>
            <pc:docMk/>
            <pc:sldMk cId="3080742896" sldId="2255"/>
            <ac:spMk id="65" creationId="{473D22CD-6ACE-50CE-6C06-971986C7C640}"/>
          </ac:spMkLst>
        </pc:spChg>
        <pc:spChg chg="add">
          <ac:chgData name="Carlo Abi-Raad" userId="08fc5628-31e7-49b7-aa1d-2f25a1b05d33" providerId="ADAL" clId="{91DF428D-10D1-344C-A879-47C8A34A3BDD}" dt="2025-04-01T20:53:15.962" v="4930" actId="26606"/>
          <ac:spMkLst>
            <pc:docMk/>
            <pc:sldMk cId="3080742896" sldId="2255"/>
            <ac:spMk id="67" creationId="{331EF291-9760-F3DA-5F8D-E835670726C3}"/>
          </ac:spMkLst>
        </pc:spChg>
        <pc:spChg chg="add">
          <ac:chgData name="Carlo Abi-Raad" userId="08fc5628-31e7-49b7-aa1d-2f25a1b05d33" providerId="ADAL" clId="{91DF428D-10D1-344C-A879-47C8A34A3BDD}" dt="2025-04-01T20:53:15.962" v="4930" actId="26606"/>
          <ac:spMkLst>
            <pc:docMk/>
            <pc:sldMk cId="3080742896" sldId="2255"/>
            <ac:spMk id="69" creationId="{E0C77ED9-B8CF-BB18-5088-6F0FA99DA4C5}"/>
          </ac:spMkLst>
        </pc:spChg>
        <pc:picChg chg="add del mod">
          <ac:chgData name="Carlo Abi-Raad" userId="08fc5628-31e7-49b7-aa1d-2f25a1b05d33" providerId="ADAL" clId="{91DF428D-10D1-344C-A879-47C8A34A3BDD}" dt="2025-04-01T20:49:14.510" v="4923" actId="478"/>
          <ac:picMkLst>
            <pc:docMk/>
            <pc:sldMk cId="3080742896" sldId="2255"/>
            <ac:picMk id="4" creationId="{F1753956-9117-3B15-DDD1-6B5813BDC37A}"/>
          </ac:picMkLst>
        </pc:picChg>
        <pc:picChg chg="add del mod">
          <ac:chgData name="Carlo Abi-Raad" userId="08fc5628-31e7-49b7-aa1d-2f25a1b05d33" providerId="ADAL" clId="{91DF428D-10D1-344C-A879-47C8A34A3BDD}" dt="2025-04-01T20:49:32.583" v="4928" actId="478"/>
          <ac:picMkLst>
            <pc:docMk/>
            <pc:sldMk cId="3080742896" sldId="2255"/>
            <ac:picMk id="7" creationId="{849B1791-B32F-86F0-0277-78D1C72C1178}"/>
          </ac:picMkLst>
        </pc:picChg>
        <pc:picChg chg="add mod">
          <ac:chgData name="Carlo Abi-Raad" userId="08fc5628-31e7-49b7-aa1d-2f25a1b05d33" providerId="ADAL" clId="{91DF428D-10D1-344C-A879-47C8A34A3BDD}" dt="2025-04-01T20:53:18.167" v="4932" actId="962"/>
          <ac:picMkLst>
            <pc:docMk/>
            <pc:sldMk cId="3080742896" sldId="2255"/>
            <ac:picMk id="11" creationId="{87363DBD-907B-D8A9-AC4E-E9139FC6B9A0}"/>
          </ac:picMkLst>
        </pc:picChg>
        <pc:picChg chg="del">
          <ac:chgData name="Carlo Abi-Raad" userId="08fc5628-31e7-49b7-aa1d-2f25a1b05d33" providerId="ADAL" clId="{91DF428D-10D1-344C-A879-47C8A34A3BDD}" dt="2025-04-01T20:48:33.859" v="4918" actId="478"/>
          <ac:picMkLst>
            <pc:docMk/>
            <pc:sldMk cId="3080742896" sldId="2255"/>
            <ac:picMk id="33" creationId="{7435DDA0-EE33-32CF-1C56-5B61F6031095}"/>
          </ac:picMkLst>
        </pc:picChg>
      </pc:sldChg>
      <pc:sldChg chg="addSp delSp modSp add mod ord">
        <pc:chgData name="Carlo Abi-Raad" userId="08fc5628-31e7-49b7-aa1d-2f25a1b05d33" providerId="ADAL" clId="{91DF428D-10D1-344C-A879-47C8A34A3BDD}" dt="2025-04-01T22:26:04.506" v="5093" actId="20578"/>
        <pc:sldMkLst>
          <pc:docMk/>
          <pc:sldMk cId="2807472221" sldId="2257"/>
        </pc:sldMkLst>
        <pc:spChg chg="add del mod">
          <ac:chgData name="Carlo Abi-Raad" userId="08fc5628-31e7-49b7-aa1d-2f25a1b05d33" providerId="ADAL" clId="{91DF428D-10D1-344C-A879-47C8A34A3BDD}" dt="2025-04-01T20:55:14.018" v="4936"/>
          <ac:spMkLst>
            <pc:docMk/>
            <pc:sldMk cId="2807472221" sldId="2257"/>
            <ac:spMk id="3" creationId="{8D628FB9-5F50-8678-3D72-65C2E6AF5783}"/>
          </ac:spMkLst>
        </pc:spChg>
        <pc:spChg chg="add del mod">
          <ac:chgData name="Carlo Abi-Raad" userId="08fc5628-31e7-49b7-aa1d-2f25a1b05d33" providerId="ADAL" clId="{91DF428D-10D1-344C-A879-47C8A34A3BDD}" dt="2025-04-01T20:56:31.954" v="4941"/>
          <ac:spMkLst>
            <pc:docMk/>
            <pc:sldMk cId="2807472221" sldId="2257"/>
            <ac:spMk id="7" creationId="{71525EE2-4306-31D0-AD52-63AA25834505}"/>
          </ac:spMkLst>
        </pc:spChg>
        <pc:spChg chg="ord">
          <ac:chgData name="Carlo Abi-Raad" userId="08fc5628-31e7-49b7-aa1d-2f25a1b05d33" providerId="ADAL" clId="{91DF428D-10D1-344C-A879-47C8A34A3BDD}" dt="2025-04-01T20:56:35.980" v="4942" actId="26606"/>
          <ac:spMkLst>
            <pc:docMk/>
            <pc:sldMk cId="2807472221" sldId="2257"/>
            <ac:spMk id="9" creationId="{F8EDB48E-6FB3-F57D-6052-E99BF9757E71}"/>
          </ac:spMkLst>
        </pc:spChg>
        <pc:spChg chg="del">
          <ac:chgData name="Carlo Abi-Raad" userId="08fc5628-31e7-49b7-aa1d-2f25a1b05d33" providerId="ADAL" clId="{91DF428D-10D1-344C-A879-47C8A34A3BDD}" dt="2025-04-01T20:55:17.973" v="4937" actId="26606"/>
          <ac:spMkLst>
            <pc:docMk/>
            <pc:sldMk cId="2807472221" sldId="2257"/>
            <ac:spMk id="29" creationId="{7094FA62-EE53-FE81-55B5-C8C98CD69A6B}"/>
          </ac:spMkLst>
        </pc:spChg>
        <pc:spChg chg="del">
          <ac:chgData name="Carlo Abi-Raad" userId="08fc5628-31e7-49b7-aa1d-2f25a1b05d33" providerId="ADAL" clId="{91DF428D-10D1-344C-A879-47C8A34A3BDD}" dt="2025-04-01T20:55:17.973" v="4937" actId="26606"/>
          <ac:spMkLst>
            <pc:docMk/>
            <pc:sldMk cId="2807472221" sldId="2257"/>
            <ac:spMk id="31" creationId="{82D798BA-FC8B-0995-6825-9EDC6ED8D98D}"/>
          </ac:spMkLst>
        </pc:spChg>
        <pc:spChg chg="del">
          <ac:chgData name="Carlo Abi-Raad" userId="08fc5628-31e7-49b7-aa1d-2f25a1b05d33" providerId="ADAL" clId="{91DF428D-10D1-344C-A879-47C8A34A3BDD}" dt="2025-04-01T20:55:17.973" v="4937" actId="26606"/>
          <ac:spMkLst>
            <pc:docMk/>
            <pc:sldMk cId="2807472221" sldId="2257"/>
            <ac:spMk id="33" creationId="{B372AAB8-0CEE-A53B-B4A9-537E90B6BCF7}"/>
          </ac:spMkLst>
        </pc:spChg>
        <pc:spChg chg="add del">
          <ac:chgData name="Carlo Abi-Raad" userId="08fc5628-31e7-49b7-aa1d-2f25a1b05d33" providerId="ADAL" clId="{91DF428D-10D1-344C-A879-47C8A34A3BDD}" dt="2025-04-01T20:56:35.980" v="4942" actId="26606"/>
          <ac:spMkLst>
            <pc:docMk/>
            <pc:sldMk cId="2807472221" sldId="2257"/>
            <ac:spMk id="38" creationId="{96E5DDDE-BF80-F917-707A-421571401573}"/>
          </ac:spMkLst>
        </pc:spChg>
        <pc:spChg chg="add del">
          <ac:chgData name="Carlo Abi-Raad" userId="08fc5628-31e7-49b7-aa1d-2f25a1b05d33" providerId="ADAL" clId="{91DF428D-10D1-344C-A879-47C8A34A3BDD}" dt="2025-04-01T20:56:35.980" v="4942" actId="26606"/>
          <ac:spMkLst>
            <pc:docMk/>
            <pc:sldMk cId="2807472221" sldId="2257"/>
            <ac:spMk id="40" creationId="{CCC24AA3-4C54-875F-BC0D-5D429D670920}"/>
          </ac:spMkLst>
        </pc:spChg>
        <pc:spChg chg="add del">
          <ac:chgData name="Carlo Abi-Raad" userId="08fc5628-31e7-49b7-aa1d-2f25a1b05d33" providerId="ADAL" clId="{91DF428D-10D1-344C-A879-47C8A34A3BDD}" dt="2025-04-01T20:56:35.980" v="4942" actId="26606"/>
          <ac:spMkLst>
            <pc:docMk/>
            <pc:sldMk cId="2807472221" sldId="2257"/>
            <ac:spMk id="42" creationId="{0B1BEB94-00E1-8A92-3BDF-DCE6F7E6CEA0}"/>
          </ac:spMkLst>
        </pc:spChg>
        <pc:spChg chg="add">
          <ac:chgData name="Carlo Abi-Raad" userId="08fc5628-31e7-49b7-aa1d-2f25a1b05d33" providerId="ADAL" clId="{91DF428D-10D1-344C-A879-47C8A34A3BDD}" dt="2025-04-01T20:56:35.980" v="4942" actId="26606"/>
          <ac:spMkLst>
            <pc:docMk/>
            <pc:sldMk cId="2807472221" sldId="2257"/>
            <ac:spMk id="47" creationId="{AFEE2323-CD36-8B12-189C-BFB3F98BF8E6}"/>
          </ac:spMkLst>
        </pc:spChg>
        <pc:spChg chg="add">
          <ac:chgData name="Carlo Abi-Raad" userId="08fc5628-31e7-49b7-aa1d-2f25a1b05d33" providerId="ADAL" clId="{91DF428D-10D1-344C-A879-47C8A34A3BDD}" dt="2025-04-01T20:56:35.980" v="4942" actId="26606"/>
          <ac:spMkLst>
            <pc:docMk/>
            <pc:sldMk cId="2807472221" sldId="2257"/>
            <ac:spMk id="49" creationId="{B2DE9183-AEFD-2F43-1098-F3926949CBF2}"/>
          </ac:spMkLst>
        </pc:spChg>
        <pc:spChg chg="add">
          <ac:chgData name="Carlo Abi-Raad" userId="08fc5628-31e7-49b7-aa1d-2f25a1b05d33" providerId="ADAL" clId="{91DF428D-10D1-344C-A879-47C8A34A3BDD}" dt="2025-04-01T20:56:35.980" v="4942" actId="26606"/>
          <ac:spMkLst>
            <pc:docMk/>
            <pc:sldMk cId="2807472221" sldId="2257"/>
            <ac:spMk id="51" creationId="{55528B5E-D8A1-45AA-281F-9967C4CE8D51}"/>
          </ac:spMkLst>
        </pc:spChg>
        <pc:picChg chg="del">
          <ac:chgData name="Carlo Abi-Raad" userId="08fc5628-31e7-49b7-aa1d-2f25a1b05d33" providerId="ADAL" clId="{91DF428D-10D1-344C-A879-47C8A34A3BDD}" dt="2025-04-01T20:55:10.948" v="4935" actId="478"/>
          <ac:picMkLst>
            <pc:docMk/>
            <pc:sldMk cId="2807472221" sldId="2257"/>
            <ac:picMk id="4" creationId="{1951F134-ECFE-09F0-F104-528470902314}"/>
          </ac:picMkLst>
        </pc:picChg>
        <pc:picChg chg="add del mod">
          <ac:chgData name="Carlo Abi-Raad" userId="08fc5628-31e7-49b7-aa1d-2f25a1b05d33" providerId="ADAL" clId="{91DF428D-10D1-344C-A879-47C8A34A3BDD}" dt="2025-04-01T20:55:27.977" v="4940" actId="478"/>
          <ac:picMkLst>
            <pc:docMk/>
            <pc:sldMk cId="2807472221" sldId="2257"/>
            <ac:picMk id="5" creationId="{42DD5C7C-4EAD-8278-7E1F-A03F8AF942B3}"/>
          </ac:picMkLst>
        </pc:picChg>
        <pc:picChg chg="add mod">
          <ac:chgData name="Carlo Abi-Raad" userId="08fc5628-31e7-49b7-aa1d-2f25a1b05d33" providerId="ADAL" clId="{91DF428D-10D1-344C-A879-47C8A34A3BDD}" dt="2025-04-01T20:56:38.164" v="4944" actId="962"/>
          <ac:picMkLst>
            <pc:docMk/>
            <pc:sldMk cId="2807472221" sldId="2257"/>
            <ac:picMk id="8" creationId="{D732DBA9-4769-2AA4-7751-D43801785E1E}"/>
          </ac:picMkLst>
        </pc:picChg>
      </pc:sldChg>
      <pc:sldChg chg="addSp delSp modSp add del mod modShow">
        <pc:chgData name="Carlo Abi-Raad" userId="08fc5628-31e7-49b7-aa1d-2f25a1b05d33" providerId="ADAL" clId="{91DF428D-10D1-344C-A879-47C8A34A3BDD}" dt="2025-04-01T21:12:13.414" v="4965" actId="2696"/>
        <pc:sldMkLst>
          <pc:docMk/>
          <pc:sldMk cId="3115215060" sldId="2258"/>
        </pc:sldMkLst>
        <pc:spChg chg="add del mod">
          <ac:chgData name="Carlo Abi-Raad" userId="08fc5628-31e7-49b7-aa1d-2f25a1b05d33" providerId="ADAL" clId="{91DF428D-10D1-344C-A879-47C8A34A3BDD}" dt="2025-04-01T21:01:13.698" v="4948"/>
          <ac:spMkLst>
            <pc:docMk/>
            <pc:sldMk cId="3115215060" sldId="2258"/>
            <ac:spMk id="3" creationId="{25D8425F-6416-188B-D905-2482800E26E7}"/>
          </ac:spMkLst>
        </pc:spChg>
        <pc:spChg chg="ord">
          <ac:chgData name="Carlo Abi-Raad" userId="08fc5628-31e7-49b7-aa1d-2f25a1b05d33" providerId="ADAL" clId="{91DF428D-10D1-344C-A879-47C8A34A3BDD}" dt="2025-04-01T21:01:24.472" v="4949" actId="26606"/>
          <ac:spMkLst>
            <pc:docMk/>
            <pc:sldMk cId="3115215060" sldId="2258"/>
            <ac:spMk id="4" creationId="{84FF3B5A-1C6A-1C6C-9D6F-6E9480268769}"/>
          </ac:spMkLst>
        </pc:spChg>
        <pc:spChg chg="del">
          <ac:chgData name="Carlo Abi-Raad" userId="08fc5628-31e7-49b7-aa1d-2f25a1b05d33" providerId="ADAL" clId="{91DF428D-10D1-344C-A879-47C8A34A3BDD}" dt="2025-04-01T21:01:24.472" v="4949" actId="26606"/>
          <ac:spMkLst>
            <pc:docMk/>
            <pc:sldMk cId="3115215060" sldId="2258"/>
            <ac:spMk id="14" creationId="{2D10AF68-A762-B245-A8C2-640AEBBB8E22}"/>
          </ac:spMkLst>
        </pc:spChg>
        <pc:spChg chg="del">
          <ac:chgData name="Carlo Abi-Raad" userId="08fc5628-31e7-49b7-aa1d-2f25a1b05d33" providerId="ADAL" clId="{91DF428D-10D1-344C-A879-47C8A34A3BDD}" dt="2025-04-01T21:01:24.472" v="4949" actId="26606"/>
          <ac:spMkLst>
            <pc:docMk/>
            <pc:sldMk cId="3115215060" sldId="2258"/>
            <ac:spMk id="16" creationId="{9389FB74-2585-CC39-E06D-40D5F98F4AF4}"/>
          </ac:spMkLst>
        </pc:spChg>
        <pc:spChg chg="del">
          <ac:chgData name="Carlo Abi-Raad" userId="08fc5628-31e7-49b7-aa1d-2f25a1b05d33" providerId="ADAL" clId="{91DF428D-10D1-344C-A879-47C8A34A3BDD}" dt="2025-04-01T21:01:24.472" v="4949" actId="26606"/>
          <ac:spMkLst>
            <pc:docMk/>
            <pc:sldMk cId="3115215060" sldId="2258"/>
            <ac:spMk id="18" creationId="{0DC32D65-DFFD-888E-281A-A8CC3E8A9F17}"/>
          </ac:spMkLst>
        </pc:spChg>
        <pc:spChg chg="add">
          <ac:chgData name="Carlo Abi-Raad" userId="08fc5628-31e7-49b7-aa1d-2f25a1b05d33" providerId="ADAL" clId="{91DF428D-10D1-344C-A879-47C8A34A3BDD}" dt="2025-04-01T21:01:24.472" v="4949" actId="26606"/>
          <ac:spMkLst>
            <pc:docMk/>
            <pc:sldMk cId="3115215060" sldId="2258"/>
            <ac:spMk id="23" creationId="{C8A32834-2464-FBED-D914-510C82D720FE}"/>
          </ac:spMkLst>
        </pc:spChg>
        <pc:spChg chg="add">
          <ac:chgData name="Carlo Abi-Raad" userId="08fc5628-31e7-49b7-aa1d-2f25a1b05d33" providerId="ADAL" clId="{91DF428D-10D1-344C-A879-47C8A34A3BDD}" dt="2025-04-01T21:01:24.472" v="4949" actId="26606"/>
          <ac:spMkLst>
            <pc:docMk/>
            <pc:sldMk cId="3115215060" sldId="2258"/>
            <ac:spMk id="25" creationId="{9A51D19E-0749-F1D9-6FC0-533F026E14BC}"/>
          </ac:spMkLst>
        </pc:spChg>
        <pc:spChg chg="add">
          <ac:chgData name="Carlo Abi-Raad" userId="08fc5628-31e7-49b7-aa1d-2f25a1b05d33" providerId="ADAL" clId="{91DF428D-10D1-344C-A879-47C8A34A3BDD}" dt="2025-04-01T21:01:24.472" v="4949" actId="26606"/>
          <ac:spMkLst>
            <pc:docMk/>
            <pc:sldMk cId="3115215060" sldId="2258"/>
            <ac:spMk id="27" creationId="{9779B587-01B5-0EF6-E299-32E4F758F684}"/>
          </ac:spMkLst>
        </pc:spChg>
        <pc:picChg chg="add mod">
          <ac:chgData name="Carlo Abi-Raad" userId="08fc5628-31e7-49b7-aa1d-2f25a1b05d33" providerId="ADAL" clId="{91DF428D-10D1-344C-A879-47C8A34A3BDD}" dt="2025-04-01T21:01:26.562" v="4951" actId="962"/>
          <ac:picMkLst>
            <pc:docMk/>
            <pc:sldMk cId="3115215060" sldId="2258"/>
            <ac:picMk id="5" creationId="{CADC2CA4-09CD-467A-BCBC-A605F70D625A}"/>
          </ac:picMkLst>
        </pc:picChg>
        <pc:picChg chg="del">
          <ac:chgData name="Carlo Abi-Raad" userId="08fc5628-31e7-49b7-aa1d-2f25a1b05d33" providerId="ADAL" clId="{91DF428D-10D1-344C-A879-47C8A34A3BDD}" dt="2025-04-01T21:01:10.357" v="4947" actId="478"/>
          <ac:picMkLst>
            <pc:docMk/>
            <pc:sldMk cId="3115215060" sldId="2258"/>
            <ac:picMk id="9" creationId="{64F7A961-2D15-BDEB-45CF-B46EBDDA10CB}"/>
          </ac:picMkLst>
        </pc:picChg>
      </pc:sldChg>
      <pc:sldChg chg="addSp delSp modSp add mod ord modShow">
        <pc:chgData name="Carlo Abi-Raad" userId="08fc5628-31e7-49b7-aa1d-2f25a1b05d33" providerId="ADAL" clId="{91DF428D-10D1-344C-A879-47C8A34A3BDD}" dt="2025-04-01T22:27:08.239" v="5099" actId="20578"/>
        <pc:sldMkLst>
          <pc:docMk/>
          <pc:sldMk cId="2545272012" sldId="2259"/>
        </pc:sldMkLst>
        <pc:spChg chg="add del mod">
          <ac:chgData name="Carlo Abi-Raad" userId="08fc5628-31e7-49b7-aa1d-2f25a1b05d33" providerId="ADAL" clId="{91DF428D-10D1-344C-A879-47C8A34A3BDD}" dt="2025-04-01T21:09:14.174" v="4954"/>
          <ac:spMkLst>
            <pc:docMk/>
            <pc:sldMk cId="2545272012" sldId="2259"/>
            <ac:spMk id="3" creationId="{54829DE0-9972-C28A-2621-AD054EFCBCF5}"/>
          </ac:spMkLst>
        </pc:spChg>
        <pc:spChg chg="mod ord">
          <ac:chgData name="Carlo Abi-Raad" userId="08fc5628-31e7-49b7-aa1d-2f25a1b05d33" providerId="ADAL" clId="{91DF428D-10D1-344C-A879-47C8A34A3BDD}" dt="2025-04-01T21:28:29.800" v="5002" actId="20577"/>
          <ac:spMkLst>
            <pc:docMk/>
            <pc:sldMk cId="2545272012" sldId="2259"/>
            <ac:spMk id="4" creationId="{41C6C8B4-D71F-40DF-F6A1-1A3A7320E290}"/>
          </ac:spMkLst>
        </pc:spChg>
        <pc:spChg chg="del">
          <ac:chgData name="Carlo Abi-Raad" userId="08fc5628-31e7-49b7-aa1d-2f25a1b05d33" providerId="ADAL" clId="{91DF428D-10D1-344C-A879-47C8A34A3BDD}" dt="2025-04-01T21:09:17.829" v="4955" actId="26606"/>
          <ac:spMkLst>
            <pc:docMk/>
            <pc:sldMk cId="2545272012" sldId="2259"/>
            <ac:spMk id="23" creationId="{E8B8A825-A8F2-7F0B-F11D-BFE5961D741C}"/>
          </ac:spMkLst>
        </pc:spChg>
        <pc:spChg chg="del">
          <ac:chgData name="Carlo Abi-Raad" userId="08fc5628-31e7-49b7-aa1d-2f25a1b05d33" providerId="ADAL" clId="{91DF428D-10D1-344C-A879-47C8A34A3BDD}" dt="2025-04-01T21:09:17.829" v="4955" actId="26606"/>
          <ac:spMkLst>
            <pc:docMk/>
            <pc:sldMk cId="2545272012" sldId="2259"/>
            <ac:spMk id="25" creationId="{2772F91C-3887-5092-138D-9A50893566FE}"/>
          </ac:spMkLst>
        </pc:spChg>
        <pc:spChg chg="del">
          <ac:chgData name="Carlo Abi-Raad" userId="08fc5628-31e7-49b7-aa1d-2f25a1b05d33" providerId="ADAL" clId="{91DF428D-10D1-344C-A879-47C8A34A3BDD}" dt="2025-04-01T21:09:17.829" v="4955" actId="26606"/>
          <ac:spMkLst>
            <pc:docMk/>
            <pc:sldMk cId="2545272012" sldId="2259"/>
            <ac:spMk id="27" creationId="{3244C6A7-A39C-BE87-57E6-B7EEB6A535E9}"/>
          </ac:spMkLst>
        </pc:spChg>
        <pc:spChg chg="add">
          <ac:chgData name="Carlo Abi-Raad" userId="08fc5628-31e7-49b7-aa1d-2f25a1b05d33" providerId="ADAL" clId="{91DF428D-10D1-344C-A879-47C8A34A3BDD}" dt="2025-04-01T21:09:17.829" v="4955" actId="26606"/>
          <ac:spMkLst>
            <pc:docMk/>
            <pc:sldMk cId="2545272012" sldId="2259"/>
            <ac:spMk id="32" creationId="{6F68780F-CB36-94CF-A9E3-45B37E3E37B3}"/>
          </ac:spMkLst>
        </pc:spChg>
        <pc:spChg chg="add">
          <ac:chgData name="Carlo Abi-Raad" userId="08fc5628-31e7-49b7-aa1d-2f25a1b05d33" providerId="ADAL" clId="{91DF428D-10D1-344C-A879-47C8A34A3BDD}" dt="2025-04-01T21:09:17.829" v="4955" actId="26606"/>
          <ac:spMkLst>
            <pc:docMk/>
            <pc:sldMk cId="2545272012" sldId="2259"/>
            <ac:spMk id="34" creationId="{70B09606-9709-2872-8CDA-F67ABDE70410}"/>
          </ac:spMkLst>
        </pc:spChg>
        <pc:spChg chg="add">
          <ac:chgData name="Carlo Abi-Raad" userId="08fc5628-31e7-49b7-aa1d-2f25a1b05d33" providerId="ADAL" clId="{91DF428D-10D1-344C-A879-47C8A34A3BDD}" dt="2025-04-01T21:09:17.829" v="4955" actId="26606"/>
          <ac:spMkLst>
            <pc:docMk/>
            <pc:sldMk cId="2545272012" sldId="2259"/>
            <ac:spMk id="36" creationId="{6B57A06D-B4C8-C09A-BDC1-5270CEF1AD64}"/>
          </ac:spMkLst>
        </pc:spChg>
        <pc:picChg chg="del">
          <ac:chgData name="Carlo Abi-Raad" userId="08fc5628-31e7-49b7-aa1d-2f25a1b05d33" providerId="ADAL" clId="{91DF428D-10D1-344C-A879-47C8A34A3BDD}" dt="2025-04-01T21:09:11.826" v="4953" actId="478"/>
          <ac:picMkLst>
            <pc:docMk/>
            <pc:sldMk cId="2545272012" sldId="2259"/>
            <ac:picMk id="5" creationId="{B95E8FEE-73F9-378C-1A19-4D82F0D6E057}"/>
          </ac:picMkLst>
        </pc:picChg>
        <pc:picChg chg="add mod">
          <ac:chgData name="Carlo Abi-Raad" userId="08fc5628-31e7-49b7-aa1d-2f25a1b05d33" providerId="ADAL" clId="{91DF428D-10D1-344C-A879-47C8A34A3BDD}" dt="2025-04-01T21:09:20.041" v="4957" actId="962"/>
          <ac:picMkLst>
            <pc:docMk/>
            <pc:sldMk cId="2545272012" sldId="2259"/>
            <ac:picMk id="6" creationId="{99331477-224E-4448-2A05-48701288A6D7}"/>
          </ac:picMkLst>
        </pc:picChg>
      </pc:sldChg>
      <pc:sldChg chg="addSp delSp modSp add mod ord">
        <pc:chgData name="Carlo Abi-Raad" userId="08fc5628-31e7-49b7-aa1d-2f25a1b05d33" providerId="ADAL" clId="{91DF428D-10D1-344C-A879-47C8A34A3BDD}" dt="2025-04-01T22:26:50.573" v="5097" actId="20578"/>
        <pc:sldMkLst>
          <pc:docMk/>
          <pc:sldMk cId="2535433054" sldId="2260"/>
        </pc:sldMkLst>
        <pc:spChg chg="add del mod">
          <ac:chgData name="Carlo Abi-Raad" userId="08fc5628-31e7-49b7-aa1d-2f25a1b05d33" providerId="ADAL" clId="{91DF428D-10D1-344C-A879-47C8A34A3BDD}" dt="2025-04-01T21:11:47.338" v="4961"/>
          <ac:spMkLst>
            <pc:docMk/>
            <pc:sldMk cId="2535433054" sldId="2260"/>
            <ac:spMk id="3" creationId="{7644663E-8874-7212-2307-C807F015507F}"/>
          </ac:spMkLst>
        </pc:spChg>
        <pc:spChg chg="ord">
          <ac:chgData name="Carlo Abi-Raad" userId="08fc5628-31e7-49b7-aa1d-2f25a1b05d33" providerId="ADAL" clId="{91DF428D-10D1-344C-A879-47C8A34A3BDD}" dt="2025-04-01T21:11:51.360" v="4962" actId="26606"/>
          <ac:spMkLst>
            <pc:docMk/>
            <pc:sldMk cId="2535433054" sldId="2260"/>
            <ac:spMk id="4" creationId="{5394FF33-2975-CDCA-CF25-681BF4B46758}"/>
          </ac:spMkLst>
        </pc:spChg>
        <pc:spChg chg="del">
          <ac:chgData name="Carlo Abi-Raad" userId="08fc5628-31e7-49b7-aa1d-2f25a1b05d33" providerId="ADAL" clId="{91DF428D-10D1-344C-A879-47C8A34A3BDD}" dt="2025-04-01T21:11:51.360" v="4962" actId="26606"/>
          <ac:spMkLst>
            <pc:docMk/>
            <pc:sldMk cId="2535433054" sldId="2260"/>
            <ac:spMk id="32" creationId="{747315B9-B1D1-4E0D-3671-7880CB22AC98}"/>
          </ac:spMkLst>
        </pc:spChg>
        <pc:spChg chg="del">
          <ac:chgData name="Carlo Abi-Raad" userId="08fc5628-31e7-49b7-aa1d-2f25a1b05d33" providerId="ADAL" clId="{91DF428D-10D1-344C-A879-47C8A34A3BDD}" dt="2025-04-01T21:11:51.360" v="4962" actId="26606"/>
          <ac:spMkLst>
            <pc:docMk/>
            <pc:sldMk cId="2535433054" sldId="2260"/>
            <ac:spMk id="34" creationId="{23AAB14D-8B44-C757-4A2B-E75767D46BC6}"/>
          </ac:spMkLst>
        </pc:spChg>
        <pc:spChg chg="del">
          <ac:chgData name="Carlo Abi-Raad" userId="08fc5628-31e7-49b7-aa1d-2f25a1b05d33" providerId="ADAL" clId="{91DF428D-10D1-344C-A879-47C8A34A3BDD}" dt="2025-04-01T21:11:51.360" v="4962" actId="26606"/>
          <ac:spMkLst>
            <pc:docMk/>
            <pc:sldMk cId="2535433054" sldId="2260"/>
            <ac:spMk id="36" creationId="{2C8AE9B5-B35B-75A9-A690-7E35C5EDBD40}"/>
          </ac:spMkLst>
        </pc:spChg>
        <pc:spChg chg="add">
          <ac:chgData name="Carlo Abi-Raad" userId="08fc5628-31e7-49b7-aa1d-2f25a1b05d33" providerId="ADAL" clId="{91DF428D-10D1-344C-A879-47C8A34A3BDD}" dt="2025-04-01T21:11:51.360" v="4962" actId="26606"/>
          <ac:spMkLst>
            <pc:docMk/>
            <pc:sldMk cId="2535433054" sldId="2260"/>
            <ac:spMk id="41" creationId="{A40C6383-DB7E-D724-5F28-C72A44091818}"/>
          </ac:spMkLst>
        </pc:spChg>
        <pc:spChg chg="add">
          <ac:chgData name="Carlo Abi-Raad" userId="08fc5628-31e7-49b7-aa1d-2f25a1b05d33" providerId="ADAL" clId="{91DF428D-10D1-344C-A879-47C8A34A3BDD}" dt="2025-04-01T21:11:51.360" v="4962" actId="26606"/>
          <ac:spMkLst>
            <pc:docMk/>
            <pc:sldMk cId="2535433054" sldId="2260"/>
            <ac:spMk id="43" creationId="{8FCE67D7-3E25-81E1-0ABD-FDB263B7AB0C}"/>
          </ac:spMkLst>
        </pc:spChg>
        <pc:spChg chg="add">
          <ac:chgData name="Carlo Abi-Raad" userId="08fc5628-31e7-49b7-aa1d-2f25a1b05d33" providerId="ADAL" clId="{91DF428D-10D1-344C-A879-47C8A34A3BDD}" dt="2025-04-01T21:11:51.360" v="4962" actId="26606"/>
          <ac:spMkLst>
            <pc:docMk/>
            <pc:sldMk cId="2535433054" sldId="2260"/>
            <ac:spMk id="45" creationId="{0A12F75D-4228-B66D-F5A5-0022A798066D}"/>
          </ac:spMkLst>
        </pc:spChg>
        <pc:picChg chg="add mod">
          <ac:chgData name="Carlo Abi-Raad" userId="08fc5628-31e7-49b7-aa1d-2f25a1b05d33" providerId="ADAL" clId="{91DF428D-10D1-344C-A879-47C8A34A3BDD}" dt="2025-04-01T21:11:53.658" v="4964" actId="962"/>
          <ac:picMkLst>
            <pc:docMk/>
            <pc:sldMk cId="2535433054" sldId="2260"/>
            <ac:picMk id="5" creationId="{02F87791-0C7F-8482-BAC5-0AFC93BC0429}"/>
          </ac:picMkLst>
        </pc:picChg>
        <pc:picChg chg="del">
          <ac:chgData name="Carlo Abi-Raad" userId="08fc5628-31e7-49b7-aa1d-2f25a1b05d33" providerId="ADAL" clId="{91DF428D-10D1-344C-A879-47C8A34A3BDD}" dt="2025-04-01T21:11:43.143" v="4960" actId="478"/>
          <ac:picMkLst>
            <pc:docMk/>
            <pc:sldMk cId="2535433054" sldId="2260"/>
            <ac:picMk id="6" creationId="{FC2C18AC-219A-C4E8-C54A-9D620685066D}"/>
          </ac:picMkLst>
        </pc:picChg>
      </pc:sldChg>
      <pc:sldChg chg="addSp delSp modSp add mod ord">
        <pc:chgData name="Carlo Abi-Raad" userId="08fc5628-31e7-49b7-aa1d-2f25a1b05d33" providerId="ADAL" clId="{91DF428D-10D1-344C-A879-47C8A34A3BDD}" dt="2025-04-01T22:26:35.974" v="5095" actId="20578"/>
        <pc:sldMkLst>
          <pc:docMk/>
          <pc:sldMk cId="8412511" sldId="2261"/>
        </pc:sldMkLst>
        <pc:spChg chg="add del mod">
          <ac:chgData name="Carlo Abi-Raad" userId="08fc5628-31e7-49b7-aa1d-2f25a1b05d33" providerId="ADAL" clId="{91DF428D-10D1-344C-A879-47C8A34A3BDD}" dt="2025-04-01T21:32:26.045" v="5007"/>
          <ac:spMkLst>
            <pc:docMk/>
            <pc:sldMk cId="8412511" sldId="2261"/>
            <ac:spMk id="3" creationId="{0429A425-C9E3-28DF-63F5-3767A9FB75D8}"/>
          </ac:spMkLst>
        </pc:spChg>
        <pc:spChg chg="add del mod">
          <ac:chgData name="Carlo Abi-Raad" userId="08fc5628-31e7-49b7-aa1d-2f25a1b05d33" providerId="ADAL" clId="{91DF428D-10D1-344C-A879-47C8A34A3BDD}" dt="2025-04-01T21:43:58.375" v="5009"/>
          <ac:spMkLst>
            <pc:docMk/>
            <pc:sldMk cId="8412511" sldId="2261"/>
            <ac:spMk id="7" creationId="{37D3C216-379B-5B4A-F128-A7F81D65BE4C}"/>
          </ac:spMkLst>
        </pc:spChg>
        <pc:spChg chg="ord">
          <ac:chgData name="Carlo Abi-Raad" userId="08fc5628-31e7-49b7-aa1d-2f25a1b05d33" providerId="ADAL" clId="{91DF428D-10D1-344C-A879-47C8A34A3BDD}" dt="2025-04-01T21:44:02.846" v="5010" actId="26606"/>
          <ac:spMkLst>
            <pc:docMk/>
            <pc:sldMk cId="8412511" sldId="2261"/>
            <ac:spMk id="9" creationId="{3D1FB6DA-3102-457B-AB96-BF866F3D64AB}"/>
          </ac:spMkLst>
        </pc:spChg>
        <pc:spChg chg="del">
          <ac:chgData name="Carlo Abi-Raad" userId="08fc5628-31e7-49b7-aa1d-2f25a1b05d33" providerId="ADAL" clId="{91DF428D-10D1-344C-A879-47C8A34A3BDD}" dt="2025-04-01T21:44:02.846" v="5010" actId="26606"/>
          <ac:spMkLst>
            <pc:docMk/>
            <pc:sldMk cId="8412511" sldId="2261"/>
            <ac:spMk id="18" creationId="{4F745225-6C4F-028D-3FA7-E1F75935699D}"/>
          </ac:spMkLst>
        </pc:spChg>
        <pc:spChg chg="del">
          <ac:chgData name="Carlo Abi-Raad" userId="08fc5628-31e7-49b7-aa1d-2f25a1b05d33" providerId="ADAL" clId="{91DF428D-10D1-344C-A879-47C8A34A3BDD}" dt="2025-04-01T21:44:02.846" v="5010" actId="26606"/>
          <ac:spMkLst>
            <pc:docMk/>
            <pc:sldMk cId="8412511" sldId="2261"/>
            <ac:spMk id="20" creationId="{9E913B62-61AF-4E88-410C-83D333BE6C7A}"/>
          </ac:spMkLst>
        </pc:spChg>
        <pc:spChg chg="del">
          <ac:chgData name="Carlo Abi-Raad" userId="08fc5628-31e7-49b7-aa1d-2f25a1b05d33" providerId="ADAL" clId="{91DF428D-10D1-344C-A879-47C8A34A3BDD}" dt="2025-04-01T21:44:02.846" v="5010" actId="26606"/>
          <ac:spMkLst>
            <pc:docMk/>
            <pc:sldMk cId="8412511" sldId="2261"/>
            <ac:spMk id="22" creationId="{96A413CF-1CF0-CC37-8585-DC73F358E591}"/>
          </ac:spMkLst>
        </pc:spChg>
        <pc:spChg chg="add">
          <ac:chgData name="Carlo Abi-Raad" userId="08fc5628-31e7-49b7-aa1d-2f25a1b05d33" providerId="ADAL" clId="{91DF428D-10D1-344C-A879-47C8A34A3BDD}" dt="2025-04-01T21:44:02.846" v="5010" actId="26606"/>
          <ac:spMkLst>
            <pc:docMk/>
            <pc:sldMk cId="8412511" sldId="2261"/>
            <ac:spMk id="27" creationId="{CCDFFC7B-9703-F765-17BB-CBA62A60085B}"/>
          </ac:spMkLst>
        </pc:spChg>
        <pc:spChg chg="add">
          <ac:chgData name="Carlo Abi-Raad" userId="08fc5628-31e7-49b7-aa1d-2f25a1b05d33" providerId="ADAL" clId="{91DF428D-10D1-344C-A879-47C8A34A3BDD}" dt="2025-04-01T21:44:02.846" v="5010" actId="26606"/>
          <ac:spMkLst>
            <pc:docMk/>
            <pc:sldMk cId="8412511" sldId="2261"/>
            <ac:spMk id="29" creationId="{F9824D9C-FE0A-4604-6398-013CD5BC9D94}"/>
          </ac:spMkLst>
        </pc:spChg>
        <pc:spChg chg="add">
          <ac:chgData name="Carlo Abi-Raad" userId="08fc5628-31e7-49b7-aa1d-2f25a1b05d33" providerId="ADAL" clId="{91DF428D-10D1-344C-A879-47C8A34A3BDD}" dt="2025-04-01T21:44:02.846" v="5010" actId="26606"/>
          <ac:spMkLst>
            <pc:docMk/>
            <pc:sldMk cId="8412511" sldId="2261"/>
            <ac:spMk id="31" creationId="{8F260BB3-A1FC-2A30-12F7-F38B7109E841}"/>
          </ac:spMkLst>
        </pc:spChg>
        <pc:picChg chg="del">
          <ac:chgData name="Carlo Abi-Raad" userId="08fc5628-31e7-49b7-aa1d-2f25a1b05d33" providerId="ADAL" clId="{91DF428D-10D1-344C-A879-47C8A34A3BDD}" dt="2025-04-01T21:32:21.962" v="5006" actId="478"/>
          <ac:picMkLst>
            <pc:docMk/>
            <pc:sldMk cId="8412511" sldId="2261"/>
            <ac:picMk id="4" creationId="{1272C7B8-C183-15E1-98E9-FB9DD7E221B8}"/>
          </ac:picMkLst>
        </pc:picChg>
        <pc:picChg chg="add del mod">
          <ac:chgData name="Carlo Abi-Raad" userId="08fc5628-31e7-49b7-aa1d-2f25a1b05d33" providerId="ADAL" clId="{91DF428D-10D1-344C-A879-47C8A34A3BDD}" dt="2025-04-01T21:32:32.959" v="5008" actId="478"/>
          <ac:picMkLst>
            <pc:docMk/>
            <pc:sldMk cId="8412511" sldId="2261"/>
            <ac:picMk id="5" creationId="{91427960-C51E-5A41-89BF-2875A517EEEB}"/>
          </ac:picMkLst>
        </pc:picChg>
        <pc:picChg chg="add mod">
          <ac:chgData name="Carlo Abi-Raad" userId="08fc5628-31e7-49b7-aa1d-2f25a1b05d33" providerId="ADAL" clId="{91DF428D-10D1-344C-A879-47C8A34A3BDD}" dt="2025-04-01T21:44:05.381" v="5012" actId="962"/>
          <ac:picMkLst>
            <pc:docMk/>
            <pc:sldMk cId="8412511" sldId="2261"/>
            <ac:picMk id="8" creationId="{5A0F9F75-2A33-2C00-6A90-C28A06F33753}"/>
          </ac:picMkLst>
        </pc:picChg>
      </pc:sldChg>
      <pc:sldChg chg="addSp delSp modSp add del mod">
        <pc:chgData name="Carlo Abi-Raad" userId="08fc5628-31e7-49b7-aa1d-2f25a1b05d33" providerId="ADAL" clId="{91DF428D-10D1-344C-A879-47C8A34A3BDD}" dt="2025-04-01T21:15:27.096" v="4993" actId="2696"/>
        <pc:sldMkLst>
          <pc:docMk/>
          <pc:sldMk cId="4100736339" sldId="2261"/>
        </pc:sldMkLst>
        <pc:spChg chg="add del mod">
          <ac:chgData name="Carlo Abi-Raad" userId="08fc5628-31e7-49b7-aa1d-2f25a1b05d33" providerId="ADAL" clId="{91DF428D-10D1-344C-A879-47C8A34A3BDD}" dt="2025-04-01T21:15:17.159" v="4992"/>
          <ac:spMkLst>
            <pc:docMk/>
            <pc:sldMk cId="4100736339" sldId="2261"/>
            <ac:spMk id="3" creationId="{4B493C04-6154-3569-CDE2-72F9A1C2A19E}"/>
          </ac:spMkLst>
        </pc:spChg>
        <pc:picChg chg="del">
          <ac:chgData name="Carlo Abi-Raad" userId="08fc5628-31e7-49b7-aa1d-2f25a1b05d33" providerId="ADAL" clId="{91DF428D-10D1-344C-A879-47C8A34A3BDD}" dt="2025-04-01T21:15:12.062" v="4991" actId="478"/>
          <ac:picMkLst>
            <pc:docMk/>
            <pc:sldMk cId="4100736339" sldId="2261"/>
            <ac:picMk id="4" creationId="{46673365-6657-D2C6-9DB1-3AAB00F0F5D6}"/>
          </ac:picMkLst>
        </pc:picChg>
        <pc:picChg chg="add mod">
          <ac:chgData name="Carlo Abi-Raad" userId="08fc5628-31e7-49b7-aa1d-2f25a1b05d33" providerId="ADAL" clId="{91DF428D-10D1-344C-A879-47C8A34A3BDD}" dt="2025-04-01T21:15:17.159" v="4992"/>
          <ac:picMkLst>
            <pc:docMk/>
            <pc:sldMk cId="4100736339" sldId="2261"/>
            <ac:picMk id="5" creationId="{C0BC0F4A-8873-2C14-5D3E-E3ADA753C942}"/>
          </ac:picMkLst>
        </pc:picChg>
      </pc:sldChg>
      <pc:sldChg chg="add del">
        <pc:chgData name="Carlo Abi-Raad" userId="08fc5628-31e7-49b7-aa1d-2f25a1b05d33" providerId="ADAL" clId="{91DF428D-10D1-344C-A879-47C8A34A3BDD}" dt="2025-04-01T21:57:42.909" v="5015" actId="2696"/>
        <pc:sldMkLst>
          <pc:docMk/>
          <pc:sldMk cId="617178123" sldId="2262"/>
        </pc:sldMkLst>
      </pc:sldChg>
      <pc:sldChg chg="addSp delSp modSp add del mod">
        <pc:chgData name="Carlo Abi-Raad" userId="08fc5628-31e7-49b7-aa1d-2f25a1b05d33" providerId="ADAL" clId="{91DF428D-10D1-344C-A879-47C8A34A3BDD}" dt="2025-04-01T22:10:11.644" v="5059" actId="2696"/>
        <pc:sldMkLst>
          <pc:docMk/>
          <pc:sldMk cId="928278905" sldId="2262"/>
        </pc:sldMkLst>
        <pc:spChg chg="add del mod">
          <ac:chgData name="Carlo Abi-Raad" userId="08fc5628-31e7-49b7-aa1d-2f25a1b05d33" providerId="ADAL" clId="{91DF428D-10D1-344C-A879-47C8A34A3BDD}" dt="2025-04-01T21:58:18.633" v="5019"/>
          <ac:spMkLst>
            <pc:docMk/>
            <pc:sldMk cId="928278905" sldId="2262"/>
            <ac:spMk id="3" creationId="{EA8D6203-A508-3847-559A-015045F69BAF}"/>
          </ac:spMkLst>
        </pc:spChg>
        <pc:spChg chg="add del mod">
          <ac:chgData name="Carlo Abi-Raad" userId="08fc5628-31e7-49b7-aa1d-2f25a1b05d33" providerId="ADAL" clId="{91DF428D-10D1-344C-A879-47C8A34A3BDD}" dt="2025-04-01T22:04:39.301" v="5023"/>
          <ac:spMkLst>
            <pc:docMk/>
            <pc:sldMk cId="928278905" sldId="2262"/>
            <ac:spMk id="6" creationId="{32A301AB-C846-9B45-5C87-4C9955364EAE}"/>
          </ac:spMkLst>
        </pc:spChg>
        <pc:spChg chg="ord">
          <ac:chgData name="Carlo Abi-Raad" userId="08fc5628-31e7-49b7-aa1d-2f25a1b05d33" providerId="ADAL" clId="{91DF428D-10D1-344C-A879-47C8A34A3BDD}" dt="2025-04-01T22:05:46.219" v="5026" actId="26606"/>
          <ac:spMkLst>
            <pc:docMk/>
            <pc:sldMk cId="928278905" sldId="2262"/>
            <ac:spMk id="9" creationId="{5E8CFA2D-E0DC-49A2-9ADF-B45F1C94DB61}"/>
          </ac:spMkLst>
        </pc:spChg>
        <pc:spChg chg="add del mod">
          <ac:chgData name="Carlo Abi-Raad" userId="08fc5628-31e7-49b7-aa1d-2f25a1b05d33" providerId="ADAL" clId="{91DF428D-10D1-344C-A879-47C8A34A3BDD}" dt="2025-04-01T22:05:40.706" v="5025"/>
          <ac:spMkLst>
            <pc:docMk/>
            <pc:sldMk cId="928278905" sldId="2262"/>
            <ac:spMk id="10" creationId="{E648489D-240D-086A-42E6-ECCE3C1B2F6E}"/>
          </ac:spMkLst>
        </pc:spChg>
        <pc:spChg chg="add mod">
          <ac:chgData name="Carlo Abi-Raad" userId="08fc5628-31e7-49b7-aa1d-2f25a1b05d33" providerId="ADAL" clId="{91DF428D-10D1-344C-A879-47C8A34A3BDD}" dt="2025-04-01T22:05:54.475" v="5029" actId="478"/>
          <ac:spMkLst>
            <pc:docMk/>
            <pc:sldMk cId="928278905" sldId="2262"/>
            <ac:spMk id="13" creationId="{E8883C2F-AD22-200D-108A-549F3391BB6A}"/>
          </ac:spMkLst>
        </pc:spChg>
        <pc:spChg chg="del">
          <ac:chgData name="Carlo Abi-Raad" userId="08fc5628-31e7-49b7-aa1d-2f25a1b05d33" providerId="ADAL" clId="{91DF428D-10D1-344C-A879-47C8A34A3BDD}" dt="2025-04-01T21:58:22.735" v="5020" actId="26606"/>
          <ac:spMkLst>
            <pc:docMk/>
            <pc:sldMk cId="928278905" sldId="2262"/>
            <ac:spMk id="18" creationId="{5CCF3018-C514-4F41-8D1A-D5D84C75D0E9}"/>
          </ac:spMkLst>
        </pc:spChg>
        <pc:spChg chg="del">
          <ac:chgData name="Carlo Abi-Raad" userId="08fc5628-31e7-49b7-aa1d-2f25a1b05d33" providerId="ADAL" clId="{91DF428D-10D1-344C-A879-47C8A34A3BDD}" dt="2025-04-01T21:58:22.735" v="5020" actId="26606"/>
          <ac:spMkLst>
            <pc:docMk/>
            <pc:sldMk cId="928278905" sldId="2262"/>
            <ac:spMk id="20" creationId="{7981A9BE-6ECE-52CC-C145-DE2A7634F55C}"/>
          </ac:spMkLst>
        </pc:spChg>
        <pc:spChg chg="del">
          <ac:chgData name="Carlo Abi-Raad" userId="08fc5628-31e7-49b7-aa1d-2f25a1b05d33" providerId="ADAL" clId="{91DF428D-10D1-344C-A879-47C8A34A3BDD}" dt="2025-04-01T21:58:22.735" v="5020" actId="26606"/>
          <ac:spMkLst>
            <pc:docMk/>
            <pc:sldMk cId="928278905" sldId="2262"/>
            <ac:spMk id="22" creationId="{2850FC19-4490-6C66-39BD-A40C7ED7F391}"/>
          </ac:spMkLst>
        </pc:spChg>
        <pc:spChg chg="add del">
          <ac:chgData name="Carlo Abi-Raad" userId="08fc5628-31e7-49b7-aa1d-2f25a1b05d33" providerId="ADAL" clId="{91DF428D-10D1-344C-A879-47C8A34A3BDD}" dt="2025-04-01T22:05:46.219" v="5026" actId="26606"/>
          <ac:spMkLst>
            <pc:docMk/>
            <pc:sldMk cId="928278905" sldId="2262"/>
            <ac:spMk id="6151" creationId="{DF6151AF-B105-F5BF-6536-D9783032729E}"/>
          </ac:spMkLst>
        </pc:spChg>
        <pc:spChg chg="add del">
          <ac:chgData name="Carlo Abi-Raad" userId="08fc5628-31e7-49b7-aa1d-2f25a1b05d33" providerId="ADAL" clId="{91DF428D-10D1-344C-A879-47C8A34A3BDD}" dt="2025-04-01T22:05:46.219" v="5026" actId="26606"/>
          <ac:spMkLst>
            <pc:docMk/>
            <pc:sldMk cId="928278905" sldId="2262"/>
            <ac:spMk id="6153" creationId="{1B039B77-F05F-8669-26CB-0FF297F8B54D}"/>
          </ac:spMkLst>
        </pc:spChg>
        <pc:spChg chg="add del">
          <ac:chgData name="Carlo Abi-Raad" userId="08fc5628-31e7-49b7-aa1d-2f25a1b05d33" providerId="ADAL" clId="{91DF428D-10D1-344C-A879-47C8A34A3BDD}" dt="2025-04-01T22:05:46.219" v="5026" actId="26606"/>
          <ac:spMkLst>
            <pc:docMk/>
            <pc:sldMk cId="928278905" sldId="2262"/>
            <ac:spMk id="6155" creationId="{CFA6E481-A78E-8938-E955-1790E6826ECE}"/>
          </ac:spMkLst>
        </pc:spChg>
        <pc:spChg chg="add">
          <ac:chgData name="Carlo Abi-Raad" userId="08fc5628-31e7-49b7-aa1d-2f25a1b05d33" providerId="ADAL" clId="{91DF428D-10D1-344C-A879-47C8A34A3BDD}" dt="2025-04-01T22:05:46.219" v="5026" actId="26606"/>
          <ac:spMkLst>
            <pc:docMk/>
            <pc:sldMk cId="928278905" sldId="2262"/>
            <ac:spMk id="6160" creationId="{2DFDDE7A-9470-DD7D-A429-88536974507C}"/>
          </ac:spMkLst>
        </pc:spChg>
        <pc:spChg chg="add">
          <ac:chgData name="Carlo Abi-Raad" userId="08fc5628-31e7-49b7-aa1d-2f25a1b05d33" providerId="ADAL" clId="{91DF428D-10D1-344C-A879-47C8A34A3BDD}" dt="2025-04-01T22:05:46.219" v="5026" actId="26606"/>
          <ac:spMkLst>
            <pc:docMk/>
            <pc:sldMk cId="928278905" sldId="2262"/>
            <ac:spMk id="6162" creationId="{42DF2FE1-915A-A330-B263-FCFEB6AC33D9}"/>
          </ac:spMkLst>
        </pc:spChg>
        <pc:spChg chg="add">
          <ac:chgData name="Carlo Abi-Raad" userId="08fc5628-31e7-49b7-aa1d-2f25a1b05d33" providerId="ADAL" clId="{91DF428D-10D1-344C-A879-47C8A34A3BDD}" dt="2025-04-01T22:05:46.219" v="5026" actId="26606"/>
          <ac:spMkLst>
            <pc:docMk/>
            <pc:sldMk cId="928278905" sldId="2262"/>
            <ac:spMk id="6164" creationId="{6C29A3F2-FC4C-CA0B-93A2-86CA893D2C0C}"/>
          </ac:spMkLst>
        </pc:spChg>
        <pc:picChg chg="del">
          <ac:chgData name="Carlo Abi-Raad" userId="08fc5628-31e7-49b7-aa1d-2f25a1b05d33" providerId="ADAL" clId="{91DF428D-10D1-344C-A879-47C8A34A3BDD}" dt="2025-04-01T21:57:55.409" v="5017" actId="478"/>
          <ac:picMkLst>
            <pc:docMk/>
            <pc:sldMk cId="928278905" sldId="2262"/>
            <ac:picMk id="4" creationId="{ACB9D7D2-9BD5-2A2F-09B2-9438563505E4}"/>
          </ac:picMkLst>
        </pc:picChg>
        <pc:picChg chg="add del mod">
          <ac:chgData name="Carlo Abi-Raad" userId="08fc5628-31e7-49b7-aa1d-2f25a1b05d33" providerId="ADAL" clId="{91DF428D-10D1-344C-A879-47C8A34A3BDD}" dt="2025-04-01T22:04:48.489" v="5024" actId="478"/>
          <ac:picMkLst>
            <pc:docMk/>
            <pc:sldMk cId="928278905" sldId="2262"/>
            <ac:picMk id="7" creationId="{C0A9DC0F-3092-B51C-6232-F0623720EA44}"/>
          </ac:picMkLst>
        </pc:picChg>
        <pc:picChg chg="add del mod">
          <ac:chgData name="Carlo Abi-Raad" userId="08fc5628-31e7-49b7-aa1d-2f25a1b05d33" providerId="ADAL" clId="{91DF428D-10D1-344C-A879-47C8A34A3BDD}" dt="2025-04-01T22:05:54.475" v="5029" actId="478"/>
          <ac:picMkLst>
            <pc:docMk/>
            <pc:sldMk cId="928278905" sldId="2262"/>
            <ac:picMk id="11" creationId="{BBA7EB23-2ACF-B429-1526-F25D88BC8ED9}"/>
          </ac:picMkLst>
        </pc:picChg>
        <pc:picChg chg="add del mod">
          <ac:chgData name="Carlo Abi-Raad" userId="08fc5628-31e7-49b7-aa1d-2f25a1b05d33" providerId="ADAL" clId="{91DF428D-10D1-344C-A879-47C8A34A3BDD}" dt="2025-04-01T21:58:31.022" v="5021" actId="478"/>
          <ac:picMkLst>
            <pc:docMk/>
            <pc:sldMk cId="928278905" sldId="2262"/>
            <ac:picMk id="6146" creationId="{3008B1FB-8A5C-85A4-D2F7-7D9A9BF68AEC}"/>
          </ac:picMkLst>
        </pc:picChg>
      </pc:sldChg>
      <pc:sldChg chg="modSp mod">
        <pc:chgData name="Carlo Abi-Raad" userId="08fc5628-31e7-49b7-aa1d-2f25a1b05d33" providerId="ADAL" clId="{91DF428D-10D1-344C-A879-47C8A34A3BDD}" dt="2025-04-02T00:39:49.889" v="5285" actId="20577"/>
        <pc:sldMkLst>
          <pc:docMk/>
          <pc:sldMk cId="4230794871" sldId="2262"/>
        </pc:sldMkLst>
        <pc:spChg chg="mod">
          <ac:chgData name="Carlo Abi-Raad" userId="08fc5628-31e7-49b7-aa1d-2f25a1b05d33" providerId="ADAL" clId="{91DF428D-10D1-344C-A879-47C8A34A3BDD}" dt="2025-04-02T00:39:49.889" v="5285" actId="20577"/>
          <ac:spMkLst>
            <pc:docMk/>
            <pc:sldMk cId="4230794871" sldId="2262"/>
            <ac:spMk id="5" creationId="{959E957F-46D0-CC34-3668-8E74A1E42334}"/>
          </ac:spMkLst>
        </pc:spChg>
        <pc:spChg chg="mod">
          <ac:chgData name="Carlo Abi-Raad" userId="08fc5628-31e7-49b7-aa1d-2f25a1b05d33" providerId="ADAL" clId="{91DF428D-10D1-344C-A879-47C8A34A3BDD}" dt="2025-04-02T00:39:43.204" v="5265"/>
          <ac:spMkLst>
            <pc:docMk/>
            <pc:sldMk cId="4230794871" sldId="2262"/>
            <ac:spMk id="8" creationId="{D952C4CD-0FE8-389E-526B-39B95F2CC3F0}"/>
          </ac:spMkLst>
        </pc:spChg>
      </pc:sldChg>
      <pc:sldChg chg="addSp delSp modSp mod">
        <pc:chgData name="Carlo Abi-Raad" userId="08fc5628-31e7-49b7-aa1d-2f25a1b05d33" providerId="ADAL" clId="{91DF428D-10D1-344C-A879-47C8A34A3BDD}" dt="2025-04-02T18:18:18.618" v="5841" actId="1036"/>
        <pc:sldMkLst>
          <pc:docMk/>
          <pc:sldMk cId="1042857578" sldId="2263"/>
        </pc:sldMkLst>
        <pc:spChg chg="mod">
          <ac:chgData name="Carlo Abi-Raad" userId="08fc5628-31e7-49b7-aa1d-2f25a1b05d33" providerId="ADAL" clId="{91DF428D-10D1-344C-A879-47C8A34A3BDD}" dt="2025-04-02T04:26:18.014" v="5436" actId="1076"/>
          <ac:spMkLst>
            <pc:docMk/>
            <pc:sldMk cId="1042857578" sldId="2263"/>
            <ac:spMk id="3" creationId="{54A11D32-A819-1D28-A448-CED101F63A5F}"/>
          </ac:spMkLst>
        </pc:spChg>
        <pc:spChg chg="add del mod">
          <ac:chgData name="Carlo Abi-Raad" userId="08fc5628-31e7-49b7-aa1d-2f25a1b05d33" providerId="ADAL" clId="{91DF428D-10D1-344C-A879-47C8A34A3BDD}" dt="2025-04-02T04:35:35.710" v="5488" actId="478"/>
          <ac:spMkLst>
            <pc:docMk/>
            <pc:sldMk cId="1042857578" sldId="2263"/>
            <ac:spMk id="5" creationId="{72D5298C-3A1D-B7AB-2416-F44914E86C57}"/>
          </ac:spMkLst>
        </pc:spChg>
        <pc:spChg chg="mod">
          <ac:chgData name="Carlo Abi-Raad" userId="08fc5628-31e7-49b7-aa1d-2f25a1b05d33" providerId="ADAL" clId="{91DF428D-10D1-344C-A879-47C8A34A3BDD}" dt="2025-04-02T15:31:58.082" v="5639"/>
          <ac:spMkLst>
            <pc:docMk/>
            <pc:sldMk cId="1042857578" sldId="2263"/>
            <ac:spMk id="10" creationId="{6E02BA5E-C8A0-29EE-4DD6-BB44BE9CB46D}"/>
          </ac:spMkLst>
        </pc:spChg>
        <pc:spChg chg="add del mod">
          <ac:chgData name="Carlo Abi-Raad" userId="08fc5628-31e7-49b7-aa1d-2f25a1b05d33" providerId="ADAL" clId="{91DF428D-10D1-344C-A879-47C8A34A3BDD}" dt="2025-04-02T04:38:17.691" v="5501" actId="478"/>
          <ac:spMkLst>
            <pc:docMk/>
            <pc:sldMk cId="1042857578" sldId="2263"/>
            <ac:spMk id="11" creationId="{5B8D15BF-208C-08FB-8511-1D1944A4E23E}"/>
          </ac:spMkLst>
        </pc:spChg>
        <pc:spChg chg="add del mod">
          <ac:chgData name="Carlo Abi-Raad" userId="08fc5628-31e7-49b7-aa1d-2f25a1b05d33" providerId="ADAL" clId="{91DF428D-10D1-344C-A879-47C8A34A3BDD}" dt="2025-04-02T15:30:45.924" v="5635" actId="478"/>
          <ac:spMkLst>
            <pc:docMk/>
            <pc:sldMk cId="1042857578" sldId="2263"/>
            <ac:spMk id="12" creationId="{E8DB9E68-9EED-0D16-A9F1-17E1484B157A}"/>
          </ac:spMkLst>
        </pc:spChg>
        <pc:spChg chg="add mod">
          <ac:chgData name="Carlo Abi-Raad" userId="08fc5628-31e7-49b7-aa1d-2f25a1b05d33" providerId="ADAL" clId="{91DF428D-10D1-344C-A879-47C8A34A3BDD}" dt="2025-04-02T15:31:16.500" v="5638" actId="207"/>
          <ac:spMkLst>
            <pc:docMk/>
            <pc:sldMk cId="1042857578" sldId="2263"/>
            <ac:spMk id="13" creationId="{1FCB8327-EA6C-12DB-8888-4731C55CAACB}"/>
          </ac:spMkLst>
        </pc:spChg>
        <pc:spChg chg="add mod">
          <ac:chgData name="Carlo Abi-Raad" userId="08fc5628-31e7-49b7-aa1d-2f25a1b05d33" providerId="ADAL" clId="{91DF428D-10D1-344C-A879-47C8A34A3BDD}" dt="2025-04-02T15:31:16.500" v="5638" actId="207"/>
          <ac:spMkLst>
            <pc:docMk/>
            <pc:sldMk cId="1042857578" sldId="2263"/>
            <ac:spMk id="15" creationId="{F12482D7-85F0-F110-694C-98D2CAE839EC}"/>
          </ac:spMkLst>
        </pc:spChg>
        <pc:spChg chg="del mod">
          <ac:chgData name="Carlo Abi-Raad" userId="08fc5628-31e7-49b7-aa1d-2f25a1b05d33" providerId="ADAL" clId="{91DF428D-10D1-344C-A879-47C8A34A3BDD}" dt="2025-04-02T15:30:21.021" v="5631" actId="478"/>
          <ac:spMkLst>
            <pc:docMk/>
            <pc:sldMk cId="1042857578" sldId="2263"/>
            <ac:spMk id="22" creationId="{96B4F2DE-0F32-B5BE-BB73-D9C071D2EA7B}"/>
          </ac:spMkLst>
        </pc:spChg>
        <pc:spChg chg="mod">
          <ac:chgData name="Carlo Abi-Raad" userId="08fc5628-31e7-49b7-aa1d-2f25a1b05d33" providerId="ADAL" clId="{91DF428D-10D1-344C-A879-47C8A34A3BDD}" dt="2025-04-02T18:18:18.618" v="5841" actId="1036"/>
          <ac:spMkLst>
            <pc:docMk/>
            <pc:sldMk cId="1042857578" sldId="2263"/>
            <ac:spMk id="24" creationId="{5A36CB5F-44F5-6C73-31E7-70DA811FA564}"/>
          </ac:spMkLst>
        </pc:spChg>
        <pc:spChg chg="mod">
          <ac:chgData name="Carlo Abi-Raad" userId="08fc5628-31e7-49b7-aa1d-2f25a1b05d33" providerId="ADAL" clId="{91DF428D-10D1-344C-A879-47C8A34A3BDD}" dt="2025-04-02T18:18:00.018" v="5836" actId="1076"/>
          <ac:spMkLst>
            <pc:docMk/>
            <pc:sldMk cId="1042857578" sldId="2263"/>
            <ac:spMk id="25" creationId="{8E5C8B46-49BD-148D-AB9B-5CCFB5AF3738}"/>
          </ac:spMkLst>
        </pc:spChg>
        <pc:spChg chg="mod">
          <ac:chgData name="Carlo Abi-Raad" userId="08fc5628-31e7-49b7-aa1d-2f25a1b05d33" providerId="ADAL" clId="{91DF428D-10D1-344C-A879-47C8A34A3BDD}" dt="2025-04-02T04:26:33.509" v="5437" actId="1076"/>
          <ac:spMkLst>
            <pc:docMk/>
            <pc:sldMk cId="1042857578" sldId="2263"/>
            <ac:spMk id="30" creationId="{F932B129-1F49-7411-1DF3-9C1DF36A3033}"/>
          </ac:spMkLst>
        </pc:spChg>
        <pc:spChg chg="del mod">
          <ac:chgData name="Carlo Abi-Raad" userId="08fc5628-31e7-49b7-aa1d-2f25a1b05d33" providerId="ADAL" clId="{91DF428D-10D1-344C-A879-47C8A34A3BDD}" dt="2025-04-02T04:38:00.288" v="5493" actId="478"/>
          <ac:spMkLst>
            <pc:docMk/>
            <pc:sldMk cId="1042857578" sldId="2263"/>
            <ac:spMk id="39" creationId="{7E86A91C-C82C-4ABC-269C-BC330AB2168C}"/>
          </ac:spMkLst>
        </pc:spChg>
        <pc:spChg chg="mod">
          <ac:chgData name="Carlo Abi-Raad" userId="08fc5628-31e7-49b7-aa1d-2f25a1b05d33" providerId="ADAL" clId="{91DF428D-10D1-344C-A879-47C8A34A3BDD}" dt="2025-04-02T04:26:48.493" v="5439" actId="1076"/>
          <ac:spMkLst>
            <pc:docMk/>
            <pc:sldMk cId="1042857578" sldId="2263"/>
            <ac:spMk id="40" creationId="{2353BFEE-5F0D-A9C4-E26B-37DECFC9CED2}"/>
          </ac:spMkLst>
        </pc:spChg>
        <pc:spChg chg="mod">
          <ac:chgData name="Carlo Abi-Raad" userId="08fc5628-31e7-49b7-aa1d-2f25a1b05d33" providerId="ADAL" clId="{91DF428D-10D1-344C-A879-47C8A34A3BDD}" dt="2025-04-02T04:26:58.771" v="5440" actId="1076"/>
          <ac:spMkLst>
            <pc:docMk/>
            <pc:sldMk cId="1042857578" sldId="2263"/>
            <ac:spMk id="43" creationId="{6662DC18-4354-1679-69DD-C0E088004B2C}"/>
          </ac:spMkLst>
        </pc:spChg>
        <pc:graphicFrameChg chg="del">
          <ac:chgData name="Carlo Abi-Raad" userId="08fc5628-31e7-49b7-aa1d-2f25a1b05d33" providerId="ADAL" clId="{91DF428D-10D1-344C-A879-47C8A34A3BDD}" dt="2025-04-02T17:55:13.848" v="5736" actId="478"/>
          <ac:graphicFrameMkLst>
            <pc:docMk/>
            <pc:sldMk cId="1042857578" sldId="2263"/>
            <ac:graphicFrameMk id="8" creationId="{214A1249-A733-21B6-DAE9-9D36CEA889FB}"/>
          </ac:graphicFrameMkLst>
        </pc:graphicFrameChg>
        <pc:graphicFrameChg chg="add mod">
          <ac:chgData name="Carlo Abi-Raad" userId="08fc5628-31e7-49b7-aa1d-2f25a1b05d33" providerId="ADAL" clId="{91DF428D-10D1-344C-A879-47C8A34A3BDD}" dt="2025-04-02T17:55:15.065" v="5737"/>
          <ac:graphicFrameMkLst>
            <pc:docMk/>
            <pc:sldMk cId="1042857578" sldId="2263"/>
            <ac:graphicFrameMk id="23" creationId="{88B36BAE-23B7-F4E1-43A0-6065955EAF46}"/>
          </ac:graphicFrameMkLst>
        </pc:graphicFrameChg>
        <pc:graphicFrameChg chg="add mod modGraphic">
          <ac:chgData name="Carlo Abi-Raad" userId="08fc5628-31e7-49b7-aa1d-2f25a1b05d33" providerId="ADAL" clId="{91DF428D-10D1-344C-A879-47C8A34A3BDD}" dt="2025-04-02T17:55:30.796" v="5741" actId="242"/>
          <ac:graphicFrameMkLst>
            <pc:docMk/>
            <pc:sldMk cId="1042857578" sldId="2263"/>
            <ac:graphicFrameMk id="26" creationId="{5C5AE16B-67B4-4230-3456-0964280632DF}"/>
          </ac:graphicFrameMkLst>
        </pc:graphicFrameChg>
      </pc:sldChg>
      <pc:sldChg chg="modSp mod">
        <pc:chgData name="Carlo Abi-Raad" userId="08fc5628-31e7-49b7-aa1d-2f25a1b05d33" providerId="ADAL" clId="{91DF428D-10D1-344C-A879-47C8A34A3BDD}" dt="2025-04-02T15:41:10.312" v="5680"/>
        <pc:sldMkLst>
          <pc:docMk/>
          <pc:sldMk cId="1442350138" sldId="2267"/>
        </pc:sldMkLst>
        <pc:spChg chg="mod">
          <ac:chgData name="Carlo Abi-Raad" userId="08fc5628-31e7-49b7-aa1d-2f25a1b05d33" providerId="ADAL" clId="{91DF428D-10D1-344C-A879-47C8A34A3BDD}" dt="2025-04-02T04:58:37.724" v="5608" actId="14100"/>
          <ac:spMkLst>
            <pc:docMk/>
            <pc:sldMk cId="1442350138" sldId="2267"/>
            <ac:spMk id="32" creationId="{18C9CEF7-2669-280A-3365-2DF95B29C6BB}"/>
          </ac:spMkLst>
        </pc:spChg>
        <pc:graphicFrameChg chg="modGraphic">
          <ac:chgData name="Carlo Abi-Raad" userId="08fc5628-31e7-49b7-aa1d-2f25a1b05d33" providerId="ADAL" clId="{91DF428D-10D1-344C-A879-47C8A34A3BDD}" dt="2025-04-02T15:41:10.312" v="5680"/>
          <ac:graphicFrameMkLst>
            <pc:docMk/>
            <pc:sldMk cId="1442350138" sldId="2267"/>
            <ac:graphicFrameMk id="8" creationId="{12D1685D-AD6C-DC72-6BDB-27C03A2DD038}"/>
          </ac:graphicFrameMkLst>
        </pc:graphicFrameChg>
      </pc:sldChg>
      <pc:sldChg chg="modSp mod">
        <pc:chgData name="Carlo Abi-Raad" userId="08fc5628-31e7-49b7-aa1d-2f25a1b05d33" providerId="ADAL" clId="{91DF428D-10D1-344C-A879-47C8A34A3BDD}" dt="2025-04-02T15:28:57.506" v="5625" actId="113"/>
        <pc:sldMkLst>
          <pc:docMk/>
          <pc:sldMk cId="3535350961" sldId="2272"/>
        </pc:sldMkLst>
        <pc:spChg chg="mod">
          <ac:chgData name="Carlo Abi-Raad" userId="08fc5628-31e7-49b7-aa1d-2f25a1b05d33" providerId="ADAL" clId="{91DF428D-10D1-344C-A879-47C8A34A3BDD}" dt="2025-04-02T15:28:57.506" v="5625" actId="113"/>
          <ac:spMkLst>
            <pc:docMk/>
            <pc:sldMk cId="3535350961" sldId="2272"/>
            <ac:spMk id="9" creationId="{21B003B6-239A-E3AF-BFB6-534AC6601BD1}"/>
          </ac:spMkLst>
        </pc:spChg>
        <pc:spChg chg="mod">
          <ac:chgData name="Carlo Abi-Raad" userId="08fc5628-31e7-49b7-aa1d-2f25a1b05d33" providerId="ADAL" clId="{91DF428D-10D1-344C-A879-47C8A34A3BDD}" dt="2025-04-02T03:52:03.188" v="5356" actId="313"/>
          <ac:spMkLst>
            <pc:docMk/>
            <pc:sldMk cId="3535350961" sldId="2272"/>
            <ac:spMk id="12" creationId="{6C752D03-E2C9-111A-9365-431090561172}"/>
          </ac:spMkLst>
        </pc:spChg>
      </pc:sldChg>
      <pc:sldChg chg="modSp mod">
        <pc:chgData name="Carlo Abi-Raad" userId="08fc5628-31e7-49b7-aa1d-2f25a1b05d33" providerId="ADAL" clId="{91DF428D-10D1-344C-A879-47C8A34A3BDD}" dt="2025-04-02T15:40:01.018" v="5678"/>
        <pc:sldMkLst>
          <pc:docMk/>
          <pc:sldMk cId="3089843796" sldId="2274"/>
        </pc:sldMkLst>
        <pc:graphicFrameChg chg="mod modGraphic">
          <ac:chgData name="Carlo Abi-Raad" userId="08fc5628-31e7-49b7-aa1d-2f25a1b05d33" providerId="ADAL" clId="{91DF428D-10D1-344C-A879-47C8A34A3BDD}" dt="2025-04-02T15:40:01.018" v="5678"/>
          <ac:graphicFrameMkLst>
            <pc:docMk/>
            <pc:sldMk cId="3089843796" sldId="2274"/>
            <ac:graphicFrameMk id="11" creationId="{2982F241-2291-9F9F-03A3-1EA22AD26442}"/>
          </ac:graphicFrameMkLst>
        </pc:graphicFrameChg>
      </pc:sldChg>
      <pc:sldChg chg="addSp delSp modSp mod">
        <pc:chgData name="Carlo Abi-Raad" userId="08fc5628-31e7-49b7-aa1d-2f25a1b05d33" providerId="ADAL" clId="{91DF428D-10D1-344C-A879-47C8A34A3BDD}" dt="2025-04-02T04:50:45.090" v="5584"/>
        <pc:sldMkLst>
          <pc:docMk/>
          <pc:sldMk cId="4220811490" sldId="2276"/>
        </pc:sldMkLst>
        <pc:spChg chg="del">
          <ac:chgData name="Carlo Abi-Raad" userId="08fc5628-31e7-49b7-aa1d-2f25a1b05d33" providerId="ADAL" clId="{91DF428D-10D1-344C-A879-47C8A34A3BDD}" dt="2025-04-02T04:50:39.052" v="5579" actId="478"/>
          <ac:spMkLst>
            <pc:docMk/>
            <pc:sldMk cId="4220811490" sldId="2276"/>
            <ac:spMk id="2" creationId="{D0C6A1EA-CF21-565A-C5FA-1C144E198D7E}"/>
          </ac:spMkLst>
        </pc:spChg>
        <pc:spChg chg="mod">
          <ac:chgData name="Carlo Abi-Raad" userId="08fc5628-31e7-49b7-aa1d-2f25a1b05d33" providerId="ADAL" clId="{91DF428D-10D1-344C-A879-47C8A34A3BDD}" dt="2025-04-02T04:50:00.401" v="5576" actId="1076"/>
          <ac:spMkLst>
            <pc:docMk/>
            <pc:sldMk cId="4220811490" sldId="2276"/>
            <ac:spMk id="3" creationId="{1A7AFD17-C786-0C9D-BB40-B243376A7EC4}"/>
          </ac:spMkLst>
        </pc:spChg>
        <pc:spChg chg="mod">
          <ac:chgData name="Carlo Abi-Raad" userId="08fc5628-31e7-49b7-aa1d-2f25a1b05d33" providerId="ADAL" clId="{91DF428D-10D1-344C-A879-47C8A34A3BDD}" dt="2025-04-02T04:50:09.390" v="5577" actId="1076"/>
          <ac:spMkLst>
            <pc:docMk/>
            <pc:sldMk cId="4220811490" sldId="2276"/>
            <ac:spMk id="5" creationId="{7DB86494-3B41-1A3F-7A1F-957CD6E475A2}"/>
          </ac:spMkLst>
        </pc:spChg>
        <pc:spChg chg="mod">
          <ac:chgData name="Carlo Abi-Raad" userId="08fc5628-31e7-49b7-aa1d-2f25a1b05d33" providerId="ADAL" clId="{91DF428D-10D1-344C-A879-47C8A34A3BDD}" dt="2025-04-02T04:50:09.390" v="5577" actId="1076"/>
          <ac:spMkLst>
            <pc:docMk/>
            <pc:sldMk cId="4220811490" sldId="2276"/>
            <ac:spMk id="6" creationId="{7AC7805F-8A9F-4FA0-A27D-401412A109E1}"/>
          </ac:spMkLst>
        </pc:spChg>
        <pc:spChg chg="mod">
          <ac:chgData name="Carlo Abi-Raad" userId="08fc5628-31e7-49b7-aa1d-2f25a1b05d33" providerId="ADAL" clId="{91DF428D-10D1-344C-A879-47C8A34A3BDD}" dt="2025-04-02T04:50:09.390" v="5577" actId="1076"/>
          <ac:spMkLst>
            <pc:docMk/>
            <pc:sldMk cId="4220811490" sldId="2276"/>
            <ac:spMk id="7" creationId="{8E579D29-D90B-7CDA-D806-F9DEFE9792C5}"/>
          </ac:spMkLst>
        </pc:spChg>
        <pc:spChg chg="mod">
          <ac:chgData name="Carlo Abi-Raad" userId="08fc5628-31e7-49b7-aa1d-2f25a1b05d33" providerId="ADAL" clId="{91DF428D-10D1-344C-A879-47C8A34A3BDD}" dt="2025-04-02T04:50:00.401" v="5576" actId="1076"/>
          <ac:spMkLst>
            <pc:docMk/>
            <pc:sldMk cId="4220811490" sldId="2276"/>
            <ac:spMk id="10" creationId="{D6A51ADD-51E8-4298-7515-BFF55090178E}"/>
          </ac:spMkLst>
        </pc:spChg>
        <pc:spChg chg="mod">
          <ac:chgData name="Carlo Abi-Raad" userId="08fc5628-31e7-49b7-aa1d-2f25a1b05d33" providerId="ADAL" clId="{91DF428D-10D1-344C-A879-47C8A34A3BDD}" dt="2025-04-02T04:50:00.401" v="5576" actId="1076"/>
          <ac:spMkLst>
            <pc:docMk/>
            <pc:sldMk cId="4220811490" sldId="2276"/>
            <ac:spMk id="12" creationId="{C6B2235C-AF34-7E9E-4FDE-03F650343570}"/>
          </ac:spMkLst>
        </pc:spChg>
        <pc:spChg chg="mod">
          <ac:chgData name="Carlo Abi-Raad" userId="08fc5628-31e7-49b7-aa1d-2f25a1b05d33" providerId="ADAL" clId="{91DF428D-10D1-344C-A879-47C8A34A3BDD}" dt="2025-04-02T04:50:09.390" v="5577" actId="1076"/>
          <ac:spMkLst>
            <pc:docMk/>
            <pc:sldMk cId="4220811490" sldId="2276"/>
            <ac:spMk id="13" creationId="{4C1C654B-F485-EFAA-1652-3B40ED57F7A2}"/>
          </ac:spMkLst>
        </pc:spChg>
        <pc:spChg chg="mod">
          <ac:chgData name="Carlo Abi-Raad" userId="08fc5628-31e7-49b7-aa1d-2f25a1b05d33" providerId="ADAL" clId="{91DF428D-10D1-344C-A879-47C8A34A3BDD}" dt="2025-04-02T04:50:00.401" v="5576" actId="1076"/>
          <ac:spMkLst>
            <pc:docMk/>
            <pc:sldMk cId="4220811490" sldId="2276"/>
            <ac:spMk id="14" creationId="{E5CB4D51-6570-DF3F-C3FB-A2B0E4CB6F9F}"/>
          </ac:spMkLst>
        </pc:spChg>
        <pc:spChg chg="del mod">
          <ac:chgData name="Carlo Abi-Raad" userId="08fc5628-31e7-49b7-aa1d-2f25a1b05d33" providerId="ADAL" clId="{91DF428D-10D1-344C-A879-47C8A34A3BDD}" dt="2025-04-02T04:45:14.125" v="5550" actId="478"/>
          <ac:spMkLst>
            <pc:docMk/>
            <pc:sldMk cId="4220811490" sldId="2276"/>
            <ac:spMk id="15" creationId="{AA5C7055-2678-A228-E59B-350574493530}"/>
          </ac:spMkLst>
        </pc:spChg>
        <pc:spChg chg="del mod">
          <ac:chgData name="Carlo Abi-Raad" userId="08fc5628-31e7-49b7-aa1d-2f25a1b05d33" providerId="ADAL" clId="{91DF428D-10D1-344C-A879-47C8A34A3BDD}" dt="2025-04-02T04:41:44.129" v="5510" actId="478"/>
          <ac:spMkLst>
            <pc:docMk/>
            <pc:sldMk cId="4220811490" sldId="2276"/>
            <ac:spMk id="16" creationId="{1D588187-3808-30AA-5F14-068B9694F27B}"/>
          </ac:spMkLst>
        </pc:spChg>
        <pc:spChg chg="mod">
          <ac:chgData name="Carlo Abi-Raad" userId="08fc5628-31e7-49b7-aa1d-2f25a1b05d33" providerId="ADAL" clId="{91DF428D-10D1-344C-A879-47C8A34A3BDD}" dt="2025-04-02T04:50:17.011" v="5578" actId="1076"/>
          <ac:spMkLst>
            <pc:docMk/>
            <pc:sldMk cId="4220811490" sldId="2276"/>
            <ac:spMk id="17" creationId="{B9A8D6C6-C735-0835-25BD-1309E48424DB}"/>
          </ac:spMkLst>
        </pc:spChg>
        <pc:spChg chg="mod">
          <ac:chgData name="Carlo Abi-Raad" userId="08fc5628-31e7-49b7-aa1d-2f25a1b05d33" providerId="ADAL" clId="{91DF428D-10D1-344C-A879-47C8A34A3BDD}" dt="2025-04-02T04:49:49.742" v="5575" actId="1076"/>
          <ac:spMkLst>
            <pc:docMk/>
            <pc:sldMk cId="4220811490" sldId="2276"/>
            <ac:spMk id="22" creationId="{6D681EC4-D9C2-704F-E5DB-5C59E49B0C37}"/>
          </ac:spMkLst>
        </pc:spChg>
        <pc:spChg chg="mod">
          <ac:chgData name="Carlo Abi-Raad" userId="08fc5628-31e7-49b7-aa1d-2f25a1b05d33" providerId="ADAL" clId="{91DF428D-10D1-344C-A879-47C8A34A3BDD}" dt="2025-04-02T04:50:17.011" v="5578" actId="1076"/>
          <ac:spMkLst>
            <pc:docMk/>
            <pc:sldMk cId="4220811490" sldId="2276"/>
            <ac:spMk id="23" creationId="{F00866A8-214D-6AD0-8340-C253ED2C6028}"/>
          </ac:spMkLst>
        </pc:spChg>
        <pc:spChg chg="del mod">
          <ac:chgData name="Carlo Abi-Raad" userId="08fc5628-31e7-49b7-aa1d-2f25a1b05d33" providerId="ADAL" clId="{91DF428D-10D1-344C-A879-47C8A34A3BDD}" dt="2025-04-02T04:41:44.575" v="5511" actId="478"/>
          <ac:spMkLst>
            <pc:docMk/>
            <pc:sldMk cId="4220811490" sldId="2276"/>
            <ac:spMk id="24" creationId="{A8EFB377-7256-234A-5902-C7B7DB30093D}"/>
          </ac:spMkLst>
        </pc:spChg>
        <pc:spChg chg="mod">
          <ac:chgData name="Carlo Abi-Raad" userId="08fc5628-31e7-49b7-aa1d-2f25a1b05d33" providerId="ADAL" clId="{91DF428D-10D1-344C-A879-47C8A34A3BDD}" dt="2025-04-02T04:50:17.011" v="5578" actId="1076"/>
          <ac:spMkLst>
            <pc:docMk/>
            <pc:sldMk cId="4220811490" sldId="2276"/>
            <ac:spMk id="25" creationId="{7D14BED9-E68A-BD9F-728E-BD717A6AC41B}"/>
          </ac:spMkLst>
        </pc:spChg>
        <pc:spChg chg="mod">
          <ac:chgData name="Carlo Abi-Raad" userId="08fc5628-31e7-49b7-aa1d-2f25a1b05d33" providerId="ADAL" clId="{91DF428D-10D1-344C-A879-47C8A34A3BDD}" dt="2025-04-02T04:50:17.011" v="5578" actId="1076"/>
          <ac:spMkLst>
            <pc:docMk/>
            <pc:sldMk cId="4220811490" sldId="2276"/>
            <ac:spMk id="27" creationId="{96373ED2-5844-F965-C521-4DCD41F01CD8}"/>
          </ac:spMkLst>
        </pc:spChg>
        <pc:spChg chg="mod">
          <ac:chgData name="Carlo Abi-Raad" userId="08fc5628-31e7-49b7-aa1d-2f25a1b05d33" providerId="ADAL" clId="{91DF428D-10D1-344C-A879-47C8A34A3BDD}" dt="2025-04-02T04:49:49.742" v="5575" actId="1076"/>
          <ac:spMkLst>
            <pc:docMk/>
            <pc:sldMk cId="4220811490" sldId="2276"/>
            <ac:spMk id="28" creationId="{310200D4-3B30-0178-89B0-446ADAB22343}"/>
          </ac:spMkLst>
        </pc:spChg>
        <pc:spChg chg="mod">
          <ac:chgData name="Carlo Abi-Raad" userId="08fc5628-31e7-49b7-aa1d-2f25a1b05d33" providerId="ADAL" clId="{91DF428D-10D1-344C-A879-47C8A34A3BDD}" dt="2025-04-02T04:49:49.742" v="5575" actId="1076"/>
          <ac:spMkLst>
            <pc:docMk/>
            <pc:sldMk cId="4220811490" sldId="2276"/>
            <ac:spMk id="30" creationId="{CB338FB0-81A9-338E-31D9-D7BEEA252CDF}"/>
          </ac:spMkLst>
        </pc:spChg>
        <pc:spChg chg="mod">
          <ac:chgData name="Carlo Abi-Raad" userId="08fc5628-31e7-49b7-aa1d-2f25a1b05d33" providerId="ADAL" clId="{91DF428D-10D1-344C-A879-47C8A34A3BDD}" dt="2025-04-02T04:49:49.742" v="5575" actId="1076"/>
          <ac:spMkLst>
            <pc:docMk/>
            <pc:sldMk cId="4220811490" sldId="2276"/>
            <ac:spMk id="31" creationId="{8AB258AC-3B4D-5416-2BFA-127C3E3EF78A}"/>
          </ac:spMkLst>
        </pc:spChg>
        <pc:spChg chg="add del mod">
          <ac:chgData name="Carlo Abi-Raad" userId="08fc5628-31e7-49b7-aa1d-2f25a1b05d33" providerId="ADAL" clId="{91DF428D-10D1-344C-A879-47C8A34A3BDD}" dt="2025-04-02T04:50:43.905" v="5583" actId="478"/>
          <ac:spMkLst>
            <pc:docMk/>
            <pc:sldMk cId="4220811490" sldId="2276"/>
            <ac:spMk id="38" creationId="{F4ADD3A5-5371-2C89-9053-653EE68E7C29}"/>
          </ac:spMkLst>
        </pc:spChg>
        <pc:spChg chg="add del mod">
          <ac:chgData name="Carlo Abi-Raad" userId="08fc5628-31e7-49b7-aa1d-2f25a1b05d33" providerId="ADAL" clId="{91DF428D-10D1-344C-A879-47C8A34A3BDD}" dt="2025-04-02T04:50:42.772" v="5582" actId="478"/>
          <ac:spMkLst>
            <pc:docMk/>
            <pc:sldMk cId="4220811490" sldId="2276"/>
            <ac:spMk id="39" creationId="{66B961DD-D15F-150D-214F-9086BF1BA511}"/>
          </ac:spMkLst>
        </pc:spChg>
        <pc:spChg chg="add mod">
          <ac:chgData name="Carlo Abi-Raad" userId="08fc5628-31e7-49b7-aa1d-2f25a1b05d33" providerId="ADAL" clId="{91DF428D-10D1-344C-A879-47C8A34A3BDD}" dt="2025-04-02T04:50:45.090" v="5584"/>
          <ac:spMkLst>
            <pc:docMk/>
            <pc:sldMk cId="4220811490" sldId="2276"/>
            <ac:spMk id="40" creationId="{E3EF2377-B9C2-0156-1B74-4BDCD183D334}"/>
          </ac:spMkLst>
        </pc:spChg>
        <pc:cxnChg chg="add mod">
          <ac:chgData name="Carlo Abi-Raad" userId="08fc5628-31e7-49b7-aa1d-2f25a1b05d33" providerId="ADAL" clId="{91DF428D-10D1-344C-A879-47C8A34A3BDD}" dt="2025-04-02T04:45:51.243" v="5555" actId="14100"/>
          <ac:cxnSpMkLst>
            <pc:docMk/>
            <pc:sldMk cId="4220811490" sldId="2276"/>
            <ac:cxnSpMk id="9" creationId="{3F3F77B9-988D-D815-3CA6-816A42CB2BF8}"/>
          </ac:cxnSpMkLst>
        </pc:cxnChg>
        <pc:cxnChg chg="add mod">
          <ac:chgData name="Carlo Abi-Raad" userId="08fc5628-31e7-49b7-aa1d-2f25a1b05d33" providerId="ADAL" clId="{91DF428D-10D1-344C-A879-47C8A34A3BDD}" dt="2025-04-02T04:46:12.333" v="5558" actId="1076"/>
          <ac:cxnSpMkLst>
            <pc:docMk/>
            <pc:sldMk cId="4220811490" sldId="2276"/>
            <ac:cxnSpMk id="18" creationId="{86D8110A-45BD-CA21-4ABB-C04F9E4A796E}"/>
          </ac:cxnSpMkLst>
        </pc:cxnChg>
      </pc:sldChg>
      <pc:sldChg chg="modSp mod">
        <pc:chgData name="Carlo Abi-Raad" userId="08fc5628-31e7-49b7-aa1d-2f25a1b05d33" providerId="ADAL" clId="{91DF428D-10D1-344C-A879-47C8A34A3BDD}" dt="2025-04-02T18:26:08.424" v="5892" actId="692"/>
        <pc:sldMkLst>
          <pc:docMk/>
          <pc:sldMk cId="61870900" sldId="2278"/>
        </pc:sldMkLst>
        <pc:spChg chg="mod">
          <ac:chgData name="Carlo Abi-Raad" userId="08fc5628-31e7-49b7-aa1d-2f25a1b05d33" providerId="ADAL" clId="{91DF428D-10D1-344C-A879-47C8A34A3BDD}" dt="2025-04-02T17:02:05.726" v="5730" actId="20577"/>
          <ac:spMkLst>
            <pc:docMk/>
            <pc:sldMk cId="61870900" sldId="2278"/>
            <ac:spMk id="14" creationId="{E7644E2E-00FE-42B4-3682-0266A15365AA}"/>
          </ac:spMkLst>
        </pc:spChg>
        <pc:cxnChg chg="mod">
          <ac:chgData name="Carlo Abi-Raad" userId="08fc5628-31e7-49b7-aa1d-2f25a1b05d33" providerId="ADAL" clId="{91DF428D-10D1-344C-A879-47C8A34A3BDD}" dt="2025-04-02T18:26:08.424" v="5892" actId="692"/>
          <ac:cxnSpMkLst>
            <pc:docMk/>
            <pc:sldMk cId="61870900" sldId="2278"/>
            <ac:cxnSpMk id="6" creationId="{15242277-E1BF-BECC-8431-C7C2C7A0E990}"/>
          </ac:cxnSpMkLst>
        </pc:cxnChg>
        <pc:cxnChg chg="mod">
          <ac:chgData name="Carlo Abi-Raad" userId="08fc5628-31e7-49b7-aa1d-2f25a1b05d33" providerId="ADAL" clId="{91DF428D-10D1-344C-A879-47C8A34A3BDD}" dt="2025-04-02T18:25:42.143" v="5883" actId="692"/>
          <ac:cxnSpMkLst>
            <pc:docMk/>
            <pc:sldMk cId="61870900" sldId="2278"/>
            <ac:cxnSpMk id="7" creationId="{92D08B5C-956C-E965-62ED-6381387F5B18}"/>
          </ac:cxnSpMkLst>
        </pc:cxnChg>
        <pc:cxnChg chg="mod">
          <ac:chgData name="Carlo Abi-Raad" userId="08fc5628-31e7-49b7-aa1d-2f25a1b05d33" providerId="ADAL" clId="{91DF428D-10D1-344C-A879-47C8A34A3BDD}" dt="2025-04-02T18:26:00.378" v="5889" actId="1076"/>
          <ac:cxnSpMkLst>
            <pc:docMk/>
            <pc:sldMk cId="61870900" sldId="2278"/>
            <ac:cxnSpMk id="8" creationId="{2154E42B-78ED-CAD1-2445-89F1440ED44D}"/>
          </ac:cxnSpMkLst>
        </pc:cxnChg>
        <pc:cxnChg chg="mod">
          <ac:chgData name="Carlo Abi-Raad" userId="08fc5628-31e7-49b7-aa1d-2f25a1b05d33" providerId="ADAL" clId="{91DF428D-10D1-344C-A879-47C8A34A3BDD}" dt="2025-04-02T18:25:49.873" v="5886" actId="692"/>
          <ac:cxnSpMkLst>
            <pc:docMk/>
            <pc:sldMk cId="61870900" sldId="2278"/>
            <ac:cxnSpMk id="9" creationId="{D6755C15-3FD6-CE2B-AB82-7B9CEC0B94B1}"/>
          </ac:cxnSpMkLst>
        </pc:cxnChg>
      </pc:sldChg>
      <pc:sldChg chg="addSp delSp modSp mod">
        <pc:chgData name="Carlo Abi-Raad" userId="08fc5628-31e7-49b7-aa1d-2f25a1b05d33" providerId="ADAL" clId="{91DF428D-10D1-344C-A879-47C8A34A3BDD}" dt="2025-04-02T18:06:43.838" v="5813" actId="20577"/>
        <pc:sldMkLst>
          <pc:docMk/>
          <pc:sldMk cId="4010462100" sldId="2279"/>
        </pc:sldMkLst>
        <pc:spChg chg="add mod">
          <ac:chgData name="Carlo Abi-Raad" userId="08fc5628-31e7-49b7-aa1d-2f25a1b05d33" providerId="ADAL" clId="{91DF428D-10D1-344C-A879-47C8A34A3BDD}" dt="2025-04-02T18:06:32.442" v="5809" actId="403"/>
          <ac:spMkLst>
            <pc:docMk/>
            <pc:sldMk cId="4010462100" sldId="2279"/>
            <ac:spMk id="3" creationId="{728E5F69-4AE1-EC1D-FCE1-CB71DF120A39}"/>
          </ac:spMkLst>
        </pc:spChg>
        <pc:spChg chg="del mod">
          <ac:chgData name="Carlo Abi-Raad" userId="08fc5628-31e7-49b7-aa1d-2f25a1b05d33" providerId="ADAL" clId="{91DF428D-10D1-344C-A879-47C8A34A3BDD}" dt="2025-04-02T18:05:49.177" v="5789" actId="478"/>
          <ac:spMkLst>
            <pc:docMk/>
            <pc:sldMk cId="4010462100" sldId="2279"/>
            <ac:spMk id="20" creationId="{1C0205A1-3147-510E-068C-E3760E2D6AA1}"/>
          </ac:spMkLst>
        </pc:spChg>
        <pc:spChg chg="del mod">
          <ac:chgData name="Carlo Abi-Raad" userId="08fc5628-31e7-49b7-aa1d-2f25a1b05d33" providerId="ADAL" clId="{91DF428D-10D1-344C-A879-47C8A34A3BDD}" dt="2025-04-02T18:06:17.028" v="5801" actId="21"/>
          <ac:spMkLst>
            <pc:docMk/>
            <pc:sldMk cId="4010462100" sldId="2279"/>
            <ac:spMk id="29" creationId="{0607A5FA-1B12-A98F-65C2-33ED21AED079}"/>
          </ac:spMkLst>
        </pc:spChg>
        <pc:spChg chg="add del mod">
          <ac:chgData name="Carlo Abi-Raad" userId="08fc5628-31e7-49b7-aa1d-2f25a1b05d33" providerId="ADAL" clId="{91DF428D-10D1-344C-A879-47C8A34A3BDD}" dt="2025-04-02T18:06:13.646" v="5800" actId="1076"/>
          <ac:spMkLst>
            <pc:docMk/>
            <pc:sldMk cId="4010462100" sldId="2279"/>
            <ac:spMk id="32" creationId="{AA807C26-E9A0-FDCA-6110-038C1C5C7CF9}"/>
          </ac:spMkLst>
        </pc:spChg>
        <pc:graphicFrameChg chg="modGraphic">
          <ac:chgData name="Carlo Abi-Raad" userId="08fc5628-31e7-49b7-aa1d-2f25a1b05d33" providerId="ADAL" clId="{91DF428D-10D1-344C-A879-47C8A34A3BDD}" dt="2025-04-02T18:06:43.838" v="5813" actId="20577"/>
          <ac:graphicFrameMkLst>
            <pc:docMk/>
            <pc:sldMk cId="4010462100" sldId="2279"/>
            <ac:graphicFrameMk id="8" creationId="{A78EDF98-7DE3-CFB9-A568-B0137D61C685}"/>
          </ac:graphicFrameMkLst>
        </pc:graphicFrameChg>
        <pc:cxnChg chg="del">
          <ac:chgData name="Carlo Abi-Raad" userId="08fc5628-31e7-49b7-aa1d-2f25a1b05d33" providerId="ADAL" clId="{91DF428D-10D1-344C-A879-47C8A34A3BDD}" dt="2025-04-02T18:05:52.240" v="5790" actId="478"/>
          <ac:cxnSpMkLst>
            <pc:docMk/>
            <pc:sldMk cId="4010462100" sldId="2279"/>
            <ac:cxnSpMk id="28" creationId="{DA9A3C4E-F39E-BF1E-203D-C74D85635A78}"/>
          </ac:cxnSpMkLst>
        </pc:cxnChg>
      </pc:sldChg>
      <pc:sldMasterChg chg="delSp mod setBg modSldLayout">
        <pc:chgData name="Carlo Abi-Raad" userId="08fc5628-31e7-49b7-aa1d-2f25a1b05d33" providerId="ADAL" clId="{91DF428D-10D1-344C-A879-47C8A34A3BDD}" dt="2025-04-02T17:34:41.751" v="5734" actId="478"/>
        <pc:sldMasterMkLst>
          <pc:docMk/>
          <pc:sldMasterMk cId="108896749" sldId="2147483674"/>
        </pc:sldMasterMkLst>
        <pc:spChg chg="del">
          <ac:chgData name="Carlo Abi-Raad" userId="08fc5628-31e7-49b7-aa1d-2f25a1b05d33" providerId="ADAL" clId="{91DF428D-10D1-344C-A879-47C8A34A3BDD}" dt="2025-04-02T17:34:29.886" v="5732" actId="478"/>
          <ac:spMkLst>
            <pc:docMk/>
            <pc:sldMasterMk cId="108896749" sldId="2147483674"/>
            <ac:spMk id="11" creationId="{A34C00C7-2D9A-0E42-A581-B4EE6EF3CB81}"/>
          </ac:spMkLst>
        </pc:spChg>
        <pc:sldLayoutChg chg="delSp modSp mod">
          <pc:chgData name="Carlo Abi-Raad" userId="08fc5628-31e7-49b7-aa1d-2f25a1b05d33" providerId="ADAL" clId="{91DF428D-10D1-344C-A879-47C8A34A3BDD}" dt="2025-04-02T17:34:41.751" v="5734" actId="478"/>
          <pc:sldLayoutMkLst>
            <pc:docMk/>
            <pc:sldMasterMk cId="108896749" sldId="2147483674"/>
            <pc:sldLayoutMk cId="622187772" sldId="2147483685"/>
          </pc:sldLayoutMkLst>
          <pc:spChg chg="del mod">
            <ac:chgData name="Carlo Abi-Raad" userId="08fc5628-31e7-49b7-aa1d-2f25a1b05d33" providerId="ADAL" clId="{91DF428D-10D1-344C-A879-47C8A34A3BDD}" dt="2025-04-02T17:34:41.751" v="5734" actId="478"/>
            <ac:spMkLst>
              <pc:docMk/>
              <pc:sldMasterMk cId="108896749" sldId="2147483674"/>
              <pc:sldLayoutMk cId="622187772" sldId="2147483685"/>
              <ac:spMk id="12" creationId="{3CA2DB5D-51D0-BCD4-255A-B4F1FAFD761F}"/>
            </ac:spMkLst>
          </pc:spChg>
        </pc:sldLayoutChg>
        <pc:sldLayoutChg chg="addSp delSp modSp mod">
          <pc:chgData name="Carlo Abi-Raad" userId="08fc5628-31e7-49b7-aa1d-2f25a1b05d33" providerId="ADAL" clId="{91DF428D-10D1-344C-A879-47C8A34A3BDD}" dt="2025-03-31T01:24:16.737" v="2902" actId="14100"/>
          <pc:sldLayoutMkLst>
            <pc:docMk/>
            <pc:sldMasterMk cId="108896749" sldId="2147483674"/>
            <pc:sldLayoutMk cId="3037225722" sldId="2147483693"/>
          </pc:sldLayoutMkLst>
          <pc:spChg chg="mod">
            <ac:chgData name="Carlo Abi-Raad" userId="08fc5628-31e7-49b7-aa1d-2f25a1b05d33" providerId="ADAL" clId="{91DF428D-10D1-344C-A879-47C8A34A3BDD}" dt="2025-03-31T01:24:16.737" v="2902" actId="14100"/>
            <ac:spMkLst>
              <pc:docMk/>
              <pc:sldMasterMk cId="108896749" sldId="2147483674"/>
              <pc:sldLayoutMk cId="3037225722" sldId="2147483693"/>
              <ac:spMk id="3" creationId="{38B34AEA-424E-E6F3-E238-8165C0C2D089}"/>
            </ac:spMkLst>
          </pc:spChg>
        </pc:sldLayoutChg>
      </pc:sldMasterChg>
    </pc:docChg>
  </pc:docChgLst>
  <pc:docChgLst>
    <pc:chgData name="Christian Gillam" userId="178737ef-0014-4dd8-b439-bc02dd9433a1" providerId="ADAL" clId="{FFCFC733-178D-45DB-9F93-473891DA6B35}"/>
    <pc:docChg chg="undo custSel addSld delSld modSld sldOrd">
      <pc:chgData name="Christian Gillam" userId="178737ef-0014-4dd8-b439-bc02dd9433a1" providerId="ADAL" clId="{FFCFC733-178D-45DB-9F93-473891DA6B35}" dt="2025-03-25T23:56:44.977" v="316" actId="47"/>
      <pc:docMkLst>
        <pc:docMk/>
      </pc:docMkLst>
      <pc:sldChg chg="modSp mod">
        <pc:chgData name="Christian Gillam" userId="178737ef-0014-4dd8-b439-bc02dd9433a1" providerId="ADAL" clId="{FFCFC733-178D-45DB-9F93-473891DA6B35}" dt="2025-03-25T23:17:01.983" v="134" actId="20577"/>
        <pc:sldMkLst>
          <pc:docMk/>
          <pc:sldMk cId="229152731" sldId="315"/>
        </pc:sldMkLst>
        <pc:spChg chg="mod">
          <ac:chgData name="Christian Gillam" userId="178737ef-0014-4dd8-b439-bc02dd9433a1" providerId="ADAL" clId="{FFCFC733-178D-45DB-9F93-473891DA6B35}" dt="2025-03-25T23:17:01.983" v="134" actId="20577"/>
          <ac:spMkLst>
            <pc:docMk/>
            <pc:sldMk cId="229152731" sldId="315"/>
            <ac:spMk id="7" creationId="{F15F6A29-BB29-E1C6-BACC-63A89B82628D}"/>
          </ac:spMkLst>
        </pc:spChg>
        <pc:spChg chg="mod">
          <ac:chgData name="Christian Gillam" userId="178737ef-0014-4dd8-b439-bc02dd9433a1" providerId="ADAL" clId="{FFCFC733-178D-45DB-9F93-473891DA6B35}" dt="2025-03-25T23:16:47.427" v="123" actId="20577"/>
          <ac:spMkLst>
            <pc:docMk/>
            <pc:sldMk cId="229152731" sldId="315"/>
            <ac:spMk id="10" creationId="{F32B75D1-E69D-BBAC-1BF4-D4028C464622}"/>
          </ac:spMkLst>
        </pc:spChg>
      </pc:sldChg>
      <pc:sldChg chg="addSp delSp modSp add del mod">
        <pc:chgData name="Christian Gillam" userId="178737ef-0014-4dd8-b439-bc02dd9433a1" providerId="ADAL" clId="{FFCFC733-178D-45DB-9F93-473891DA6B35}" dt="2025-03-25T23:42:48.821" v="297" actId="2085"/>
        <pc:sldMkLst>
          <pc:docMk/>
          <pc:sldMk cId="3256984854" sldId="319"/>
        </pc:sldMkLst>
      </pc:sldChg>
      <pc:sldChg chg="modSp new mod">
        <pc:chgData name="Christian Gillam" userId="178737ef-0014-4dd8-b439-bc02dd9433a1" providerId="ADAL" clId="{FFCFC733-178D-45DB-9F93-473891DA6B35}" dt="2025-03-25T23:17:10.212" v="145" actId="20577"/>
        <pc:sldMkLst>
          <pc:docMk/>
          <pc:sldMk cId="2883770247" sldId="320"/>
        </pc:sldMkLst>
        <pc:spChg chg="mod">
          <ac:chgData name="Christian Gillam" userId="178737ef-0014-4dd8-b439-bc02dd9433a1" providerId="ADAL" clId="{FFCFC733-178D-45DB-9F93-473891DA6B35}" dt="2025-03-25T23:17:10.212" v="145" actId="20577"/>
          <ac:spMkLst>
            <pc:docMk/>
            <pc:sldMk cId="2883770247" sldId="320"/>
            <ac:spMk id="4" creationId="{F40B6E2F-405E-46FD-AADD-4AED9E89A8DF}"/>
          </ac:spMkLst>
        </pc:spChg>
      </pc:sldChg>
      <pc:sldChg chg="modSp new mod">
        <pc:chgData name="Christian Gillam" userId="178737ef-0014-4dd8-b439-bc02dd9433a1" providerId="ADAL" clId="{FFCFC733-178D-45DB-9F93-473891DA6B35}" dt="2025-03-25T23:17:17.646" v="156" actId="20577"/>
        <pc:sldMkLst>
          <pc:docMk/>
          <pc:sldMk cId="3751027074" sldId="321"/>
        </pc:sldMkLst>
        <pc:spChg chg="mod">
          <ac:chgData name="Christian Gillam" userId="178737ef-0014-4dd8-b439-bc02dd9433a1" providerId="ADAL" clId="{FFCFC733-178D-45DB-9F93-473891DA6B35}" dt="2025-03-25T23:17:17.646" v="156" actId="20577"/>
          <ac:spMkLst>
            <pc:docMk/>
            <pc:sldMk cId="3751027074" sldId="321"/>
            <ac:spMk id="4" creationId="{7C91F651-9A6D-4180-9E2D-388019D1E07C}"/>
          </ac:spMkLst>
        </pc:spChg>
      </pc:sldChg>
      <pc:sldChg chg="delSp modSp add mod ord">
        <pc:chgData name="Christian Gillam" userId="178737ef-0014-4dd8-b439-bc02dd9433a1" providerId="ADAL" clId="{FFCFC733-178D-45DB-9F93-473891DA6B35}" dt="2025-03-25T23:27:37.203" v="241" actId="1076"/>
        <pc:sldMkLst>
          <pc:docMk/>
          <pc:sldMk cId="2218983133" sldId="2153"/>
        </pc:sldMkLst>
        <pc:spChg chg="mod">
          <ac:chgData name="Christian Gillam" userId="178737ef-0014-4dd8-b439-bc02dd9433a1" providerId="ADAL" clId="{FFCFC733-178D-45DB-9F93-473891DA6B35}" dt="2025-03-25T23:26:48.756" v="236" actId="1076"/>
          <ac:spMkLst>
            <pc:docMk/>
            <pc:sldMk cId="2218983133" sldId="2153"/>
            <ac:spMk id="29" creationId="{5EA93DFA-8D23-28B0-D426-7B310812C811}"/>
          </ac:spMkLst>
        </pc:spChg>
        <pc:spChg chg="mod">
          <ac:chgData name="Christian Gillam" userId="178737ef-0014-4dd8-b439-bc02dd9433a1" providerId="ADAL" clId="{FFCFC733-178D-45DB-9F93-473891DA6B35}" dt="2025-03-25T23:23:28.068" v="220" actId="207"/>
          <ac:spMkLst>
            <pc:docMk/>
            <pc:sldMk cId="2218983133" sldId="2153"/>
            <ac:spMk id="32" creationId="{A239035C-3489-1152-47F0-73A320239519}"/>
          </ac:spMkLst>
        </pc:spChg>
        <pc:spChg chg="mod">
          <ac:chgData name="Christian Gillam" userId="178737ef-0014-4dd8-b439-bc02dd9433a1" providerId="ADAL" clId="{FFCFC733-178D-45DB-9F93-473891DA6B35}" dt="2025-03-25T23:27:37.203" v="241" actId="1076"/>
          <ac:spMkLst>
            <pc:docMk/>
            <pc:sldMk cId="2218983133" sldId="2153"/>
            <ac:spMk id="33" creationId="{FA3129D6-9163-91CD-05D9-8E610CE6B620}"/>
          </ac:spMkLst>
        </pc:spChg>
      </pc:sldChg>
      <pc:sldChg chg="addSp delSp modSp new">
        <pc:chgData name="Christian Gillam" userId="178737ef-0014-4dd8-b439-bc02dd9433a1" providerId="ADAL" clId="{FFCFC733-178D-45DB-9F93-473891DA6B35}" dt="2025-03-25T23:37:31.336" v="269" actId="27636"/>
        <pc:sldMkLst>
          <pc:docMk/>
          <pc:sldMk cId="3988318343" sldId="2154"/>
        </pc:sldMkLst>
      </pc:sldChg>
      <pc:sldChg chg="addSp delSp modSp mod">
        <pc:chgData name="Christian Gillam" userId="178737ef-0014-4dd8-b439-bc02dd9433a1" providerId="ADAL" clId="{FFCFC733-178D-45DB-9F93-473891DA6B35}" dt="2025-03-25T23:40:24.782" v="276" actId="478"/>
        <pc:sldMkLst>
          <pc:docMk/>
          <pc:sldMk cId="3988318343" sldId="2155"/>
        </pc:sldMkLst>
      </pc:sldChg>
      <pc:sldChg chg="del">
        <pc:chgData name="Christian Gillam" userId="178737ef-0014-4dd8-b439-bc02dd9433a1" providerId="ADAL" clId="{FFCFC733-178D-45DB-9F93-473891DA6B35}" dt="2025-03-25T23:56:44.977" v="316" actId="47"/>
        <pc:sldMkLst>
          <pc:docMk/>
          <pc:sldMk cId="3037401228" sldId="2156"/>
        </pc:sldMkLst>
      </pc:sldChg>
      <pc:sldChg chg="modSp add mod">
        <pc:chgData name="Christian Gillam" userId="178737ef-0014-4dd8-b439-bc02dd9433a1" providerId="ADAL" clId="{FFCFC733-178D-45DB-9F93-473891DA6B35}" dt="2025-03-25T23:44:04.446" v="310" actId="1076"/>
        <pc:sldMkLst>
          <pc:docMk/>
          <pc:sldMk cId="4186388113" sldId="2156"/>
        </pc:sldMkLst>
      </pc:sldChg>
      <pc:sldChg chg="del">
        <pc:chgData name="Christian Gillam" userId="178737ef-0014-4dd8-b439-bc02dd9433a1" providerId="ADAL" clId="{FFCFC733-178D-45DB-9F93-473891DA6B35}" dt="2025-03-25T23:56:38.678" v="314" actId="47"/>
        <pc:sldMkLst>
          <pc:docMk/>
          <pc:sldMk cId="4186388113" sldId="2157"/>
        </pc:sldMkLst>
      </pc:sldChg>
      <pc:sldChg chg="modSp">
        <pc:chgData name="Christian Gillam" userId="178737ef-0014-4dd8-b439-bc02dd9433a1" providerId="ADAL" clId="{FFCFC733-178D-45DB-9F93-473891DA6B35}" dt="2025-03-25T23:45:50.769" v="312" actId="1076"/>
        <pc:sldMkLst>
          <pc:docMk/>
          <pc:sldMk cId="4186388113" sldId="2158"/>
        </pc:sldMkLst>
      </pc:sldChg>
      <pc:sldChg chg="del">
        <pc:chgData name="Christian Gillam" userId="178737ef-0014-4dd8-b439-bc02dd9433a1" providerId="ADAL" clId="{FFCFC733-178D-45DB-9F93-473891DA6B35}" dt="2025-03-25T23:56:42.561" v="315" actId="47"/>
        <pc:sldMkLst>
          <pc:docMk/>
          <pc:sldMk cId="2997897987" sldId="2160"/>
        </pc:sldMkLst>
      </pc:sldChg>
      <pc:sldChg chg="delSp mod">
        <pc:chgData name="Christian Gillam" userId="178737ef-0014-4dd8-b439-bc02dd9433a1" providerId="ADAL" clId="{FFCFC733-178D-45DB-9F93-473891DA6B35}" dt="2025-03-25T23:46:39.468" v="313" actId="478"/>
        <pc:sldMkLst>
          <pc:docMk/>
          <pc:sldMk cId="4186388113" sldId="2161"/>
        </pc:sldMkLst>
      </pc:sldChg>
    </pc:docChg>
  </pc:docChgLst>
  <pc:docChgLst>
    <pc:chgData name="Armaan Kumar" userId="S::akuma045@uottawa.ca::a351e95c-5450-4e5f-a2d5-0f74c8f92915" providerId="AD" clId="Web-{200DC044-4A4F-F23E-5184-5821530CAEE5}"/>
    <pc:docChg chg="addSld delSld modSld sldOrd">
      <pc:chgData name="Armaan Kumar" userId="S::akuma045@uottawa.ca::a351e95c-5450-4e5f-a2d5-0f74c8f92915" providerId="AD" clId="Web-{200DC044-4A4F-F23E-5184-5821530CAEE5}" dt="2025-03-26T20:34:20.797" v="136"/>
      <pc:docMkLst>
        <pc:docMk/>
      </pc:docMkLst>
      <pc:sldChg chg="modSp">
        <pc:chgData name="Armaan Kumar" userId="S::akuma045@uottawa.ca::a351e95c-5450-4e5f-a2d5-0f74c8f92915" providerId="AD" clId="Web-{200DC044-4A4F-F23E-5184-5821530CAEE5}" dt="2025-03-26T19:49:34.696" v="120" actId="20577"/>
        <pc:sldMkLst>
          <pc:docMk/>
          <pc:sldMk cId="3941336180" sldId="265"/>
        </pc:sldMkLst>
        <pc:spChg chg="mod">
          <ac:chgData name="Armaan Kumar" userId="S::akuma045@uottawa.ca::a351e95c-5450-4e5f-a2d5-0f74c8f92915" providerId="AD" clId="Web-{200DC044-4A4F-F23E-5184-5821530CAEE5}" dt="2025-03-26T19:49:03.758" v="109" actId="20577"/>
          <ac:spMkLst>
            <pc:docMk/>
            <pc:sldMk cId="3941336180" sldId="265"/>
            <ac:spMk id="15" creationId="{7C14300A-F42E-D62A-E126-411D414920F1}"/>
          </ac:spMkLst>
        </pc:spChg>
        <pc:spChg chg="mod">
          <ac:chgData name="Armaan Kumar" userId="S::akuma045@uottawa.ca::a351e95c-5450-4e5f-a2d5-0f74c8f92915" providerId="AD" clId="Web-{200DC044-4A4F-F23E-5184-5821530CAEE5}" dt="2025-03-26T19:49:17.212" v="112" actId="20577"/>
          <ac:spMkLst>
            <pc:docMk/>
            <pc:sldMk cId="3941336180" sldId="265"/>
            <ac:spMk id="17" creationId="{A6D5CBBF-9AD9-7CF6-B515-676925A1D26B}"/>
          </ac:spMkLst>
        </pc:spChg>
        <pc:spChg chg="mod">
          <ac:chgData name="Armaan Kumar" userId="S::akuma045@uottawa.ca::a351e95c-5450-4e5f-a2d5-0f74c8f92915" providerId="AD" clId="Web-{200DC044-4A4F-F23E-5184-5821530CAEE5}" dt="2025-03-26T19:49:26.087" v="115" actId="20577"/>
          <ac:spMkLst>
            <pc:docMk/>
            <pc:sldMk cId="3941336180" sldId="265"/>
            <ac:spMk id="21" creationId="{B98B89C8-AC6D-D62D-3AE4-62AFDF8F05C4}"/>
          </ac:spMkLst>
        </pc:spChg>
        <pc:spChg chg="mod">
          <ac:chgData name="Armaan Kumar" userId="S::akuma045@uottawa.ca::a351e95c-5450-4e5f-a2d5-0f74c8f92915" providerId="AD" clId="Web-{200DC044-4A4F-F23E-5184-5821530CAEE5}" dt="2025-03-26T19:49:34.696" v="120" actId="20577"/>
          <ac:spMkLst>
            <pc:docMk/>
            <pc:sldMk cId="3941336180" sldId="265"/>
            <ac:spMk id="30" creationId="{5CC2293B-63D2-C57F-604F-CE93469F7389}"/>
          </ac:spMkLst>
        </pc:spChg>
        <pc:spChg chg="mod">
          <ac:chgData name="Armaan Kumar" userId="S::akuma045@uottawa.ca::a351e95c-5450-4e5f-a2d5-0f74c8f92915" providerId="AD" clId="Web-{200DC044-4A4F-F23E-5184-5821530CAEE5}" dt="2025-03-26T19:48:36.851" v="106" actId="20577"/>
          <ac:spMkLst>
            <pc:docMk/>
            <pc:sldMk cId="3941336180" sldId="265"/>
            <ac:spMk id="31" creationId="{6C088A95-939B-A734-3C94-EAFF1C9CB805}"/>
          </ac:spMkLst>
        </pc:spChg>
      </pc:sldChg>
      <pc:sldChg chg="modSp">
        <pc:chgData name="Armaan Kumar" userId="S::akuma045@uottawa.ca::a351e95c-5450-4e5f-a2d5-0f74c8f92915" providerId="AD" clId="Web-{200DC044-4A4F-F23E-5184-5821530CAEE5}" dt="2025-03-26T20:19:23.435" v="126" actId="1076"/>
        <pc:sldMkLst>
          <pc:docMk/>
          <pc:sldMk cId="597480458" sldId="277"/>
        </pc:sldMkLst>
        <pc:spChg chg="mod">
          <ac:chgData name="Armaan Kumar" userId="S::akuma045@uottawa.ca::a351e95c-5450-4e5f-a2d5-0f74c8f92915" providerId="AD" clId="Web-{200DC044-4A4F-F23E-5184-5821530CAEE5}" dt="2025-03-26T20:19:08.403" v="123" actId="1076"/>
          <ac:spMkLst>
            <pc:docMk/>
            <pc:sldMk cId="597480458" sldId="277"/>
            <ac:spMk id="6" creationId="{B305CBA0-F8EF-9EB2-6305-DD776B86A400}"/>
          </ac:spMkLst>
        </pc:spChg>
        <pc:spChg chg="mod">
          <ac:chgData name="Armaan Kumar" userId="S::akuma045@uottawa.ca::a351e95c-5450-4e5f-a2d5-0f74c8f92915" providerId="AD" clId="Web-{200DC044-4A4F-F23E-5184-5821530CAEE5}" dt="2025-03-26T20:19:20.591" v="125" actId="1076"/>
          <ac:spMkLst>
            <pc:docMk/>
            <pc:sldMk cId="597480458" sldId="277"/>
            <ac:spMk id="7" creationId="{EDAD607D-5F99-1259-E101-D4690743DCD5}"/>
          </ac:spMkLst>
        </pc:spChg>
        <pc:spChg chg="mod">
          <ac:chgData name="Armaan Kumar" userId="S::akuma045@uottawa.ca::a351e95c-5450-4e5f-a2d5-0f74c8f92915" providerId="AD" clId="Web-{200DC044-4A4F-F23E-5184-5821530CAEE5}" dt="2025-03-26T20:19:11.122" v="124" actId="1076"/>
          <ac:spMkLst>
            <pc:docMk/>
            <pc:sldMk cId="597480458" sldId="277"/>
            <ac:spMk id="12" creationId="{38F31616-FCFE-DE44-864C-2B324BEE8779}"/>
          </ac:spMkLst>
        </pc:spChg>
        <pc:spChg chg="mod">
          <ac:chgData name="Armaan Kumar" userId="S::akuma045@uottawa.ca::a351e95c-5450-4e5f-a2d5-0f74c8f92915" providerId="AD" clId="Web-{200DC044-4A4F-F23E-5184-5821530CAEE5}" dt="2025-03-26T20:19:23.435" v="126" actId="1076"/>
          <ac:spMkLst>
            <pc:docMk/>
            <pc:sldMk cId="597480458" sldId="277"/>
            <ac:spMk id="13" creationId="{089C5C09-11AF-5FD7-DB5B-29085E8CF7DF}"/>
          </ac:spMkLst>
        </pc:spChg>
        <pc:spChg chg="mod">
          <ac:chgData name="Armaan Kumar" userId="S::akuma045@uottawa.ca::a351e95c-5450-4e5f-a2d5-0f74c8f92915" providerId="AD" clId="Web-{200DC044-4A4F-F23E-5184-5821530CAEE5}" dt="2025-03-26T20:19:01.575" v="122" actId="1076"/>
          <ac:spMkLst>
            <pc:docMk/>
            <pc:sldMk cId="597480458" sldId="277"/>
            <ac:spMk id="14" creationId="{CAAAC3B6-9D18-E0E9-88C2-FFA164D2D544}"/>
          </ac:spMkLst>
        </pc:spChg>
      </pc:sldChg>
      <pc:sldChg chg="modSp">
        <pc:chgData name="Armaan Kumar" userId="S::akuma045@uottawa.ca::a351e95c-5450-4e5f-a2d5-0f74c8f92915" providerId="AD" clId="Web-{200DC044-4A4F-F23E-5184-5821530CAEE5}" dt="2025-03-26T20:34:15.359" v="134" actId="1076"/>
        <pc:sldMkLst>
          <pc:docMk/>
          <pc:sldMk cId="1580044436" sldId="306"/>
        </pc:sldMkLst>
        <pc:graphicFrameChg chg="mod">
          <ac:chgData name="Armaan Kumar" userId="S::akuma045@uottawa.ca::a351e95c-5450-4e5f-a2d5-0f74c8f92915" providerId="AD" clId="Web-{200DC044-4A4F-F23E-5184-5821530CAEE5}" dt="2025-03-26T20:34:15.359" v="134" actId="1076"/>
          <ac:graphicFrameMkLst>
            <pc:docMk/>
            <pc:sldMk cId="1580044436" sldId="306"/>
            <ac:graphicFrameMk id="12" creationId="{4643EF8F-277F-3ACE-087A-242F66565044}"/>
          </ac:graphicFrameMkLst>
        </pc:graphicFrameChg>
      </pc:sldChg>
      <pc:sldChg chg="addSp delSp modSp">
        <pc:chgData name="Armaan Kumar" userId="S::akuma045@uottawa.ca::a351e95c-5450-4e5f-a2d5-0f74c8f92915" providerId="AD" clId="Web-{200DC044-4A4F-F23E-5184-5821530CAEE5}" dt="2025-03-26T20:34:20.797" v="136"/>
        <pc:sldMkLst>
          <pc:docMk/>
          <pc:sldMk cId="2009459704" sldId="309"/>
        </pc:sldMkLst>
        <pc:graphicFrameChg chg="mod">
          <ac:chgData name="Armaan Kumar" userId="S::akuma045@uottawa.ca::a351e95c-5450-4e5f-a2d5-0f74c8f92915" providerId="AD" clId="Web-{200DC044-4A4F-F23E-5184-5821530CAEE5}" dt="2025-03-26T19:39:27.372" v="4" actId="14100"/>
          <ac:graphicFrameMkLst>
            <pc:docMk/>
            <pc:sldMk cId="2009459704" sldId="309"/>
            <ac:graphicFrameMk id="17" creationId="{F7AC9DED-2F24-CBFB-90ED-D007AB9CF246}"/>
          </ac:graphicFrameMkLst>
        </pc:graphicFrameChg>
      </pc:sldChg>
      <pc:sldChg chg="new del ord">
        <pc:chgData name="Armaan Kumar" userId="S::akuma045@uottawa.ca::a351e95c-5450-4e5f-a2d5-0f74c8f92915" providerId="AD" clId="Web-{200DC044-4A4F-F23E-5184-5821530CAEE5}" dt="2025-03-26T20:25:37.567" v="129"/>
        <pc:sldMkLst>
          <pc:docMk/>
          <pc:sldMk cId="980452626" sldId="2169"/>
        </pc:sldMkLst>
      </pc:sldChg>
    </pc:docChg>
  </pc:docChgLst>
  <pc:docChgLst>
    <pc:chgData name="Joey Ray Zahr" userId="S::jzahr092@uottawa.ca::9150008f-b0d5-4c48-a0fe-8b032f63645f" providerId="AD" clId="Web-{D4B72601-DE0C-4D13-8CCA-57A835B588E9}"/>
    <pc:docChg chg="addSld delSld modSld sldOrd">
      <pc:chgData name="Joey Ray Zahr" userId="S::jzahr092@uottawa.ca::9150008f-b0d5-4c48-a0fe-8b032f63645f" providerId="AD" clId="Web-{D4B72601-DE0C-4D13-8CCA-57A835B588E9}" dt="2025-03-31T18:57:20.708" v="161"/>
      <pc:docMkLst>
        <pc:docMk/>
      </pc:docMkLst>
      <pc:sldChg chg="addSp delSp modSp add mod modClrScheme chgLayout">
        <pc:chgData name="Joey Ray Zahr" userId="S::jzahr092@uottawa.ca::9150008f-b0d5-4c48-a0fe-8b032f63645f" providerId="AD" clId="Web-{D4B72601-DE0C-4D13-8CCA-57A835B588E9}" dt="2025-03-31T18:51:37.336" v="98" actId="20577"/>
        <pc:sldMkLst>
          <pc:docMk/>
          <pc:sldMk cId="754574687" sldId="258"/>
        </pc:sldMkLst>
        <pc:spChg chg="mod ord">
          <ac:chgData name="Joey Ray Zahr" userId="S::jzahr092@uottawa.ca::9150008f-b0d5-4c48-a0fe-8b032f63645f" providerId="AD" clId="Web-{D4B72601-DE0C-4D13-8CCA-57A835B588E9}" dt="2025-03-31T18:50:34.868" v="56"/>
          <ac:spMkLst>
            <pc:docMk/>
            <pc:sldMk cId="754574687" sldId="258"/>
            <ac:spMk id="2" creationId="{CE47AC5A-8EDE-155B-4CD9-FFCD031A65D7}"/>
          </ac:spMkLst>
        </pc:spChg>
        <pc:spChg chg="mod ord">
          <ac:chgData name="Joey Ray Zahr" userId="S::jzahr092@uottawa.ca::9150008f-b0d5-4c48-a0fe-8b032f63645f" providerId="AD" clId="Web-{D4B72601-DE0C-4D13-8CCA-57A835B588E9}" dt="2025-03-31T18:50:34.868" v="56"/>
          <ac:spMkLst>
            <pc:docMk/>
            <pc:sldMk cId="754574687" sldId="258"/>
            <ac:spMk id="3" creationId="{B649C195-9B70-B4D7-0BD0-188F2A28DF5A}"/>
          </ac:spMkLst>
        </pc:spChg>
        <pc:spChg chg="add mod ord">
          <ac:chgData name="Joey Ray Zahr" userId="S::jzahr092@uottawa.ca::9150008f-b0d5-4c48-a0fe-8b032f63645f" providerId="AD" clId="Web-{D4B72601-DE0C-4D13-8CCA-57A835B588E9}" dt="2025-03-31T18:51:37.336" v="98" actId="20577"/>
          <ac:spMkLst>
            <pc:docMk/>
            <pc:sldMk cId="754574687" sldId="258"/>
            <ac:spMk id="6" creationId="{5A1F385E-9B89-E9CF-80C4-D2F7257C10C3}"/>
          </ac:spMkLst>
        </pc:spChg>
        <pc:spChg chg="mod ord">
          <ac:chgData name="Joey Ray Zahr" userId="S::jzahr092@uottawa.ca::9150008f-b0d5-4c48-a0fe-8b032f63645f" providerId="AD" clId="Web-{D4B72601-DE0C-4D13-8CCA-57A835B588E9}" dt="2025-03-31T18:50:34.868" v="56"/>
          <ac:spMkLst>
            <pc:docMk/>
            <pc:sldMk cId="754574687" sldId="258"/>
            <ac:spMk id="8" creationId="{226736EC-0BD8-4D56-E2C0-42FABE9795C1}"/>
          </ac:spMkLst>
        </pc:spChg>
        <pc:spChg chg="add del mod ord">
          <ac:chgData name="Joey Ray Zahr" userId="S::jzahr092@uottawa.ca::9150008f-b0d5-4c48-a0fe-8b032f63645f" providerId="AD" clId="Web-{D4B72601-DE0C-4D13-8CCA-57A835B588E9}" dt="2025-03-31T18:50:52.321" v="60"/>
          <ac:spMkLst>
            <pc:docMk/>
            <pc:sldMk cId="754574687" sldId="258"/>
            <ac:spMk id="20" creationId="{90D17927-1CDF-B4A5-0208-B6668B8331F7}"/>
          </ac:spMkLst>
        </pc:spChg>
        <pc:spChg chg="add mod ord">
          <ac:chgData name="Joey Ray Zahr" userId="S::jzahr092@uottawa.ca::9150008f-b0d5-4c48-a0fe-8b032f63645f" providerId="AD" clId="Web-{D4B72601-DE0C-4D13-8CCA-57A835B588E9}" dt="2025-03-31T18:51:31.649" v="93" actId="20577"/>
          <ac:spMkLst>
            <pc:docMk/>
            <pc:sldMk cId="754574687" sldId="258"/>
            <ac:spMk id="24" creationId="{BD2F81C0-C3E0-FF60-2C62-916E3BA1D555}"/>
          </ac:spMkLst>
        </pc:spChg>
        <pc:spChg chg="add mod ord">
          <ac:chgData name="Joey Ray Zahr" userId="S::jzahr092@uottawa.ca::9150008f-b0d5-4c48-a0fe-8b032f63645f" providerId="AD" clId="Web-{D4B72601-DE0C-4D13-8CCA-57A835B588E9}" dt="2025-03-31T18:51:14.962" v="82" actId="20577"/>
          <ac:spMkLst>
            <pc:docMk/>
            <pc:sldMk cId="754574687" sldId="258"/>
            <ac:spMk id="26" creationId="{5D4C7E49-4D05-B13B-7CE8-2EE20D1D68A0}"/>
          </ac:spMkLst>
        </pc:spChg>
        <pc:spChg chg="del">
          <ac:chgData name="Joey Ray Zahr" userId="S::jzahr092@uottawa.ca::9150008f-b0d5-4c48-a0fe-8b032f63645f" providerId="AD" clId="Web-{D4B72601-DE0C-4D13-8CCA-57A835B588E9}" dt="2025-03-31T18:50:44.509" v="57"/>
          <ac:spMkLst>
            <pc:docMk/>
            <pc:sldMk cId="754574687" sldId="258"/>
            <ac:spMk id="28" creationId="{B4FC1405-B4B2-76E1-A59A-00E77442512A}"/>
          </ac:spMkLst>
        </pc:spChg>
        <pc:spChg chg="add del mod ord">
          <ac:chgData name="Joey Ray Zahr" userId="S::jzahr092@uottawa.ca::9150008f-b0d5-4c48-a0fe-8b032f63645f" providerId="AD" clId="Web-{D4B72601-DE0C-4D13-8CCA-57A835B588E9}" dt="2025-03-31T18:50:50.821" v="59"/>
          <ac:spMkLst>
            <pc:docMk/>
            <pc:sldMk cId="754574687" sldId="258"/>
            <ac:spMk id="29" creationId="{03F54ADB-E227-7E25-FC4F-B5155D2D14FB}"/>
          </ac:spMkLst>
        </pc:spChg>
        <pc:spChg chg="add del mod ord">
          <ac:chgData name="Joey Ray Zahr" userId="S::jzahr092@uottawa.ca::9150008f-b0d5-4c48-a0fe-8b032f63645f" providerId="AD" clId="Web-{D4B72601-DE0C-4D13-8CCA-57A835B588E9}" dt="2025-03-31T18:50:48.853" v="58"/>
          <ac:spMkLst>
            <pc:docMk/>
            <pc:sldMk cId="754574687" sldId="258"/>
            <ac:spMk id="30" creationId="{B4859EE8-A18D-DC83-1EF3-8F2586A51965}"/>
          </ac:spMkLst>
        </pc:spChg>
        <pc:spChg chg="add mod ord">
          <ac:chgData name="Joey Ray Zahr" userId="S::jzahr092@uottawa.ca::9150008f-b0d5-4c48-a0fe-8b032f63645f" providerId="AD" clId="Web-{D4B72601-DE0C-4D13-8CCA-57A835B588E9}" dt="2025-03-31T18:51:24.821" v="88" actId="20577"/>
          <ac:spMkLst>
            <pc:docMk/>
            <pc:sldMk cId="754574687" sldId="258"/>
            <ac:spMk id="31" creationId="{EC958A6D-6C3A-14B5-74DE-907350960715}"/>
          </ac:spMkLst>
        </pc:spChg>
        <pc:graphicFrameChg chg="del mod modGraphic">
          <ac:chgData name="Joey Ray Zahr" userId="S::jzahr092@uottawa.ca::9150008f-b0d5-4c48-a0fe-8b032f63645f" providerId="AD" clId="Web-{D4B72601-DE0C-4D13-8CCA-57A835B588E9}" dt="2025-03-31T18:51:28.852" v="91"/>
          <ac:graphicFrameMkLst>
            <pc:docMk/>
            <pc:sldMk cId="754574687" sldId="258"/>
            <ac:graphicFrameMk id="9" creationId="{94D82F1F-B062-F2F0-CD69-4A8F9EDD19D3}"/>
          </ac:graphicFrameMkLst>
        </pc:graphicFrameChg>
        <pc:graphicFrameChg chg="del mod modGraphic">
          <ac:chgData name="Joey Ray Zahr" userId="S::jzahr092@uottawa.ca::9150008f-b0d5-4c48-a0fe-8b032f63645f" providerId="AD" clId="Web-{D4B72601-DE0C-4D13-8CCA-57A835B588E9}" dt="2025-03-31T18:51:34.868" v="96"/>
          <ac:graphicFrameMkLst>
            <pc:docMk/>
            <pc:sldMk cId="754574687" sldId="258"/>
            <ac:graphicFrameMk id="13" creationId="{2DCF7737-37C5-D19C-3C9B-7061B9E9C587}"/>
          </ac:graphicFrameMkLst>
        </pc:graphicFrameChg>
        <pc:graphicFrameChg chg="del mod modGraphic">
          <ac:chgData name="Joey Ray Zahr" userId="S::jzahr092@uottawa.ca::9150008f-b0d5-4c48-a0fe-8b032f63645f" providerId="AD" clId="Web-{D4B72601-DE0C-4D13-8CCA-57A835B588E9}" dt="2025-03-31T18:51:17.602" v="83"/>
          <ac:graphicFrameMkLst>
            <pc:docMk/>
            <pc:sldMk cId="754574687" sldId="258"/>
            <ac:graphicFrameMk id="14" creationId="{73D26B38-EAB5-16E9-ABD6-C960FA77B0EB}"/>
          </ac:graphicFrameMkLst>
        </pc:graphicFrameChg>
        <pc:graphicFrameChg chg="del mod modGraphic">
          <ac:chgData name="Joey Ray Zahr" userId="S::jzahr092@uottawa.ca::9150008f-b0d5-4c48-a0fe-8b032f63645f" providerId="AD" clId="Web-{D4B72601-DE0C-4D13-8CCA-57A835B588E9}" dt="2025-03-31T18:51:21.930" v="86"/>
          <ac:graphicFrameMkLst>
            <pc:docMk/>
            <pc:sldMk cId="754574687" sldId="258"/>
            <ac:graphicFrameMk id="15" creationId="{D5E3A3B2-0058-F6C0-E913-1EC4B86BE87A}"/>
          </ac:graphicFrameMkLst>
        </pc:graphicFrameChg>
        <pc:picChg chg="add del">
          <ac:chgData name="Joey Ray Zahr" userId="S::jzahr092@uottawa.ca::9150008f-b0d5-4c48-a0fe-8b032f63645f" providerId="AD" clId="Web-{D4B72601-DE0C-4D13-8CCA-57A835B588E9}" dt="2025-03-31T18:50:57.634" v="69"/>
          <ac:picMkLst>
            <pc:docMk/>
            <pc:sldMk cId="754574687" sldId="258"/>
            <ac:picMk id="3104" creationId="{31FBBCBD-8840-C905-8C2C-23E1A2295C81}"/>
          </ac:picMkLst>
        </pc:picChg>
      </pc:sldChg>
      <pc:sldChg chg="addSp delSp modSp add mod modClrScheme chgLayout">
        <pc:chgData name="Joey Ray Zahr" userId="S::jzahr092@uottawa.ca::9150008f-b0d5-4c48-a0fe-8b032f63645f" providerId="AD" clId="Web-{D4B72601-DE0C-4D13-8CCA-57A835B588E9}" dt="2025-03-31T18:57:20.708" v="161"/>
        <pc:sldMkLst>
          <pc:docMk/>
          <pc:sldMk cId="2149531804" sldId="262"/>
        </pc:sldMkLst>
        <pc:spChg chg="mod ord">
          <ac:chgData name="Joey Ray Zahr" userId="S::jzahr092@uottawa.ca::9150008f-b0d5-4c48-a0fe-8b032f63645f" providerId="AD" clId="Web-{D4B72601-DE0C-4D13-8CCA-57A835B588E9}" dt="2025-03-31T18:50:16.025" v="54"/>
          <ac:spMkLst>
            <pc:docMk/>
            <pc:sldMk cId="2149531804" sldId="262"/>
            <ac:spMk id="2" creationId="{7183F972-4004-2C59-2DA0-D24DD94E936A}"/>
          </ac:spMkLst>
        </pc:spChg>
        <pc:spChg chg="mod ord">
          <ac:chgData name="Joey Ray Zahr" userId="S::jzahr092@uottawa.ca::9150008f-b0d5-4c48-a0fe-8b032f63645f" providerId="AD" clId="Web-{D4B72601-DE0C-4D13-8CCA-57A835B588E9}" dt="2025-03-31T18:50:16.025" v="54"/>
          <ac:spMkLst>
            <pc:docMk/>
            <pc:sldMk cId="2149531804" sldId="262"/>
            <ac:spMk id="3" creationId="{BB640863-B0C3-BE30-929E-1030EF29C197}"/>
          </ac:spMkLst>
        </pc:spChg>
        <pc:spChg chg="add del mod ord">
          <ac:chgData name="Joey Ray Zahr" userId="S::jzahr092@uottawa.ca::9150008f-b0d5-4c48-a0fe-8b032f63645f" providerId="AD" clId="Web-{D4B72601-DE0C-4D13-8CCA-57A835B588E9}" dt="2025-03-31T18:50:24.290" v="55"/>
          <ac:spMkLst>
            <pc:docMk/>
            <pc:sldMk cId="2149531804" sldId="262"/>
            <ac:spMk id="6" creationId="{E3163E39-A425-EDF8-DDB9-BB1E7A0C4BB6}"/>
          </ac:spMkLst>
        </pc:spChg>
        <pc:spChg chg="mod ord">
          <ac:chgData name="Joey Ray Zahr" userId="S::jzahr092@uottawa.ca::9150008f-b0d5-4c48-a0fe-8b032f63645f" providerId="AD" clId="Web-{D4B72601-DE0C-4D13-8CCA-57A835B588E9}" dt="2025-03-31T18:50:16.025" v="54"/>
          <ac:spMkLst>
            <pc:docMk/>
            <pc:sldMk cId="2149531804" sldId="262"/>
            <ac:spMk id="8" creationId="{6CE1A70D-4CBB-C909-208A-320F2A4EF40E}"/>
          </ac:spMkLst>
        </pc:spChg>
        <pc:spChg chg="del">
          <ac:chgData name="Joey Ray Zahr" userId="S::jzahr092@uottawa.ca::9150008f-b0d5-4c48-a0fe-8b032f63645f" providerId="AD" clId="Web-{D4B72601-DE0C-4D13-8CCA-57A835B588E9}" dt="2025-03-31T18:57:20.708" v="161"/>
          <ac:spMkLst>
            <pc:docMk/>
            <pc:sldMk cId="2149531804" sldId="262"/>
            <ac:spMk id="12" creationId="{894F0646-ED47-A147-AAFD-B5BF8A6C7D56}"/>
          </ac:spMkLst>
        </pc:spChg>
        <pc:spChg chg="del">
          <ac:chgData name="Joey Ray Zahr" userId="S::jzahr092@uottawa.ca::9150008f-b0d5-4c48-a0fe-8b032f63645f" providerId="AD" clId="Web-{D4B72601-DE0C-4D13-8CCA-57A835B588E9}" dt="2025-03-31T18:57:20.286" v="160"/>
          <ac:spMkLst>
            <pc:docMk/>
            <pc:sldMk cId="2149531804" sldId="262"/>
            <ac:spMk id="13" creationId="{A9A49DAE-DF94-16F2-4EB9-DA9E52D33B5B}"/>
          </ac:spMkLst>
        </pc:spChg>
        <pc:spChg chg="del">
          <ac:chgData name="Joey Ray Zahr" userId="S::jzahr092@uottawa.ca::9150008f-b0d5-4c48-a0fe-8b032f63645f" providerId="AD" clId="Web-{D4B72601-DE0C-4D13-8CCA-57A835B588E9}" dt="2025-03-31T18:57:04.849" v="157"/>
          <ac:spMkLst>
            <pc:docMk/>
            <pc:sldMk cId="2149531804" sldId="262"/>
            <ac:spMk id="14" creationId="{8582749A-C8DA-7AE1-74AA-175C1A3FEEDE}"/>
          </ac:spMkLst>
        </pc:spChg>
        <pc:grpChg chg="add del">
          <ac:chgData name="Joey Ray Zahr" userId="S::jzahr092@uottawa.ca::9150008f-b0d5-4c48-a0fe-8b032f63645f" providerId="AD" clId="Web-{D4B72601-DE0C-4D13-8CCA-57A835B588E9}" dt="2025-03-31T18:57:06.537" v="159"/>
          <ac:grpSpMkLst>
            <pc:docMk/>
            <pc:sldMk cId="2149531804" sldId="262"/>
            <ac:grpSpMk id="5" creationId="{8F263AD1-310A-6BC1-C23C-4DE1D286316B}"/>
          </ac:grpSpMkLst>
        </pc:grpChg>
        <pc:cxnChg chg="del mod">
          <ac:chgData name="Joey Ray Zahr" userId="S::jzahr092@uottawa.ca::9150008f-b0d5-4c48-a0fe-8b032f63645f" providerId="AD" clId="Web-{D4B72601-DE0C-4D13-8CCA-57A835B588E9}" dt="2025-03-31T18:56:57.865" v="156"/>
          <ac:cxnSpMkLst>
            <pc:docMk/>
            <pc:sldMk cId="2149531804" sldId="262"/>
            <ac:cxnSpMk id="4" creationId="{0574946A-DED0-EFC3-1970-67C35DFFE6F6}"/>
          </ac:cxnSpMkLst>
        </pc:cxnChg>
        <pc:cxnChg chg="mod">
          <ac:chgData name="Joey Ray Zahr" userId="S::jzahr092@uottawa.ca::9150008f-b0d5-4c48-a0fe-8b032f63645f" providerId="AD" clId="Web-{D4B72601-DE0C-4D13-8CCA-57A835B588E9}" dt="2025-03-31T18:57:06.537" v="159"/>
          <ac:cxnSpMkLst>
            <pc:docMk/>
            <pc:sldMk cId="2149531804" sldId="262"/>
            <ac:cxnSpMk id="92" creationId="{E191A59C-D84F-DBDE-78CF-F789B47CBE91}"/>
          </ac:cxnSpMkLst>
        </pc:cxnChg>
        <pc:cxnChg chg="mod">
          <ac:chgData name="Joey Ray Zahr" userId="S::jzahr092@uottawa.ca::9150008f-b0d5-4c48-a0fe-8b032f63645f" providerId="AD" clId="Web-{D4B72601-DE0C-4D13-8CCA-57A835B588E9}" dt="2025-03-31T18:57:06.537" v="159"/>
          <ac:cxnSpMkLst>
            <pc:docMk/>
            <pc:sldMk cId="2149531804" sldId="262"/>
            <ac:cxnSpMk id="93" creationId="{D17446CC-295E-19F1-8DBA-1C907FC233FD}"/>
          </ac:cxnSpMkLst>
        </pc:cxnChg>
        <pc:cxnChg chg="mod">
          <ac:chgData name="Joey Ray Zahr" userId="S::jzahr092@uottawa.ca::9150008f-b0d5-4c48-a0fe-8b032f63645f" providerId="AD" clId="Web-{D4B72601-DE0C-4D13-8CCA-57A835B588E9}" dt="2025-03-31T18:57:06.537" v="159"/>
          <ac:cxnSpMkLst>
            <pc:docMk/>
            <pc:sldMk cId="2149531804" sldId="262"/>
            <ac:cxnSpMk id="94" creationId="{5EC37B91-1B91-AED9-CB44-C1CE6881A37B}"/>
          </ac:cxnSpMkLst>
        </pc:cxnChg>
        <pc:cxnChg chg="mod">
          <ac:chgData name="Joey Ray Zahr" userId="S::jzahr092@uottawa.ca::9150008f-b0d5-4c48-a0fe-8b032f63645f" providerId="AD" clId="Web-{D4B72601-DE0C-4D13-8CCA-57A835B588E9}" dt="2025-03-31T18:57:06.537" v="159"/>
          <ac:cxnSpMkLst>
            <pc:docMk/>
            <pc:sldMk cId="2149531804" sldId="262"/>
            <ac:cxnSpMk id="124" creationId="{0CD9CC13-3238-0F10-368F-BF218E63701F}"/>
          </ac:cxnSpMkLst>
        </pc:cxnChg>
        <pc:cxnChg chg="mod">
          <ac:chgData name="Joey Ray Zahr" userId="S::jzahr092@uottawa.ca::9150008f-b0d5-4c48-a0fe-8b032f63645f" providerId="AD" clId="Web-{D4B72601-DE0C-4D13-8CCA-57A835B588E9}" dt="2025-03-31T18:57:06.537" v="159"/>
          <ac:cxnSpMkLst>
            <pc:docMk/>
            <pc:sldMk cId="2149531804" sldId="262"/>
            <ac:cxnSpMk id="125" creationId="{1B122814-F06B-A6F3-2068-63255F4D8D8E}"/>
          </ac:cxnSpMkLst>
        </pc:cxnChg>
      </pc:sldChg>
      <pc:sldChg chg="del">
        <pc:chgData name="Joey Ray Zahr" userId="S::jzahr092@uottawa.ca::9150008f-b0d5-4c48-a0fe-8b032f63645f" providerId="AD" clId="Web-{D4B72601-DE0C-4D13-8CCA-57A835B588E9}" dt="2025-03-31T18:52:21.836" v="128"/>
        <pc:sldMkLst>
          <pc:docMk/>
          <pc:sldMk cId="2957441576" sldId="2195"/>
        </pc:sldMkLst>
      </pc:sldChg>
      <pc:sldChg chg="del">
        <pc:chgData name="Joey Ray Zahr" userId="S::jzahr092@uottawa.ca::9150008f-b0d5-4c48-a0fe-8b032f63645f" providerId="AD" clId="Web-{D4B72601-DE0C-4D13-8CCA-57A835B588E9}" dt="2025-03-31T18:52:23.055" v="129"/>
        <pc:sldMkLst>
          <pc:docMk/>
          <pc:sldMk cId="2038889512" sldId="2196"/>
        </pc:sldMkLst>
      </pc:sldChg>
      <pc:sldChg chg="ord">
        <pc:chgData name="Joey Ray Zahr" userId="S::jzahr092@uottawa.ca::9150008f-b0d5-4c48-a0fe-8b032f63645f" providerId="AD" clId="Web-{D4B72601-DE0C-4D13-8CCA-57A835B588E9}" dt="2025-03-31T18:52:39.867" v="138"/>
        <pc:sldMkLst>
          <pc:docMk/>
          <pc:sldMk cId="580168930" sldId="2197"/>
        </pc:sldMkLst>
      </pc:sldChg>
      <pc:sldChg chg="ord">
        <pc:chgData name="Joey Ray Zahr" userId="S::jzahr092@uottawa.ca::9150008f-b0d5-4c48-a0fe-8b032f63645f" providerId="AD" clId="Web-{D4B72601-DE0C-4D13-8CCA-57A835B588E9}" dt="2025-03-31T18:52:39.867" v="137"/>
        <pc:sldMkLst>
          <pc:docMk/>
          <pc:sldMk cId="804543693" sldId="2198"/>
        </pc:sldMkLst>
      </pc:sldChg>
      <pc:sldChg chg="ord">
        <pc:chgData name="Joey Ray Zahr" userId="S::jzahr092@uottawa.ca::9150008f-b0d5-4c48-a0fe-8b032f63645f" providerId="AD" clId="Web-{D4B72601-DE0C-4D13-8CCA-57A835B588E9}" dt="2025-03-31T18:52:39.867" v="136"/>
        <pc:sldMkLst>
          <pc:docMk/>
          <pc:sldMk cId="3347741321" sldId="2199"/>
        </pc:sldMkLst>
      </pc:sldChg>
      <pc:sldChg chg="delSp modSp ord">
        <pc:chgData name="Joey Ray Zahr" userId="S::jzahr092@uottawa.ca::9150008f-b0d5-4c48-a0fe-8b032f63645f" providerId="AD" clId="Web-{D4B72601-DE0C-4D13-8CCA-57A835B588E9}" dt="2025-03-31T18:55:06.756" v="154"/>
        <pc:sldMkLst>
          <pc:docMk/>
          <pc:sldMk cId="2575535093" sldId="2201"/>
        </pc:sldMkLst>
        <pc:spChg chg="del">
          <ac:chgData name="Joey Ray Zahr" userId="S::jzahr092@uottawa.ca::9150008f-b0d5-4c48-a0fe-8b032f63645f" providerId="AD" clId="Web-{D4B72601-DE0C-4D13-8CCA-57A835B588E9}" dt="2025-03-31T18:55:06.756" v="154"/>
          <ac:spMkLst>
            <pc:docMk/>
            <pc:sldMk cId="2575535093" sldId="2201"/>
            <ac:spMk id="5" creationId="{A14B6C22-FC4F-CD4A-6358-FB36E0E04070}"/>
          </ac:spMkLst>
        </pc:spChg>
        <pc:spChg chg="mod">
          <ac:chgData name="Joey Ray Zahr" userId="S::jzahr092@uottawa.ca::9150008f-b0d5-4c48-a0fe-8b032f63645f" providerId="AD" clId="Web-{D4B72601-DE0C-4D13-8CCA-57A835B588E9}" dt="2025-03-31T18:54:28.179" v="151" actId="20577"/>
          <ac:spMkLst>
            <pc:docMk/>
            <pc:sldMk cId="2575535093" sldId="2201"/>
            <ac:spMk id="18" creationId="{2759D637-E8DB-EAB5-756C-DF97CA2B2BAC}"/>
          </ac:spMkLst>
        </pc:spChg>
      </pc:sldChg>
      <pc:sldChg chg="delSp ord">
        <pc:chgData name="Joey Ray Zahr" userId="S::jzahr092@uottawa.ca::9150008f-b0d5-4c48-a0fe-8b032f63645f" providerId="AD" clId="Web-{D4B72601-DE0C-4D13-8CCA-57A835B588E9}" dt="2025-03-31T18:55:10.897" v="155"/>
        <pc:sldMkLst>
          <pc:docMk/>
          <pc:sldMk cId="2803849648" sldId="2202"/>
        </pc:sldMkLst>
        <pc:spChg chg="del">
          <ac:chgData name="Joey Ray Zahr" userId="S::jzahr092@uottawa.ca::9150008f-b0d5-4c48-a0fe-8b032f63645f" providerId="AD" clId="Web-{D4B72601-DE0C-4D13-8CCA-57A835B588E9}" dt="2025-03-31T18:55:10.897" v="155"/>
          <ac:spMkLst>
            <pc:docMk/>
            <pc:sldMk cId="2803849648" sldId="2202"/>
            <ac:spMk id="5" creationId="{5AB73C5C-5528-64C6-F30D-8E4319106956}"/>
          </ac:spMkLst>
        </pc:spChg>
      </pc:sldChg>
      <pc:sldChg chg="delSp ord">
        <pc:chgData name="Joey Ray Zahr" userId="S::jzahr092@uottawa.ca::9150008f-b0d5-4c48-a0fe-8b032f63645f" providerId="AD" clId="Web-{D4B72601-DE0C-4D13-8CCA-57A835B588E9}" dt="2025-03-31T18:55:03.397" v="153"/>
        <pc:sldMkLst>
          <pc:docMk/>
          <pc:sldMk cId="807869692" sldId="2203"/>
        </pc:sldMkLst>
        <pc:spChg chg="del">
          <ac:chgData name="Joey Ray Zahr" userId="S::jzahr092@uottawa.ca::9150008f-b0d5-4c48-a0fe-8b032f63645f" providerId="AD" clId="Web-{D4B72601-DE0C-4D13-8CCA-57A835B588E9}" dt="2025-03-31T18:55:03.397" v="153"/>
          <ac:spMkLst>
            <pc:docMk/>
            <pc:sldMk cId="807869692" sldId="2203"/>
            <ac:spMk id="5" creationId="{EE79B0E3-AB3A-BE6D-2E53-6D4F2304100D}"/>
          </ac:spMkLst>
        </pc:spChg>
      </pc:sldChg>
      <pc:sldChg chg="modSp add ord">
        <pc:chgData name="Joey Ray Zahr" userId="S::jzahr092@uottawa.ca::9150008f-b0d5-4c48-a0fe-8b032f63645f" providerId="AD" clId="Web-{D4B72601-DE0C-4D13-8CCA-57A835B588E9}" dt="2025-03-31T18:52:17.305" v="127" actId="20577"/>
        <pc:sldMkLst>
          <pc:docMk/>
          <pc:sldMk cId="2760829590" sldId="2221"/>
        </pc:sldMkLst>
        <pc:spChg chg="mod">
          <ac:chgData name="Joey Ray Zahr" userId="S::jzahr092@uottawa.ca::9150008f-b0d5-4c48-a0fe-8b032f63645f" providerId="AD" clId="Web-{D4B72601-DE0C-4D13-8CCA-57A835B588E9}" dt="2025-03-31T18:49:13.932" v="43" actId="20577"/>
          <ac:spMkLst>
            <pc:docMk/>
            <pc:sldMk cId="2760829590" sldId="2221"/>
            <ac:spMk id="4" creationId="{6EB4AB8A-6454-80F8-1C77-064DC0507585}"/>
          </ac:spMkLst>
        </pc:spChg>
        <pc:spChg chg="mod">
          <ac:chgData name="Joey Ray Zahr" userId="S::jzahr092@uottawa.ca::9150008f-b0d5-4c48-a0fe-8b032f63645f" providerId="AD" clId="Web-{D4B72601-DE0C-4D13-8CCA-57A835B588E9}" dt="2025-03-31T18:52:17.305" v="127" actId="20577"/>
          <ac:spMkLst>
            <pc:docMk/>
            <pc:sldMk cId="2760829590" sldId="2221"/>
            <ac:spMk id="5" creationId="{19EE7C5C-D060-2BF2-2CF7-ED098F566BC9}"/>
          </ac:spMkLst>
        </pc:spChg>
      </pc:sldChg>
      <pc:sldMasterChg chg="addSldLayout">
        <pc:chgData name="Joey Ray Zahr" userId="S::jzahr092@uottawa.ca::9150008f-b0d5-4c48-a0fe-8b032f63645f" providerId="AD" clId="Web-{D4B72601-DE0C-4D13-8CCA-57A835B588E9}" dt="2025-03-31T18:49:31.509" v="52"/>
        <pc:sldMasterMkLst>
          <pc:docMk/>
          <pc:sldMasterMk cId="108896749" sldId="2147483674"/>
        </pc:sldMasterMkLst>
        <pc:sldLayoutChg chg="add">
          <pc:chgData name="Joey Ray Zahr" userId="S::jzahr092@uottawa.ca::9150008f-b0d5-4c48-a0fe-8b032f63645f" providerId="AD" clId="Web-{D4B72601-DE0C-4D13-8CCA-57A835B588E9}" dt="2025-03-31T18:48:53.275" v="0"/>
          <pc:sldLayoutMkLst>
            <pc:docMk/>
            <pc:sldMasterMk cId="108896749" sldId="2147483674"/>
            <pc:sldLayoutMk cId="1293672920" sldId="2147483695"/>
          </pc:sldLayoutMkLst>
        </pc:sldLayoutChg>
        <pc:sldLayoutChg chg="add">
          <pc:chgData name="Joey Ray Zahr" userId="S::jzahr092@uottawa.ca::9150008f-b0d5-4c48-a0fe-8b032f63645f" providerId="AD" clId="Web-{D4B72601-DE0C-4D13-8CCA-57A835B588E9}" dt="2025-03-31T18:49:31.509" v="52"/>
          <pc:sldLayoutMkLst>
            <pc:docMk/>
            <pc:sldMasterMk cId="108896749" sldId="2147483674"/>
            <pc:sldLayoutMk cId="3301649102" sldId="2147483696"/>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Users\carlo\Downloads\AppLovin%20Corporation%20NasdaqGS%20APP%20Financials%20Segments.xls"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Book2"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Book2" TargetMode="External"/></Relationships>
</file>

<file path=ppt/charts/_rels/chart12.xml.rels><?xml version="1.0" encoding="UTF-8" standalone="yes"?>
<Relationships xmlns="http://schemas.openxmlformats.org/package/2006/relationships"><Relationship Id="rId3" Type="http://schemas.openxmlformats.org/officeDocument/2006/relationships/oleObject" Target="https://uottawa-my.sharepoint.com/personal/tgiro082_uottawa_ca/Documents/$APP%20M&amp;A.xlsx" TargetMode="External"/><Relationship Id="rId2" Type="http://schemas.microsoft.com/office/2011/relationships/chartColorStyle" Target="colors16.xml"/><Relationship Id="rId1" Type="http://schemas.microsoft.com/office/2011/relationships/chartStyle" Target="style16.xml"/></Relationships>
</file>

<file path=ppt/charts/_rels/chart13.xml.rels><?xml version="1.0" encoding="UTF-8" standalone="yes"?>
<Relationships xmlns="http://schemas.openxmlformats.org/package/2006/relationships"><Relationship Id="rId3" Type="http://schemas.openxmlformats.org/officeDocument/2006/relationships/oleObject" Target="https://uottawa-my.sharepoint.com/personal/tgiro082_uottawa_ca/Documents/$APP%20M&amp;A.xlsx" TargetMode="External"/><Relationship Id="rId2" Type="http://schemas.microsoft.com/office/2011/relationships/chartColorStyle" Target="colors17.xml"/><Relationship Id="rId1" Type="http://schemas.microsoft.com/office/2011/relationships/chartStyle" Target="style17.xml"/></Relationships>
</file>

<file path=ppt/charts/_rels/chart14.xml.rels><?xml version="1.0" encoding="UTF-8" standalone="yes"?>
<Relationships xmlns="http://schemas.openxmlformats.org/package/2006/relationships"><Relationship Id="rId3" Type="http://schemas.openxmlformats.org/officeDocument/2006/relationships/oleObject" Target="https://uottawa-my.sharepoint.com/personal/tgiro082_uottawa_ca/Documents/$APP%20M&amp;A.xlsx" TargetMode="External"/><Relationship Id="rId2" Type="http://schemas.microsoft.com/office/2011/relationships/chartColorStyle" Target="colors18.xml"/><Relationship Id="rId1" Type="http://schemas.microsoft.com/office/2011/relationships/chartStyle" Target="style18.xml"/></Relationships>
</file>

<file path=ppt/charts/_rels/chart15.xml.rels><?xml version="1.0" encoding="UTF-8" standalone="yes"?>
<Relationships xmlns="http://schemas.openxmlformats.org/package/2006/relationships"><Relationship Id="rId3" Type="http://schemas.openxmlformats.org/officeDocument/2006/relationships/oleObject" Target="https://uottawa-my.sharepoint.com/personal/tgiro082_uottawa_ca/Documents/$APP%20M&amp;A.xlsx" TargetMode="External"/><Relationship Id="rId2" Type="http://schemas.microsoft.com/office/2011/relationships/chartColorStyle" Target="colors19.xml"/><Relationship Id="rId1" Type="http://schemas.microsoft.com/office/2011/relationships/chartStyle" Target="style19.xml"/></Relationships>
</file>

<file path=ppt/charts/_rels/chart16.xml.rels><?xml version="1.0" encoding="UTF-8" standalone="yes"?>
<Relationships xmlns="http://schemas.openxmlformats.org/package/2006/relationships"><Relationship Id="rId3" Type="http://schemas.openxmlformats.org/officeDocument/2006/relationships/oleObject" Target="https://uottawa-my.sharepoint.com/personal/tgiro082_uottawa_ca/Documents/$APP%20M&amp;A.xlsx" TargetMode="External"/><Relationship Id="rId2" Type="http://schemas.microsoft.com/office/2011/relationships/chartColorStyle" Target="colors20.xml"/><Relationship Id="rId1" Type="http://schemas.microsoft.com/office/2011/relationships/chartStyle" Target="style20.xml"/></Relationships>
</file>

<file path=ppt/charts/_rels/chart17.xml.rels><?xml version="1.0" encoding="UTF-8" standalone="yes"?>
<Relationships xmlns="http://schemas.openxmlformats.org/package/2006/relationships"><Relationship Id="rId3" Type="http://schemas.openxmlformats.org/officeDocument/2006/relationships/oleObject" Target="https://uottawa-my.sharepoint.com/personal/tgiro082_uottawa_ca/Documents/$APP%20M&amp;A.xlsx" TargetMode="External"/><Relationship Id="rId2" Type="http://schemas.microsoft.com/office/2011/relationships/chartColorStyle" Target="colors21.xml"/><Relationship Id="rId1" Type="http://schemas.microsoft.com/office/2011/relationships/chartStyle" Target="style21.xml"/></Relationships>
</file>

<file path=ppt/charts/_rels/chart18.xml.rels><?xml version="1.0" encoding="UTF-8" standalone="yes"?>
<Relationships xmlns="http://schemas.openxmlformats.org/package/2006/relationships"><Relationship Id="rId3" Type="http://schemas.openxmlformats.org/officeDocument/2006/relationships/oleObject" Target="https://uottawa-my.sharepoint.com/personal/tgiro082_uottawa_ca/Documents/$APP%20M&amp;A.xlsx" TargetMode="External"/><Relationship Id="rId2" Type="http://schemas.microsoft.com/office/2011/relationships/chartColorStyle" Target="colors22.xml"/><Relationship Id="rId1" Type="http://schemas.microsoft.com/office/2011/relationships/chartStyle" Target="style22.xml"/></Relationships>
</file>

<file path=ppt/charts/_rels/chart19.xml.rels><?xml version="1.0" encoding="UTF-8" standalone="yes"?>
<Relationships xmlns="http://schemas.openxmlformats.org/package/2006/relationships"><Relationship Id="rId3" Type="http://schemas.openxmlformats.org/officeDocument/2006/relationships/oleObject" Target="https://uottawa-my.sharepoint.com/personal/tgiro082_uottawa_ca/Documents/$APP%20M&amp;A.xlsx" TargetMode="External"/><Relationship Id="rId2" Type="http://schemas.microsoft.com/office/2011/relationships/chartColorStyle" Target="colors23.xml"/><Relationship Id="rId1" Type="http://schemas.microsoft.com/office/2011/relationships/chartStyle" Target="style23.xml"/></Relationships>
</file>

<file path=ppt/charts/_rels/chart2.xml.rels><?xml version="1.0" encoding="UTF-8" standalone="yes"?>
<Relationships xmlns="http://schemas.openxmlformats.org/package/2006/relationships"><Relationship Id="rId3" Type="http://schemas.openxmlformats.org/officeDocument/2006/relationships/oleObject" Target="https://uottawa.sharepoint.com/sites/1100_365_T_Telfer_Investment_Club/Shared%20Documents/Technology,%20Media,%20Telecom,%20and%20Healthcare/2024-2025/Shopify%20M&amp;A%20Prep/Thomas/$APP%20M&amp;A.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20.xml.rels><?xml version="1.0" encoding="UTF-8" standalone="yes"?>
<Relationships xmlns="http://schemas.openxmlformats.org/package/2006/relationships"><Relationship Id="rId3" Type="http://schemas.openxmlformats.org/officeDocument/2006/relationships/oleObject" Target="https://uottawa-my.sharepoint.com/personal/tgiro082_uottawa_ca/Documents/$APP%20M&amp;A.xlsx" TargetMode="External"/><Relationship Id="rId2" Type="http://schemas.microsoft.com/office/2011/relationships/chartColorStyle" Target="colors24.xml"/><Relationship Id="rId1" Type="http://schemas.microsoft.com/office/2011/relationships/chartStyle" Target="style24.xml"/></Relationships>
</file>

<file path=ppt/charts/_rels/chart21.xml.rels><?xml version="1.0" encoding="UTF-8" standalone="yes"?>
<Relationships xmlns="http://schemas.openxmlformats.org/package/2006/relationships"><Relationship Id="rId3" Type="http://schemas.openxmlformats.org/officeDocument/2006/relationships/oleObject" Target="https://uottawa-my.sharepoint.com/personal/tgiro082_uottawa_ca/Documents/$APP%20M&amp;A.xlsx" TargetMode="External"/><Relationship Id="rId2" Type="http://schemas.microsoft.com/office/2011/relationships/chartColorStyle" Target="colors25.xml"/><Relationship Id="rId1" Type="http://schemas.microsoft.com/office/2011/relationships/chartStyle" Target="style25.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_8AE_E5FD0A00.xlsx"/><Relationship Id="rId2" Type="http://schemas.microsoft.com/office/2011/relationships/chartColorStyle" Target="colors26.xml"/><Relationship Id="rId1" Type="http://schemas.microsoft.com/office/2011/relationships/chartStyle" Target="style26.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_8AE_E5FD0A001.xlsx"/><Relationship Id="rId2" Type="http://schemas.microsoft.com/office/2011/relationships/chartColorStyle" Target="colors27.xml"/><Relationship Id="rId1" Type="http://schemas.microsoft.com/office/2011/relationships/chartStyle" Target="style27.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_10C_CC87D749.xlsx"/><Relationship Id="rId2" Type="http://schemas.microsoft.com/office/2011/relationships/chartColorStyle" Target="colors28.xml"/><Relationship Id="rId1" Type="http://schemas.microsoft.com/office/2011/relationships/chartStyle" Target="style28.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_10C_CC87D7492.xlsx"/><Relationship Id="rId2" Type="http://schemas.microsoft.com/office/2011/relationships/chartColorStyle" Target="colors29.xml"/><Relationship Id="rId1" Type="http://schemas.microsoft.com/office/2011/relationships/chartStyle" Target="style29.xml"/></Relationships>
</file>

<file path=ppt/charts/_rels/chart26.xml.rels><?xml version="1.0" encoding="UTF-8" standalone="yes"?>
<Relationships xmlns="http://schemas.openxmlformats.org/package/2006/relationships"><Relationship Id="rId3" Type="http://schemas.openxmlformats.org/officeDocument/2006/relationships/oleObject" Target="https://uottawa.sharepoint.com/sites/1100_365_T_Telfer_Investment_Club/Shared%20Documents/Technology,%20Media,%20Telecom,%20and%20Healthcare/2024-2025/Shopify%20M&amp;A%20Prep/Applovin%20DCF%20Models%20-%20AK.xlsx" TargetMode="External"/><Relationship Id="rId2" Type="http://schemas.microsoft.com/office/2011/relationships/chartColorStyle" Target="colors30.xml"/><Relationship Id="rId1" Type="http://schemas.microsoft.com/office/2011/relationships/chartStyle" Target="style30.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_11F_8506951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Book2"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Book2" TargetMode="External"/></Relationships>
</file>

<file path=ppt/charts/_rels/chart5.xml.rels><?xml version="1.0" encoding="UTF-8" standalone="yes"?>
<Relationships xmlns="http://schemas.openxmlformats.org/package/2006/relationships"><Relationship Id="rId3" Type="http://schemas.openxmlformats.org/officeDocument/2006/relationships/oleObject" Target="https://uottawa.sharepoint.com/sites/1100_365_T_Telfer_Investment_Club/Shared%20Documents/Technology,%20Media,%20Telecom,%20and%20Healthcare/2024-2025/Shopify%20M&amp;A%20Prep/Applovin%20DCF%20Models%20-%20AK.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https://uottawa.sharepoint.com/sites/1100_365_T_Telfer_Investment_Club/Shared%20Documents/Technology,%20Media,%20Telecom,%20and%20Healthcare/2024-2025/Shopify%20M&amp;A%20Prep/Applovin%20DCF%20Models%20-%20AK.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uottawa.sharepoint.com/sites/1100_365_T_Telfer_Investment_Club/Shared%20Documents/Technology,%20Media,%20Telecom,%20and%20Healthcare/2024-2025/Shopify%20M&amp;A%20Prep/Applovin%20DCF%20Models%20-%20AK.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uottawa.sharepoint.com/sites/1100_365_T_Telfer_Investment_Club/Shared%20Documents/Technology,%20Media,%20Telecom,%20and%20Healthcare/2024-2025/Shopify%20M&amp;A%20Prep/SHOP%20M&amp;A%20Pres_ColumnStacked.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https://uottawa-my.sharepoint.com/personal/tgiro082_uottawa_ca/Documents/$APP%20M&amp;A.xlsx" TargetMode="Externa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2.xml"/></Relationships>
</file>

<file path=ppt/charts/_rels/chartEx1.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Book2" TargetMode="External"/><Relationship Id="rId4" Type="http://schemas.openxmlformats.org/officeDocument/2006/relationships/themeOverride" Target="../theme/themeOverride2.xml"/></Relationships>
</file>

<file path=ppt/charts/_rels/chartEx2.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oleObject" Target="https://uottawa.sharepoint.com/sites/1100_365_T_Telfer_Investment_Club/Shared%20Documents/Technology,%20Media,%20Telecom,%20and%20Healthcare/2024-2025/Shopify%20M&amp;A%20Prep/Applovin%20DCF%20Models%20-%20AK.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oleObject" Target="Book2" TargetMode="External"/><Relationship Id="rId4" Type="http://schemas.openxmlformats.org/officeDocument/2006/relationships/themeOverride" Target="../theme/themeOverride6.xml"/></Relationships>
</file>

<file path=ppt/charts/_rels/chartEx4.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oleObject" Target="Book2" TargetMode="External"/><Relationship Id="rId4" Type="http://schemas.openxmlformats.org/officeDocument/2006/relationships/themeOverride" Target="../theme/themeOverrid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329169728141073E-2"/>
          <c:y val="5.8309037900874635E-3"/>
          <c:w val="0.96767083027185896"/>
          <c:h val="0.67971120956819175"/>
        </c:manualLayout>
      </c:layout>
      <c:barChart>
        <c:barDir val="col"/>
        <c:grouping val="stacked"/>
        <c:varyColors val="0"/>
        <c:ser>
          <c:idx val="1"/>
          <c:order val="1"/>
          <c:tx>
            <c:strRef>
              <c:f>Segments!$I$39</c:f>
              <c:strCache>
                <c:ptCount val="1"/>
                <c:pt idx="0">
                  <c:v>Rest of The World</c:v>
                </c:pt>
              </c:strCache>
            </c:strRef>
          </c:tx>
          <c:spPr>
            <a:solidFill>
              <a:srgbClr val="D8FBE5"/>
            </a:solidFill>
            <a:ln>
              <a:noFill/>
            </a:ln>
            <a:effectLst/>
          </c:spPr>
          <c:invertIfNegative val="0"/>
          <c:cat>
            <c:numRef>
              <c:f>Segments!$J$37:$N$37</c:f>
              <c:numCache>
                <c:formatCode>General</c:formatCode>
                <c:ptCount val="5"/>
                <c:pt idx="0">
                  <c:v>2020</c:v>
                </c:pt>
                <c:pt idx="1">
                  <c:v>2021</c:v>
                </c:pt>
                <c:pt idx="2">
                  <c:v>2022</c:v>
                </c:pt>
                <c:pt idx="3">
                  <c:v>2023</c:v>
                </c:pt>
                <c:pt idx="4">
                  <c:v>2024</c:v>
                </c:pt>
              </c:numCache>
            </c:numRef>
          </c:cat>
          <c:val>
            <c:numRef>
              <c:f>Segments!$J$39:$N$39</c:f>
              <c:numCache>
                <c:formatCode>_(* #,##0.0_);_(* \(#,##0.0\)_)\ ;_(* 0_)</c:formatCode>
                <c:ptCount val="5"/>
                <c:pt idx="0">
                  <c:v>555.09900000000005</c:v>
                </c:pt>
                <c:pt idx="1">
                  <c:v>1106.0239999999999</c:v>
                </c:pt>
                <c:pt idx="2">
                  <c:v>1088.0999999999999</c:v>
                </c:pt>
                <c:pt idx="3">
                  <c:v>1312.231</c:v>
                </c:pt>
                <c:pt idx="4">
                  <c:v>2020.2550000000001</c:v>
                </c:pt>
              </c:numCache>
            </c:numRef>
          </c:val>
          <c:extLst>
            <c:ext xmlns:c16="http://schemas.microsoft.com/office/drawing/2014/chart" uri="{C3380CC4-5D6E-409C-BE32-E72D297353CC}">
              <c16:uniqueId val="{00000001-5F03-884D-80B4-2CEEE96FB309}"/>
            </c:ext>
          </c:extLst>
        </c:ser>
        <c:ser>
          <c:idx val="0"/>
          <c:order val="0"/>
          <c:tx>
            <c:strRef>
              <c:f>Segments!$I$38</c:f>
              <c:strCache>
                <c:ptCount val="1"/>
                <c:pt idx="0">
                  <c:v>United States</c:v>
                </c:pt>
              </c:strCache>
            </c:strRef>
          </c:tx>
          <c:spPr>
            <a:solidFill>
              <a:srgbClr val="008864"/>
            </a:solidFill>
            <a:ln>
              <a:noFill/>
            </a:ln>
            <a:effectLst/>
          </c:spPr>
          <c:invertIfNegative val="0"/>
          <c:cat>
            <c:numRef>
              <c:f>Segments!$J$37:$N$37</c:f>
              <c:numCache>
                <c:formatCode>General</c:formatCode>
                <c:ptCount val="5"/>
                <c:pt idx="0">
                  <c:v>2020</c:v>
                </c:pt>
                <c:pt idx="1">
                  <c:v>2021</c:v>
                </c:pt>
                <c:pt idx="2">
                  <c:v>2022</c:v>
                </c:pt>
                <c:pt idx="3">
                  <c:v>2023</c:v>
                </c:pt>
                <c:pt idx="4">
                  <c:v>2024</c:v>
                </c:pt>
              </c:numCache>
            </c:numRef>
          </c:cat>
          <c:val>
            <c:numRef>
              <c:f>Segments!$J$38:$N$38</c:f>
              <c:numCache>
                <c:formatCode>_(* #,##0.0_);_(* \(#,##0.0\)_)\ ;_(* 0_)</c:formatCode>
                <c:ptCount val="5"/>
                <c:pt idx="0">
                  <c:v>895.98699999999997</c:v>
                </c:pt>
                <c:pt idx="1">
                  <c:v>1687.08</c:v>
                </c:pt>
                <c:pt idx="2">
                  <c:v>1728.9580000000001</c:v>
                </c:pt>
                <c:pt idx="3">
                  <c:v>1970.856</c:v>
                </c:pt>
                <c:pt idx="4">
                  <c:v>2688.9929999999999</c:v>
                </c:pt>
              </c:numCache>
            </c:numRef>
          </c:val>
          <c:extLst>
            <c:ext xmlns:c16="http://schemas.microsoft.com/office/drawing/2014/chart" uri="{C3380CC4-5D6E-409C-BE32-E72D297353CC}">
              <c16:uniqueId val="{00000000-5F03-884D-80B4-2CEEE96FB309}"/>
            </c:ext>
          </c:extLst>
        </c:ser>
        <c:ser>
          <c:idx val="2"/>
          <c:order val="2"/>
          <c:tx>
            <c:strRef>
              <c:f>Segments!$I$40</c:f>
              <c:strCache>
                <c:ptCount val="1"/>
                <c:pt idx="0">
                  <c:v>  Total Revenues</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egments!$J$37:$N$37</c:f>
              <c:numCache>
                <c:formatCode>General</c:formatCode>
                <c:ptCount val="5"/>
                <c:pt idx="0">
                  <c:v>2020</c:v>
                </c:pt>
                <c:pt idx="1">
                  <c:v>2021</c:v>
                </c:pt>
                <c:pt idx="2">
                  <c:v>2022</c:v>
                </c:pt>
                <c:pt idx="3">
                  <c:v>2023</c:v>
                </c:pt>
                <c:pt idx="4">
                  <c:v>2024</c:v>
                </c:pt>
              </c:numCache>
            </c:numRef>
          </c:cat>
          <c:val>
            <c:numRef>
              <c:f>Segments!$J$40:$N$40</c:f>
              <c:numCache>
                <c:formatCode>_(* #,##0.0_);_(* \(#,##0.0\)_)\ ;_(* 0_)</c:formatCode>
                <c:ptCount val="5"/>
                <c:pt idx="0">
                  <c:v>1451.086</c:v>
                </c:pt>
                <c:pt idx="1">
                  <c:v>2793.1039999999998</c:v>
                </c:pt>
                <c:pt idx="2">
                  <c:v>2817.058</c:v>
                </c:pt>
                <c:pt idx="3">
                  <c:v>3283.087</c:v>
                </c:pt>
                <c:pt idx="4">
                  <c:v>4709.2479999999996</c:v>
                </c:pt>
              </c:numCache>
            </c:numRef>
          </c:val>
          <c:extLst>
            <c:ext xmlns:c16="http://schemas.microsoft.com/office/drawing/2014/chart" uri="{C3380CC4-5D6E-409C-BE32-E72D297353CC}">
              <c16:uniqueId val="{00000002-5F03-884D-80B4-2CEEE96FB309}"/>
            </c:ext>
          </c:extLst>
        </c:ser>
        <c:dLbls>
          <c:showLegendKey val="0"/>
          <c:showVal val="0"/>
          <c:showCatName val="0"/>
          <c:showSerName val="0"/>
          <c:showPercent val="0"/>
          <c:showBubbleSize val="0"/>
        </c:dLbls>
        <c:gapWidth val="45"/>
        <c:overlap val="100"/>
        <c:axId val="1704832992"/>
        <c:axId val="1968370416"/>
      </c:barChart>
      <c:catAx>
        <c:axId val="1704832992"/>
        <c:scaling>
          <c:orientation val="minMax"/>
        </c:scaling>
        <c:delete val="0"/>
        <c:axPos val="b"/>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68370416"/>
        <c:crosses val="autoZero"/>
        <c:auto val="1"/>
        <c:lblAlgn val="ctr"/>
        <c:lblOffset val="100"/>
        <c:noMultiLvlLbl val="0"/>
      </c:catAx>
      <c:valAx>
        <c:axId val="1968370416"/>
        <c:scaling>
          <c:orientation val="minMax"/>
        </c:scaling>
        <c:delete val="0"/>
        <c:axPos val="l"/>
        <c:numFmt formatCode="_(* #,##0_);_(* \(#,##0\);_(* &quot;-&quot;_);_(@_)"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704832992"/>
        <c:crosses val="autoZero"/>
        <c:crossBetween val="between"/>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900" b="1"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9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6164691477134598E-2"/>
          <c:y val="4.8899774329466655E-2"/>
          <c:w val="0.96767061704573076"/>
          <c:h val="0.89002440753302947"/>
        </c:manualLayout>
      </c:layout>
      <c:barChart>
        <c:barDir val="col"/>
        <c:grouping val="clustered"/>
        <c:varyColors val="0"/>
        <c:ser>
          <c:idx val="0"/>
          <c:order val="0"/>
          <c:tx>
            <c:strRef>
              <c:f>Sheet3!$B$4</c:f>
              <c:strCache>
                <c:ptCount val="1"/>
                <c:pt idx="0">
                  <c:v>COGS</c:v>
                </c:pt>
              </c:strCache>
            </c:strRef>
          </c:tx>
          <c:spPr>
            <a:solidFill>
              <a:srgbClr val="00886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I$3:$R$3</c:f>
              <c:strCache>
                <c:ptCount val="10"/>
                <c:pt idx="0">
                  <c:v>2025E</c:v>
                </c:pt>
                <c:pt idx="1">
                  <c:v>2026E</c:v>
                </c:pt>
                <c:pt idx="2">
                  <c:v>2027E</c:v>
                </c:pt>
                <c:pt idx="3">
                  <c:v>2028E</c:v>
                </c:pt>
                <c:pt idx="4">
                  <c:v>2029E</c:v>
                </c:pt>
                <c:pt idx="5">
                  <c:v>2030E</c:v>
                </c:pt>
                <c:pt idx="6">
                  <c:v>2031E</c:v>
                </c:pt>
                <c:pt idx="7">
                  <c:v>2032E</c:v>
                </c:pt>
                <c:pt idx="8">
                  <c:v>2033E</c:v>
                </c:pt>
                <c:pt idx="9">
                  <c:v>2034E</c:v>
                </c:pt>
              </c:strCache>
            </c:strRef>
          </c:cat>
          <c:val>
            <c:numRef>
              <c:f>Sheet3!$I$4:$R$4</c:f>
              <c:numCache>
                <c:formatCode>#,##0.00_);\(#,##0.00\)</c:formatCode>
                <c:ptCount val="10"/>
                <c:pt idx="0">
                  <c:v>1446.83944</c:v>
                </c:pt>
                <c:pt idx="1">
                  <c:v>1786.8467083999997</c:v>
                </c:pt>
                <c:pt idx="2">
                  <c:v>2197.8214513319995</c:v>
                </c:pt>
                <c:pt idx="3">
                  <c:v>2703.3203851383591</c:v>
                </c:pt>
                <c:pt idx="4">
                  <c:v>3325.0840737201816</c:v>
                </c:pt>
                <c:pt idx="5">
                  <c:v>4089.8534106758234</c:v>
                </c:pt>
                <c:pt idx="6">
                  <c:v>5030.5196951312628</c:v>
                </c:pt>
                <c:pt idx="7">
                  <c:v>6187.5392250114528</c:v>
                </c:pt>
                <c:pt idx="8">
                  <c:v>7610.6732467640868</c:v>
                </c:pt>
                <c:pt idx="9">
                  <c:v>9361.1280935198265</c:v>
                </c:pt>
              </c:numCache>
            </c:numRef>
          </c:val>
          <c:extLst>
            <c:ext xmlns:c16="http://schemas.microsoft.com/office/drawing/2014/chart" uri="{C3380CC4-5D6E-409C-BE32-E72D297353CC}">
              <c16:uniqueId val="{00000000-7D0B-8440-9E62-CDAFCB630605}"/>
            </c:ext>
          </c:extLst>
        </c:ser>
        <c:dLbls>
          <c:showLegendKey val="0"/>
          <c:showVal val="0"/>
          <c:showCatName val="0"/>
          <c:showSerName val="0"/>
          <c:showPercent val="0"/>
          <c:showBubbleSize val="0"/>
        </c:dLbls>
        <c:gapWidth val="130"/>
        <c:axId val="1483968560"/>
        <c:axId val="430792703"/>
      </c:barChart>
      <c:lineChart>
        <c:grouping val="standard"/>
        <c:varyColors val="0"/>
        <c:ser>
          <c:idx val="1"/>
          <c:order val="1"/>
          <c:tx>
            <c:strRef>
              <c:f>Sheet3!$B$5</c:f>
              <c:strCache>
                <c:ptCount val="1"/>
                <c:pt idx="0">
                  <c:v>% of Revenue</c:v>
                </c:pt>
              </c:strCache>
            </c:strRef>
          </c:tx>
          <c:spPr>
            <a:ln w="28575" cap="rnd">
              <a:solidFill>
                <a:srgbClr val="3F685E"/>
              </a:solidFill>
              <a:round/>
            </a:ln>
            <a:effectLst/>
          </c:spPr>
          <c:marker>
            <c:symbol val="none"/>
          </c:marker>
          <c:dLbls>
            <c:dLbl>
              <c:idx val="3"/>
              <c:layout>
                <c:manualLayout>
                  <c:x val="-2.9932218220326535E-2"/>
                  <c:y val="1.7182302594113776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D0B-8440-9E62-CDAFCB630605}"/>
                </c:ext>
              </c:extLst>
            </c:dLbl>
            <c:dLbl>
              <c:idx val="4"/>
              <c:layout>
                <c:manualLayout>
                  <c:x val="-2.9932218220326535E-2"/>
                  <c:y val="8.0617246064819542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D0B-8440-9E62-CDAFCB630605}"/>
                </c:ext>
              </c:extLst>
            </c:dLbl>
            <c:spPr>
              <a:solidFill>
                <a:srgbClr val="3E685D"/>
              </a:solidFill>
              <a:ln>
                <a:solidFill>
                  <a:schemeClr val="tx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I$3:$R$3</c:f>
              <c:strCache>
                <c:ptCount val="10"/>
                <c:pt idx="0">
                  <c:v>2025E</c:v>
                </c:pt>
                <c:pt idx="1">
                  <c:v>2026E</c:v>
                </c:pt>
                <c:pt idx="2">
                  <c:v>2027E</c:v>
                </c:pt>
                <c:pt idx="3">
                  <c:v>2028E</c:v>
                </c:pt>
                <c:pt idx="4">
                  <c:v>2029E</c:v>
                </c:pt>
                <c:pt idx="5">
                  <c:v>2030E</c:v>
                </c:pt>
                <c:pt idx="6">
                  <c:v>2031E</c:v>
                </c:pt>
                <c:pt idx="7">
                  <c:v>2032E</c:v>
                </c:pt>
                <c:pt idx="8">
                  <c:v>2033E</c:v>
                </c:pt>
                <c:pt idx="9">
                  <c:v>2034E</c:v>
                </c:pt>
              </c:strCache>
            </c:strRef>
          </c:cat>
          <c:val>
            <c:numRef>
              <c:f>Sheet3!$I$5:$R$5</c:f>
              <c:numCache>
                <c:formatCode>0.0%</c:formatCode>
                <c:ptCount val="10"/>
                <c:pt idx="0">
                  <c:v>0.24</c:v>
                </c:pt>
                <c:pt idx="1">
                  <c:v>0.23499999999999999</c:v>
                </c:pt>
                <c:pt idx="2">
                  <c:v>0.23</c:v>
                </c:pt>
                <c:pt idx="3">
                  <c:v>0.23</c:v>
                </c:pt>
                <c:pt idx="4">
                  <c:v>0.23</c:v>
                </c:pt>
                <c:pt idx="5">
                  <c:v>0.23</c:v>
                </c:pt>
                <c:pt idx="6">
                  <c:v>0.23</c:v>
                </c:pt>
                <c:pt idx="7">
                  <c:v>0.23</c:v>
                </c:pt>
                <c:pt idx="8">
                  <c:v>0.23</c:v>
                </c:pt>
                <c:pt idx="9">
                  <c:v>0.23</c:v>
                </c:pt>
              </c:numCache>
            </c:numRef>
          </c:val>
          <c:smooth val="0"/>
          <c:extLst>
            <c:ext xmlns:c16="http://schemas.microsoft.com/office/drawing/2014/chart" uri="{C3380CC4-5D6E-409C-BE32-E72D297353CC}">
              <c16:uniqueId val="{00000003-7D0B-8440-9E62-CDAFCB630605}"/>
            </c:ext>
          </c:extLst>
        </c:ser>
        <c:dLbls>
          <c:showLegendKey val="0"/>
          <c:showVal val="0"/>
          <c:showCatName val="0"/>
          <c:showSerName val="0"/>
          <c:showPercent val="0"/>
          <c:showBubbleSize val="0"/>
        </c:dLbls>
        <c:marker val="1"/>
        <c:smooth val="0"/>
        <c:axId val="430573855"/>
        <c:axId val="430572127"/>
      </c:lineChart>
      <c:catAx>
        <c:axId val="1483968560"/>
        <c:scaling>
          <c:orientation val="minMax"/>
        </c:scaling>
        <c:delete val="0"/>
        <c:axPos val="b"/>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30792703"/>
        <c:crosses val="autoZero"/>
        <c:auto val="1"/>
        <c:lblAlgn val="ctr"/>
        <c:lblOffset val="100"/>
        <c:noMultiLvlLbl val="0"/>
      </c:catAx>
      <c:valAx>
        <c:axId val="430792703"/>
        <c:scaling>
          <c:orientation val="minMax"/>
        </c:scaling>
        <c:delete val="0"/>
        <c:axPos val="l"/>
        <c:numFmt formatCode="#,##0.00_);\(#,##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483968560"/>
        <c:crosses val="autoZero"/>
        <c:crossBetween val="between"/>
      </c:valAx>
      <c:valAx>
        <c:axId val="430572127"/>
        <c:scaling>
          <c:orientation val="minMax"/>
        </c:scaling>
        <c:delete val="0"/>
        <c:axPos val="r"/>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30573855"/>
        <c:crosses val="max"/>
        <c:crossBetween val="between"/>
      </c:valAx>
      <c:catAx>
        <c:axId val="430573855"/>
        <c:scaling>
          <c:orientation val="minMax"/>
        </c:scaling>
        <c:delete val="1"/>
        <c:axPos val="b"/>
        <c:numFmt formatCode="General" sourceLinked="1"/>
        <c:majorTickMark val="none"/>
        <c:minorTickMark val="none"/>
        <c:tickLblPos val="nextTo"/>
        <c:crossAx val="430572127"/>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6164691477134598E-2"/>
          <c:y val="6.1124717911833319E-2"/>
          <c:w val="0.96767061704573076"/>
          <c:h val="0.87746140094388114"/>
        </c:manualLayout>
      </c:layout>
      <c:barChart>
        <c:barDir val="col"/>
        <c:grouping val="clustered"/>
        <c:varyColors val="0"/>
        <c:ser>
          <c:idx val="0"/>
          <c:order val="0"/>
          <c:tx>
            <c:strRef>
              <c:f>Sheet3!$C$39</c:f>
              <c:strCache>
                <c:ptCount val="1"/>
                <c:pt idx="0">
                  <c:v>FCFF</c:v>
                </c:pt>
              </c:strCache>
            </c:strRef>
          </c:tx>
          <c:spPr>
            <a:solidFill>
              <a:srgbClr val="00886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I$38:$R$38</c:f>
              <c:strCache>
                <c:ptCount val="10"/>
                <c:pt idx="0">
                  <c:v>2025E</c:v>
                </c:pt>
                <c:pt idx="1">
                  <c:v>2026E</c:v>
                </c:pt>
                <c:pt idx="2">
                  <c:v>2027E</c:v>
                </c:pt>
                <c:pt idx="3">
                  <c:v>2028E</c:v>
                </c:pt>
                <c:pt idx="4">
                  <c:v>2029E</c:v>
                </c:pt>
                <c:pt idx="5">
                  <c:v>2030E</c:v>
                </c:pt>
                <c:pt idx="6">
                  <c:v>2031E</c:v>
                </c:pt>
                <c:pt idx="7">
                  <c:v>2032E</c:v>
                </c:pt>
                <c:pt idx="8">
                  <c:v>2033E</c:v>
                </c:pt>
                <c:pt idx="9">
                  <c:v>2034E</c:v>
                </c:pt>
              </c:strCache>
            </c:strRef>
          </c:cat>
          <c:val>
            <c:numRef>
              <c:f>Sheet3!$I$39:$R$39</c:f>
              <c:numCache>
                <c:formatCode>#,##0.00_);\(#,##0.00\)</c:formatCode>
                <c:ptCount val="10"/>
                <c:pt idx="0">
                  <c:v>2022.8762024631226</c:v>
                </c:pt>
                <c:pt idx="1">
                  <c:v>3785.9905393909639</c:v>
                </c:pt>
                <c:pt idx="2">
                  <c:v>5115.7476592451521</c:v>
                </c:pt>
                <c:pt idx="3">
                  <c:v>6511.2809583047028</c:v>
                </c:pt>
                <c:pt idx="4">
                  <c:v>7836.56328432178</c:v>
                </c:pt>
                <c:pt idx="5">
                  <c:v>9395.867071625169</c:v>
                </c:pt>
                <c:pt idx="6">
                  <c:v>11182.858037381413</c:v>
                </c:pt>
                <c:pt idx="7">
                  <c:v>12630.125079904632</c:v>
                </c:pt>
                <c:pt idx="8">
                  <c:v>13214.877933990138</c:v>
                </c:pt>
                <c:pt idx="9">
                  <c:v>12649.990524300587</c:v>
                </c:pt>
              </c:numCache>
            </c:numRef>
          </c:val>
          <c:extLst>
            <c:ext xmlns:c16="http://schemas.microsoft.com/office/drawing/2014/chart" uri="{C3380CC4-5D6E-409C-BE32-E72D297353CC}">
              <c16:uniqueId val="{00000000-0D25-F544-8E1E-2A992B9C0E30}"/>
            </c:ext>
          </c:extLst>
        </c:ser>
        <c:dLbls>
          <c:showLegendKey val="0"/>
          <c:showVal val="0"/>
          <c:showCatName val="0"/>
          <c:showSerName val="0"/>
          <c:showPercent val="0"/>
          <c:showBubbleSize val="0"/>
        </c:dLbls>
        <c:gapWidth val="130"/>
        <c:axId val="1134230752"/>
        <c:axId val="1414378352"/>
      </c:barChart>
      <c:catAx>
        <c:axId val="1134230752"/>
        <c:scaling>
          <c:orientation val="minMax"/>
        </c:scaling>
        <c:delete val="0"/>
        <c:axPos val="b"/>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414378352"/>
        <c:crosses val="autoZero"/>
        <c:auto val="1"/>
        <c:lblAlgn val="ctr"/>
        <c:lblOffset val="100"/>
        <c:noMultiLvlLbl val="0"/>
      </c:catAx>
      <c:valAx>
        <c:axId val="1414378352"/>
        <c:scaling>
          <c:orientation val="minMax"/>
        </c:scaling>
        <c:delete val="1"/>
        <c:axPos val="l"/>
        <c:numFmt formatCode="#,##0.00_);\(#,##0.00\)" sourceLinked="1"/>
        <c:majorTickMark val="none"/>
        <c:minorTickMark val="none"/>
        <c:tickLblPos val="nextTo"/>
        <c:crossAx val="113423075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xon AI Graphs'!$H$7</c:f>
              <c:strCache>
                <c:ptCount val="1"/>
                <c:pt idx="0">
                  <c:v>AppLovin (Axon AI)</c:v>
                </c:pt>
              </c:strCache>
            </c:strRef>
          </c:tx>
          <c:spPr>
            <a:solidFill>
              <a:srgbClr val="102C2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xon AI Graphs'!$G$8:$G$10</c:f>
              <c:strCache>
                <c:ptCount val="3"/>
                <c:pt idx="0">
                  <c:v>Installs per 1,000 views</c:v>
                </c:pt>
                <c:pt idx="1">
                  <c:v>Revenue per 1,000 views (usd)</c:v>
                </c:pt>
                <c:pt idx="2">
                  <c:v>Cost per install (usd)</c:v>
                </c:pt>
              </c:strCache>
            </c:strRef>
          </c:cat>
          <c:val>
            <c:numRef>
              <c:f>'Axon AI Graphs'!$H$8:$H$10</c:f>
              <c:numCache>
                <c:formatCode>"$"#,##0.00</c:formatCode>
                <c:ptCount val="3"/>
                <c:pt idx="0" formatCode="General">
                  <c:v>20</c:v>
                </c:pt>
                <c:pt idx="1">
                  <c:v>150</c:v>
                </c:pt>
                <c:pt idx="2">
                  <c:v>7.5</c:v>
                </c:pt>
              </c:numCache>
            </c:numRef>
          </c:val>
          <c:extLst>
            <c:ext xmlns:c16="http://schemas.microsoft.com/office/drawing/2014/chart" uri="{C3380CC4-5D6E-409C-BE32-E72D297353CC}">
              <c16:uniqueId val="{00000000-0052-7049-B167-7B74D2ADF9B6}"/>
            </c:ext>
          </c:extLst>
        </c:ser>
        <c:ser>
          <c:idx val="1"/>
          <c:order val="1"/>
          <c:tx>
            <c:strRef>
              <c:f>'Axon AI Graphs'!$I$7</c:f>
              <c:strCache>
                <c:ptCount val="1"/>
                <c:pt idx="0">
                  <c:v>Competitors' Average</c:v>
                </c:pt>
              </c:strCache>
            </c:strRef>
          </c:tx>
          <c:spPr>
            <a:solidFill>
              <a:srgbClr val="D8FAE5"/>
            </a:solidFill>
            <a:ln>
              <a:solidFill>
                <a:srgbClr val="102C23"/>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xon AI Graphs'!$G$8:$G$10</c:f>
              <c:strCache>
                <c:ptCount val="3"/>
                <c:pt idx="0">
                  <c:v>Installs per 1,000 views</c:v>
                </c:pt>
                <c:pt idx="1">
                  <c:v>Revenue per 1,000 views (usd)</c:v>
                </c:pt>
                <c:pt idx="2">
                  <c:v>Cost per install (usd)</c:v>
                </c:pt>
              </c:strCache>
            </c:strRef>
          </c:cat>
          <c:val>
            <c:numRef>
              <c:f>'Axon AI Graphs'!$I$8:$I$10</c:f>
              <c:numCache>
                <c:formatCode>"$"#,##0.00</c:formatCode>
                <c:ptCount val="3"/>
                <c:pt idx="0" formatCode="General">
                  <c:v>10</c:v>
                </c:pt>
                <c:pt idx="1">
                  <c:v>80</c:v>
                </c:pt>
                <c:pt idx="2">
                  <c:v>8</c:v>
                </c:pt>
              </c:numCache>
            </c:numRef>
          </c:val>
          <c:extLst>
            <c:ext xmlns:c16="http://schemas.microsoft.com/office/drawing/2014/chart" uri="{C3380CC4-5D6E-409C-BE32-E72D297353CC}">
              <c16:uniqueId val="{00000001-0052-7049-B167-7B74D2ADF9B6}"/>
            </c:ext>
          </c:extLst>
        </c:ser>
        <c:dLbls>
          <c:dLblPos val="outEnd"/>
          <c:showLegendKey val="0"/>
          <c:showVal val="1"/>
          <c:showCatName val="0"/>
          <c:showSerName val="0"/>
          <c:showPercent val="0"/>
          <c:showBubbleSize val="0"/>
        </c:dLbls>
        <c:gapWidth val="219"/>
        <c:overlap val="-27"/>
        <c:axId val="348768191"/>
        <c:axId val="349004575"/>
      </c:barChart>
      <c:catAx>
        <c:axId val="348768191"/>
        <c:scaling>
          <c:orientation val="minMax"/>
        </c:scaling>
        <c:delete val="0"/>
        <c:axPos val="b"/>
        <c:numFmt formatCode="General" sourceLinked="1"/>
        <c:majorTickMark val="out"/>
        <c:minorTickMark val="none"/>
        <c:tickLblPos val="nextTo"/>
        <c:spPr>
          <a:solidFill>
            <a:schemeClr val="bg1"/>
          </a:solid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349004575"/>
        <c:crosses val="autoZero"/>
        <c:auto val="1"/>
        <c:lblAlgn val="ctr"/>
        <c:lblOffset val="100"/>
        <c:noMultiLvlLbl val="0"/>
      </c:catAx>
      <c:valAx>
        <c:axId val="349004575"/>
        <c:scaling>
          <c:orientation val="minMax"/>
        </c:scaling>
        <c:delete val="1"/>
        <c:axPos val="l"/>
        <c:numFmt formatCode="General" sourceLinked="1"/>
        <c:majorTickMark val="none"/>
        <c:minorTickMark val="none"/>
        <c:tickLblPos val="nextTo"/>
        <c:crossAx val="3487681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Graphs!$E$35</c:f>
              <c:strCache>
                <c:ptCount val="1"/>
                <c:pt idx="0">
                  <c:v>Merged Firm Revenue W/O Synergies</c:v>
                </c:pt>
              </c:strCache>
            </c:strRef>
          </c:tx>
          <c:spPr>
            <a:solidFill>
              <a:srgbClr val="102C23"/>
            </a:solidFill>
            <a:ln>
              <a:solidFill>
                <a:srgbClr val="102C23"/>
              </a:solidFill>
            </a:ln>
            <a:effectLst/>
          </c:spPr>
          <c:invertIfNegative val="0"/>
          <c:cat>
            <c:strRef>
              <c:f>Graphs!$F$34:$O$34</c:f>
              <c:strCache>
                <c:ptCount val="10"/>
                <c:pt idx="0">
                  <c:v>2025E</c:v>
                </c:pt>
                <c:pt idx="1">
                  <c:v>2026E</c:v>
                </c:pt>
                <c:pt idx="2">
                  <c:v>2027E</c:v>
                </c:pt>
                <c:pt idx="3">
                  <c:v>2028E</c:v>
                </c:pt>
                <c:pt idx="4">
                  <c:v>2029E</c:v>
                </c:pt>
                <c:pt idx="5">
                  <c:v>2030E</c:v>
                </c:pt>
                <c:pt idx="6">
                  <c:v>2031E</c:v>
                </c:pt>
                <c:pt idx="7">
                  <c:v>2032E</c:v>
                </c:pt>
                <c:pt idx="8">
                  <c:v>2033E</c:v>
                </c:pt>
                <c:pt idx="9">
                  <c:v>2034E</c:v>
                </c:pt>
              </c:strCache>
            </c:strRef>
          </c:cat>
          <c:val>
            <c:numRef>
              <c:f>Graphs!$F$35:$O$35</c:f>
              <c:numCache>
                <c:formatCode>#,##0.0_);\(#,##0.0\)</c:formatCode>
                <c:ptCount val="10"/>
                <c:pt idx="0">
                  <c:v>16515.637500000001</c:v>
                </c:pt>
                <c:pt idx="1">
                  <c:v>20102.983124999999</c:v>
                </c:pt>
                <c:pt idx="2">
                  <c:v>24505.930593749999</c:v>
                </c:pt>
                <c:pt idx="3">
                  <c:v>29916.195182812498</c:v>
                </c:pt>
                <c:pt idx="4">
                  <c:v>35487.608835234372</c:v>
                </c:pt>
                <c:pt idx="5">
                  <c:v>42111.531410519528</c:v>
                </c:pt>
                <c:pt idx="6">
                  <c:v>49444.559551571481</c:v>
                </c:pt>
                <c:pt idx="7">
                  <c:v>58135.265506728625</c:v>
                </c:pt>
                <c:pt idx="8">
                  <c:v>66196.542057401486</c:v>
                </c:pt>
                <c:pt idx="9">
                  <c:v>75401.10876314163</c:v>
                </c:pt>
              </c:numCache>
            </c:numRef>
          </c:val>
          <c:extLst>
            <c:ext xmlns:c16="http://schemas.microsoft.com/office/drawing/2014/chart" uri="{C3380CC4-5D6E-409C-BE32-E72D297353CC}">
              <c16:uniqueId val="{00000000-6073-4B4D-B65B-76726F3DE85D}"/>
            </c:ext>
          </c:extLst>
        </c:ser>
        <c:ser>
          <c:idx val="1"/>
          <c:order val="1"/>
          <c:tx>
            <c:strRef>
              <c:f>Graphs!$E$36</c:f>
              <c:strCache>
                <c:ptCount val="1"/>
                <c:pt idx="0">
                  <c:v>Merchant/Axon Revenue Synergies</c:v>
                </c:pt>
              </c:strCache>
            </c:strRef>
          </c:tx>
          <c:spPr>
            <a:solidFill>
              <a:srgbClr val="D8FAE5"/>
            </a:solidFill>
            <a:ln>
              <a:solidFill>
                <a:srgbClr val="102C23"/>
              </a:solidFill>
            </a:ln>
            <a:effectLst/>
          </c:spPr>
          <c:invertIfNegative val="0"/>
          <c:cat>
            <c:strRef>
              <c:f>Graphs!$F$34:$O$34</c:f>
              <c:strCache>
                <c:ptCount val="10"/>
                <c:pt idx="0">
                  <c:v>2025E</c:v>
                </c:pt>
                <c:pt idx="1">
                  <c:v>2026E</c:v>
                </c:pt>
                <c:pt idx="2">
                  <c:v>2027E</c:v>
                </c:pt>
                <c:pt idx="3">
                  <c:v>2028E</c:v>
                </c:pt>
                <c:pt idx="4">
                  <c:v>2029E</c:v>
                </c:pt>
                <c:pt idx="5">
                  <c:v>2030E</c:v>
                </c:pt>
                <c:pt idx="6">
                  <c:v>2031E</c:v>
                </c:pt>
                <c:pt idx="7">
                  <c:v>2032E</c:v>
                </c:pt>
                <c:pt idx="8">
                  <c:v>2033E</c:v>
                </c:pt>
                <c:pt idx="9">
                  <c:v>2034E</c:v>
                </c:pt>
              </c:strCache>
            </c:strRef>
          </c:cat>
          <c:val>
            <c:numRef>
              <c:f>Graphs!$F$36:$O$36</c:f>
              <c:numCache>
                <c:formatCode>#,##0.0_);\(#,##0.0\)</c:formatCode>
                <c:ptCount val="10"/>
                <c:pt idx="0">
                  <c:v>2901.643185379744</c:v>
                </c:pt>
                <c:pt idx="1">
                  <c:v>3024.2576060562878</c:v>
                </c:pt>
                <c:pt idx="2">
                  <c:v>3152.0533309791972</c:v>
                </c:pt>
                <c:pt idx="3">
                  <c:v>3285.2493059588032</c:v>
                </c:pt>
                <c:pt idx="4">
                  <c:v>3424.0737287747465</c:v>
                </c:pt>
                <c:pt idx="5">
                  <c:v>3568.7644401354355</c:v>
                </c:pt>
                <c:pt idx="6">
                  <c:v>3719.5693311582409</c:v>
                </c:pt>
                <c:pt idx="7">
                  <c:v>3876.7467680685345</c:v>
                </c:pt>
                <c:pt idx="8">
                  <c:v>4040.5660348451902</c:v>
                </c:pt>
                <c:pt idx="9">
                  <c:v>4211.3077945709047</c:v>
                </c:pt>
              </c:numCache>
            </c:numRef>
          </c:val>
          <c:extLst>
            <c:ext xmlns:c16="http://schemas.microsoft.com/office/drawing/2014/chart" uri="{C3380CC4-5D6E-409C-BE32-E72D297353CC}">
              <c16:uniqueId val="{00000001-6073-4B4D-B65B-76726F3DE85D}"/>
            </c:ext>
          </c:extLst>
        </c:ser>
        <c:dLbls>
          <c:showLegendKey val="0"/>
          <c:showVal val="0"/>
          <c:showCatName val="0"/>
          <c:showSerName val="0"/>
          <c:showPercent val="0"/>
          <c:showBubbleSize val="0"/>
        </c:dLbls>
        <c:gapWidth val="75"/>
        <c:overlap val="100"/>
        <c:axId val="1578809072"/>
        <c:axId val="1578535600"/>
      </c:barChart>
      <c:catAx>
        <c:axId val="157880907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578535600"/>
        <c:crosses val="autoZero"/>
        <c:auto val="1"/>
        <c:lblAlgn val="ctr"/>
        <c:lblOffset val="100"/>
        <c:noMultiLvlLbl val="0"/>
      </c:catAx>
      <c:valAx>
        <c:axId val="1578535600"/>
        <c:scaling>
          <c:orientation val="minMax"/>
          <c:max val="90000"/>
          <c:min val="10000"/>
        </c:scaling>
        <c:delete val="0"/>
        <c:axPos val="l"/>
        <c:numFmt formatCode="#,##0.0_);\(#,##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578809072"/>
        <c:crosses val="autoZero"/>
        <c:crossBetween val="between"/>
        <c:majorUnit val="25000"/>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raphs!$E$46</c:f>
              <c:strCache>
                <c:ptCount val="1"/>
                <c:pt idx="0">
                  <c:v>Merged Firm # of Layoffs</c:v>
                </c:pt>
              </c:strCache>
            </c:strRef>
          </c:tx>
          <c:spPr>
            <a:solidFill>
              <a:srgbClr val="00886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F$45:$O$45</c:f>
              <c:strCache>
                <c:ptCount val="10"/>
                <c:pt idx="0">
                  <c:v>2025E</c:v>
                </c:pt>
                <c:pt idx="1">
                  <c:v>2026E</c:v>
                </c:pt>
                <c:pt idx="2">
                  <c:v>2027E</c:v>
                </c:pt>
                <c:pt idx="3">
                  <c:v>2028E</c:v>
                </c:pt>
                <c:pt idx="4">
                  <c:v>2029E</c:v>
                </c:pt>
                <c:pt idx="5">
                  <c:v>2030E</c:v>
                </c:pt>
                <c:pt idx="6">
                  <c:v>2031E</c:v>
                </c:pt>
                <c:pt idx="7">
                  <c:v>2032E</c:v>
                </c:pt>
                <c:pt idx="8">
                  <c:v>2033E</c:v>
                </c:pt>
                <c:pt idx="9">
                  <c:v>2034E</c:v>
                </c:pt>
              </c:strCache>
            </c:strRef>
          </c:cat>
          <c:val>
            <c:numRef>
              <c:f>Graphs!$F$46:$O$46</c:f>
              <c:numCache>
                <c:formatCode>#,##0_);\(#,##0\)</c:formatCode>
                <c:ptCount val="10"/>
                <c:pt idx="0">
                  <c:v>77.800000000000011</c:v>
                </c:pt>
                <c:pt idx="1">
                  <c:v>70.02000000000001</c:v>
                </c:pt>
                <c:pt idx="2">
                  <c:v>63.018000000000008</c:v>
                </c:pt>
                <c:pt idx="3">
                  <c:v>56.716200000000008</c:v>
                </c:pt>
                <c:pt idx="4">
                  <c:v>51.044580000000003</c:v>
                </c:pt>
                <c:pt idx="5">
                  <c:v>45.940122000000002</c:v>
                </c:pt>
                <c:pt idx="6">
                  <c:v>41.346109800000001</c:v>
                </c:pt>
                <c:pt idx="7">
                  <c:v>37.211498819999996</c:v>
                </c:pt>
                <c:pt idx="8">
                  <c:v>33.490348938000004</c:v>
                </c:pt>
                <c:pt idx="9">
                  <c:v>30.141314044200001</c:v>
                </c:pt>
              </c:numCache>
            </c:numRef>
          </c:val>
          <c:extLst>
            <c:ext xmlns:c16="http://schemas.microsoft.com/office/drawing/2014/chart" uri="{C3380CC4-5D6E-409C-BE32-E72D297353CC}">
              <c16:uniqueId val="{00000000-DBA7-1445-97D0-A2BAA9D32EFA}"/>
            </c:ext>
          </c:extLst>
        </c:ser>
        <c:ser>
          <c:idx val="1"/>
          <c:order val="1"/>
          <c:tx>
            <c:strRef>
              <c:f>Graphs!$E$47</c:f>
              <c:strCache>
                <c:ptCount val="1"/>
                <c:pt idx="0">
                  <c:v>SG&amp;A Savings (usd mm)</c:v>
                </c:pt>
              </c:strCache>
            </c:strRef>
          </c:tx>
          <c:spPr>
            <a:solidFill>
              <a:srgbClr val="102C2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F$45:$O$45</c:f>
              <c:strCache>
                <c:ptCount val="10"/>
                <c:pt idx="0">
                  <c:v>2025E</c:v>
                </c:pt>
                <c:pt idx="1">
                  <c:v>2026E</c:v>
                </c:pt>
                <c:pt idx="2">
                  <c:v>2027E</c:v>
                </c:pt>
                <c:pt idx="3">
                  <c:v>2028E</c:v>
                </c:pt>
                <c:pt idx="4">
                  <c:v>2029E</c:v>
                </c:pt>
                <c:pt idx="5">
                  <c:v>2030E</c:v>
                </c:pt>
                <c:pt idx="6">
                  <c:v>2031E</c:v>
                </c:pt>
                <c:pt idx="7">
                  <c:v>2032E</c:v>
                </c:pt>
                <c:pt idx="8">
                  <c:v>2033E</c:v>
                </c:pt>
                <c:pt idx="9">
                  <c:v>2034E</c:v>
                </c:pt>
              </c:strCache>
            </c:strRef>
          </c:cat>
          <c:val>
            <c:numRef>
              <c:f>Graphs!$F$47:$O$47</c:f>
              <c:numCache>
                <c:formatCode>"$"#,##0.0</c:formatCode>
                <c:ptCount val="10"/>
                <c:pt idx="0">
                  <c:v>17.064224846181688</c:v>
                </c:pt>
                <c:pt idx="1">
                  <c:v>18.73977564739414</c:v>
                </c:pt>
                <c:pt idx="2">
                  <c:v>20.608758593098536</c:v>
                </c:pt>
                <c:pt idx="3">
                  <c:v>22.694792291658288</c:v>
                </c:pt>
                <c:pt idx="4">
                  <c:v>24.256769042504558</c:v>
                </c:pt>
                <c:pt idx="5">
                  <c:v>25.93482770128151</c:v>
                </c:pt>
                <c:pt idx="6">
                  <c:v>27.466274387613563</c:v>
                </c:pt>
                <c:pt idx="7">
                  <c:v>29.125670204149881</c:v>
                </c:pt>
                <c:pt idx="8">
                  <c:v>29.878805124731116</c:v>
                </c:pt>
                <c:pt idx="9">
                  <c:v>30.660962402898328</c:v>
                </c:pt>
              </c:numCache>
            </c:numRef>
          </c:val>
          <c:extLst>
            <c:ext xmlns:c16="http://schemas.microsoft.com/office/drawing/2014/chart" uri="{C3380CC4-5D6E-409C-BE32-E72D297353CC}">
              <c16:uniqueId val="{00000001-DBA7-1445-97D0-A2BAA9D32EFA}"/>
            </c:ext>
          </c:extLst>
        </c:ser>
        <c:dLbls>
          <c:showLegendKey val="0"/>
          <c:showVal val="0"/>
          <c:showCatName val="0"/>
          <c:showSerName val="0"/>
          <c:showPercent val="0"/>
          <c:showBubbleSize val="0"/>
        </c:dLbls>
        <c:gapWidth val="45"/>
        <c:overlap val="-27"/>
        <c:axId val="195162208"/>
        <c:axId val="195143024"/>
      </c:barChart>
      <c:catAx>
        <c:axId val="19516220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9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195143024"/>
        <c:crosses val="autoZero"/>
        <c:auto val="1"/>
        <c:lblAlgn val="ctr"/>
        <c:lblOffset val="100"/>
        <c:noMultiLvlLbl val="0"/>
      </c:catAx>
      <c:valAx>
        <c:axId val="195143024"/>
        <c:scaling>
          <c:orientation val="minMax"/>
        </c:scaling>
        <c:delete val="1"/>
        <c:axPos val="l"/>
        <c:numFmt formatCode="#,##0_);\(#,##0\)" sourceLinked="1"/>
        <c:majorTickMark val="none"/>
        <c:minorTickMark val="none"/>
        <c:tickLblPos val="nextTo"/>
        <c:crossAx val="1951622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raphs!$E$49</c:f>
              <c:strCache>
                <c:ptCount val="1"/>
                <c:pt idx="0">
                  <c:v>Merged Firm R&amp;D Synergies (usd mm)</c:v>
                </c:pt>
              </c:strCache>
            </c:strRef>
          </c:tx>
          <c:spPr>
            <a:pattFill prst="ltUpDiag">
              <a:fgClr>
                <a:schemeClr val="tx2"/>
              </a:fgClr>
              <a:bgClr>
                <a:schemeClr val="accent3"/>
              </a:bgClr>
            </a:pattFill>
            <a:ln>
              <a:solidFill>
                <a:srgbClr val="102C23"/>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F$48:$O$48</c:f>
              <c:strCache>
                <c:ptCount val="10"/>
                <c:pt idx="0">
                  <c:v>2025E</c:v>
                </c:pt>
                <c:pt idx="1">
                  <c:v>2026E</c:v>
                </c:pt>
                <c:pt idx="2">
                  <c:v>2027E</c:v>
                </c:pt>
                <c:pt idx="3">
                  <c:v>2028E</c:v>
                </c:pt>
                <c:pt idx="4">
                  <c:v>2029E</c:v>
                </c:pt>
                <c:pt idx="5">
                  <c:v>2030E</c:v>
                </c:pt>
                <c:pt idx="6">
                  <c:v>2031E</c:v>
                </c:pt>
                <c:pt idx="7">
                  <c:v>2032E</c:v>
                </c:pt>
                <c:pt idx="8">
                  <c:v>2033E</c:v>
                </c:pt>
                <c:pt idx="9">
                  <c:v>2034E</c:v>
                </c:pt>
              </c:strCache>
            </c:strRef>
          </c:cat>
          <c:val>
            <c:numRef>
              <c:f>Graphs!$F$49:$O$49</c:f>
              <c:numCache>
                <c:formatCode>#,##0.0_);\(#,##0.0\)</c:formatCode>
                <c:ptCount val="10"/>
                <c:pt idx="0">
                  <c:v>81.234562499999811</c:v>
                </c:pt>
                <c:pt idx="1">
                  <c:v>93.419746874999873</c:v>
                </c:pt>
                <c:pt idx="2">
                  <c:v>107.4327089062499</c:v>
                </c:pt>
                <c:pt idx="3">
                  <c:v>123.54761524218793</c:v>
                </c:pt>
                <c:pt idx="4">
                  <c:v>142.07975752851598</c:v>
                </c:pt>
                <c:pt idx="5">
                  <c:v>163.39172115779365</c:v>
                </c:pt>
                <c:pt idx="6">
                  <c:v>179.73089327357047</c:v>
                </c:pt>
                <c:pt idx="7">
                  <c:v>197.7039826009277</c:v>
                </c:pt>
                <c:pt idx="8">
                  <c:v>217.47438086102193</c:v>
                </c:pt>
                <c:pt idx="9">
                  <c:v>239.22181894712412</c:v>
                </c:pt>
              </c:numCache>
            </c:numRef>
          </c:val>
          <c:extLst>
            <c:ext xmlns:c16="http://schemas.microsoft.com/office/drawing/2014/chart" uri="{C3380CC4-5D6E-409C-BE32-E72D297353CC}">
              <c16:uniqueId val="{00000000-7E8E-BC4D-AEC4-DB6956C98257}"/>
            </c:ext>
          </c:extLst>
        </c:ser>
        <c:dLbls>
          <c:showLegendKey val="0"/>
          <c:showVal val="0"/>
          <c:showCatName val="0"/>
          <c:showSerName val="0"/>
          <c:showPercent val="0"/>
          <c:showBubbleSize val="0"/>
        </c:dLbls>
        <c:gapWidth val="69"/>
        <c:overlap val="-27"/>
        <c:axId val="107693024"/>
        <c:axId val="1153266576"/>
      </c:barChart>
      <c:catAx>
        <c:axId val="10769302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9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1153266576"/>
        <c:crosses val="autoZero"/>
        <c:auto val="1"/>
        <c:lblAlgn val="ctr"/>
        <c:lblOffset val="100"/>
        <c:noMultiLvlLbl val="0"/>
      </c:catAx>
      <c:valAx>
        <c:axId val="1153266576"/>
        <c:scaling>
          <c:orientation val="minMax"/>
          <c:min val="50"/>
        </c:scaling>
        <c:delete val="0"/>
        <c:axPos val="l"/>
        <c:numFmt formatCode="#,##0.0_);\(#,##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107693024"/>
        <c:crosses val="autoZero"/>
        <c:crossBetween val="between"/>
        <c:majorUnit val="7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raphs!$E$40</c:f>
              <c:strCache>
                <c:ptCount val="1"/>
                <c:pt idx="0">
                  <c:v>SHOP EPS</c:v>
                </c:pt>
              </c:strCache>
            </c:strRef>
          </c:tx>
          <c:spPr>
            <a:solidFill>
              <a:srgbClr val="102C23"/>
            </a:solidFill>
            <a:ln>
              <a:noFill/>
            </a:ln>
            <a:effectLst/>
          </c:spPr>
          <c:invertIfNegative val="0"/>
          <c:dLbls>
            <c:spPr>
              <a:noFill/>
              <a:ln>
                <a:noFill/>
              </a:ln>
              <a:effectLst/>
            </c:spPr>
            <c:txPr>
              <a:bodyPr rot="0" spcFirstLastPara="1" vertOverflow="ellipsis" horzOverflow="clip" vert="horz" wrap="square" lIns="38100" tIns="0" rIns="13716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Graphs!$F$39:$O$39</c:f>
              <c:strCache>
                <c:ptCount val="10"/>
                <c:pt idx="0">
                  <c:v>2025E</c:v>
                </c:pt>
                <c:pt idx="1">
                  <c:v>2026E</c:v>
                </c:pt>
                <c:pt idx="2">
                  <c:v>2027E</c:v>
                </c:pt>
                <c:pt idx="3">
                  <c:v>2028E</c:v>
                </c:pt>
                <c:pt idx="4">
                  <c:v>2029E</c:v>
                </c:pt>
                <c:pt idx="5">
                  <c:v>2030E</c:v>
                </c:pt>
                <c:pt idx="6">
                  <c:v>2031E</c:v>
                </c:pt>
                <c:pt idx="7">
                  <c:v>2032E</c:v>
                </c:pt>
                <c:pt idx="8">
                  <c:v>2033E</c:v>
                </c:pt>
                <c:pt idx="9">
                  <c:v>2034E</c:v>
                </c:pt>
              </c:strCache>
            </c:strRef>
          </c:cat>
          <c:val>
            <c:numRef>
              <c:f>Graphs!$F$40:$O$40</c:f>
              <c:numCache>
                <c:formatCode>"$"#,##0.00</c:formatCode>
                <c:ptCount val="10"/>
                <c:pt idx="0">
                  <c:v>0.59528225806451618</c:v>
                </c:pt>
                <c:pt idx="1">
                  <c:v>0.74046872492146831</c:v>
                </c:pt>
                <c:pt idx="2">
                  <c:v>0.92558590615183534</c:v>
                </c:pt>
                <c:pt idx="3">
                  <c:v>1.1569823826897943</c:v>
                </c:pt>
                <c:pt idx="4">
                  <c:v>1.3883788592277531</c:v>
                </c:pt>
                <c:pt idx="5">
                  <c:v>1.6660546310733038</c:v>
                </c:pt>
                <c:pt idx="6">
                  <c:v>1.9992655572879643</c:v>
                </c:pt>
                <c:pt idx="7">
                  <c:v>2.3991186687455572</c:v>
                </c:pt>
                <c:pt idx="8">
                  <c:v>2.7589864690573935</c:v>
                </c:pt>
                <c:pt idx="9">
                  <c:v>3.1728344394159986</c:v>
                </c:pt>
              </c:numCache>
            </c:numRef>
          </c:val>
          <c:extLst>
            <c:ext xmlns:c16="http://schemas.microsoft.com/office/drawing/2014/chart" uri="{C3380CC4-5D6E-409C-BE32-E72D297353CC}">
              <c16:uniqueId val="{00000000-8C60-9641-BEF1-AA0C73891727}"/>
            </c:ext>
          </c:extLst>
        </c:ser>
        <c:ser>
          <c:idx val="1"/>
          <c:order val="1"/>
          <c:tx>
            <c:strRef>
              <c:f>Graphs!$E$41</c:f>
              <c:strCache>
                <c:ptCount val="1"/>
                <c:pt idx="0">
                  <c:v>APP EPS</c:v>
                </c:pt>
              </c:strCache>
            </c:strRef>
          </c:tx>
          <c:spPr>
            <a:solidFill>
              <a:srgbClr val="D8FAE5"/>
            </a:solidFill>
            <a:ln>
              <a:solidFill>
                <a:srgbClr val="102C23"/>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F$39:$O$39</c:f>
              <c:strCache>
                <c:ptCount val="10"/>
                <c:pt idx="0">
                  <c:v>2025E</c:v>
                </c:pt>
                <c:pt idx="1">
                  <c:v>2026E</c:v>
                </c:pt>
                <c:pt idx="2">
                  <c:v>2027E</c:v>
                </c:pt>
                <c:pt idx="3">
                  <c:v>2028E</c:v>
                </c:pt>
                <c:pt idx="4">
                  <c:v>2029E</c:v>
                </c:pt>
                <c:pt idx="5">
                  <c:v>2030E</c:v>
                </c:pt>
                <c:pt idx="6">
                  <c:v>2031E</c:v>
                </c:pt>
                <c:pt idx="7">
                  <c:v>2032E</c:v>
                </c:pt>
                <c:pt idx="8">
                  <c:v>2033E</c:v>
                </c:pt>
                <c:pt idx="9">
                  <c:v>2034E</c:v>
                </c:pt>
              </c:strCache>
            </c:strRef>
          </c:cat>
          <c:val>
            <c:numRef>
              <c:f>Graphs!$F$41:$O$41</c:f>
              <c:numCache>
                <c:formatCode>"$"#,##0.00</c:formatCode>
                <c:ptCount val="10"/>
                <c:pt idx="0">
                  <c:v>4.5998509475379459</c:v>
                </c:pt>
                <c:pt idx="1">
                  <c:v>5.2898285896686383</c:v>
                </c:pt>
                <c:pt idx="2">
                  <c:v>6.0833028781189329</c:v>
                </c:pt>
                <c:pt idx="3">
                  <c:v>6.995798309836772</c:v>
                </c:pt>
                <c:pt idx="4">
                  <c:v>8.0451680563122867</c:v>
                </c:pt>
                <c:pt idx="5">
                  <c:v>9.2519432647591291</c:v>
                </c:pt>
                <c:pt idx="6">
                  <c:v>10.177137591235041</c:v>
                </c:pt>
                <c:pt idx="7">
                  <c:v>11.194851350358549</c:v>
                </c:pt>
                <c:pt idx="8">
                  <c:v>12.314336485394403</c:v>
                </c:pt>
                <c:pt idx="9">
                  <c:v>13.545770133933845</c:v>
                </c:pt>
              </c:numCache>
            </c:numRef>
          </c:val>
          <c:extLst>
            <c:ext xmlns:c16="http://schemas.microsoft.com/office/drawing/2014/chart" uri="{C3380CC4-5D6E-409C-BE32-E72D297353CC}">
              <c16:uniqueId val="{00000001-8C60-9641-BEF1-AA0C73891727}"/>
            </c:ext>
          </c:extLst>
        </c:ser>
        <c:dLbls>
          <c:showLegendKey val="0"/>
          <c:showVal val="0"/>
          <c:showCatName val="0"/>
          <c:showSerName val="0"/>
          <c:showPercent val="0"/>
          <c:showBubbleSize val="0"/>
        </c:dLbls>
        <c:gapWidth val="45"/>
        <c:overlap val="-27"/>
        <c:axId val="1153238944"/>
        <c:axId val="1215487424"/>
      </c:barChart>
      <c:catAx>
        <c:axId val="115323894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15487424"/>
        <c:crosses val="autoZero"/>
        <c:auto val="1"/>
        <c:lblAlgn val="ctr"/>
        <c:lblOffset val="100"/>
        <c:noMultiLvlLbl val="0"/>
      </c:catAx>
      <c:valAx>
        <c:axId val="1215487424"/>
        <c:scaling>
          <c:orientation val="minMax"/>
          <c:min val="0.5"/>
        </c:scaling>
        <c:delete val="0"/>
        <c:axPos val="l"/>
        <c:numFmt formatCode="&quot;$&quot;#,##0.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153238944"/>
        <c:crosses val="autoZero"/>
        <c:crossBetween val="between"/>
        <c:majorUnit val="4"/>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D8FAE5"/>
            </a:solidFill>
            <a:ln>
              <a:solidFill>
                <a:srgbClr val="102C23"/>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ll Merger 3SM'!$S$103:$AB$103</c:f>
              <c:strCache>
                <c:ptCount val="10"/>
                <c:pt idx="0">
                  <c:v>2025E</c:v>
                </c:pt>
                <c:pt idx="1">
                  <c:v>2026E</c:v>
                </c:pt>
                <c:pt idx="2">
                  <c:v>2027E</c:v>
                </c:pt>
                <c:pt idx="3">
                  <c:v>2028E</c:v>
                </c:pt>
                <c:pt idx="4">
                  <c:v>2029E</c:v>
                </c:pt>
                <c:pt idx="5">
                  <c:v>2030E</c:v>
                </c:pt>
                <c:pt idx="6">
                  <c:v>2031E</c:v>
                </c:pt>
                <c:pt idx="7">
                  <c:v>2032E</c:v>
                </c:pt>
                <c:pt idx="8">
                  <c:v>2033E</c:v>
                </c:pt>
                <c:pt idx="9">
                  <c:v>2034E</c:v>
                </c:pt>
              </c:strCache>
            </c:strRef>
          </c:cat>
          <c:val>
            <c:numRef>
              <c:f>'Full Merger 3SM'!$S$104:$AB$104</c:f>
              <c:numCache>
                <c:formatCode>"$"#,##0.00</c:formatCode>
                <c:ptCount val="10"/>
                <c:pt idx="0">
                  <c:v>3.2035722352051987</c:v>
                </c:pt>
                <c:pt idx="1">
                  <c:v>4.3269506889290392</c:v>
                </c:pt>
                <c:pt idx="2">
                  <c:v>5.3912579466387296</c:v>
                </c:pt>
                <c:pt idx="3">
                  <c:v>6.5411876866284047</c:v>
                </c:pt>
                <c:pt idx="4">
                  <c:v>7.7721501001025173</c:v>
                </c:pt>
                <c:pt idx="5">
                  <c:v>9.1060652471472334</c:v>
                </c:pt>
                <c:pt idx="6">
                  <c:v>10.67170439209632</c:v>
                </c:pt>
                <c:pt idx="7">
                  <c:v>12.218178485276399</c:v>
                </c:pt>
                <c:pt idx="8">
                  <c:v>13.399241821574629</c:v>
                </c:pt>
                <c:pt idx="9">
                  <c:v>14.192051477484306</c:v>
                </c:pt>
              </c:numCache>
            </c:numRef>
          </c:val>
          <c:extLst>
            <c:ext xmlns:c16="http://schemas.microsoft.com/office/drawing/2014/chart" uri="{C3380CC4-5D6E-409C-BE32-E72D297353CC}">
              <c16:uniqueId val="{00000000-EEEC-7E43-8A8E-6750F0FAE8F5}"/>
            </c:ext>
          </c:extLst>
        </c:ser>
        <c:dLbls>
          <c:showLegendKey val="0"/>
          <c:showVal val="0"/>
          <c:showCatName val="0"/>
          <c:showSerName val="0"/>
          <c:showPercent val="0"/>
          <c:showBubbleSize val="0"/>
        </c:dLbls>
        <c:gapWidth val="219"/>
        <c:overlap val="-27"/>
        <c:axId val="1860035312"/>
        <c:axId val="1859479408"/>
      </c:barChart>
      <c:catAx>
        <c:axId val="186003531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859479408"/>
        <c:crosses val="autoZero"/>
        <c:auto val="1"/>
        <c:lblAlgn val="ctr"/>
        <c:lblOffset val="100"/>
        <c:noMultiLvlLbl val="0"/>
      </c:catAx>
      <c:valAx>
        <c:axId val="1859479408"/>
        <c:scaling>
          <c:orientation val="minMax"/>
          <c:max val="15"/>
          <c:min val="2"/>
        </c:scaling>
        <c:delete val="0"/>
        <c:axPos val="l"/>
        <c:numFmt formatCode="&quot;$&quot;#,##0.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860035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102C23"/>
            </a:solidFill>
            <a:ln>
              <a:noFill/>
            </a:ln>
            <a:effectLst/>
          </c:spPr>
          <c:invertIfNegative val="0"/>
          <c:dPt>
            <c:idx val="16"/>
            <c:invertIfNegative val="0"/>
            <c:bubble3D val="0"/>
            <c:spPr>
              <a:solidFill>
                <a:srgbClr val="D8FAE5"/>
              </a:solidFill>
              <a:ln>
                <a:solidFill>
                  <a:srgbClr val="102C23"/>
                </a:solidFill>
              </a:ln>
              <a:effectLst/>
            </c:spPr>
            <c:extLst>
              <c:ext xmlns:c16="http://schemas.microsoft.com/office/drawing/2014/chart" uri="{C3380CC4-5D6E-409C-BE32-E72D297353CC}">
                <c16:uniqueId val="{00000001-6A0B-6142-B1F4-0A6914626003}"/>
              </c:ext>
            </c:extLst>
          </c:dPt>
          <c:dLbls>
            <c:dLbl>
              <c:idx val="16"/>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A0B-6142-B1F4-0A691462600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 NLP and Holders'!$T$66:$T$82</c:f>
              <c:strCache>
                <c:ptCount val="17"/>
                <c:pt idx="0">
                  <c:v>2021</c:v>
                </c:pt>
                <c:pt idx="1">
                  <c:v>2021</c:v>
                </c:pt>
                <c:pt idx="2">
                  <c:v>2021</c:v>
                </c:pt>
                <c:pt idx="3">
                  <c:v>2021</c:v>
                </c:pt>
                <c:pt idx="4">
                  <c:v>2022</c:v>
                </c:pt>
                <c:pt idx="5">
                  <c:v>2022</c:v>
                </c:pt>
                <c:pt idx="6">
                  <c:v>2022</c:v>
                </c:pt>
                <c:pt idx="7">
                  <c:v>2022</c:v>
                </c:pt>
                <c:pt idx="8">
                  <c:v>2023</c:v>
                </c:pt>
                <c:pt idx="9">
                  <c:v>2023</c:v>
                </c:pt>
                <c:pt idx="10">
                  <c:v>2023</c:v>
                </c:pt>
                <c:pt idx="11">
                  <c:v>2023</c:v>
                </c:pt>
                <c:pt idx="12">
                  <c:v>2024</c:v>
                </c:pt>
                <c:pt idx="13">
                  <c:v>2024</c:v>
                </c:pt>
                <c:pt idx="14">
                  <c:v>2024</c:v>
                </c:pt>
                <c:pt idx="15">
                  <c:v>2024</c:v>
                </c:pt>
                <c:pt idx="16">
                  <c:v>Latest</c:v>
                </c:pt>
              </c:strCache>
            </c:strRef>
          </c:cat>
          <c:val>
            <c:numRef>
              <c:f>' NLP and Holders'!$U$66:$U$82</c:f>
              <c:numCache>
                <c:formatCode>#,##0_);\(#,##0\)</c:formatCode>
                <c:ptCount val="17"/>
                <c:pt idx="0">
                  <c:v>73.957661999999999</c:v>
                </c:pt>
                <c:pt idx="1">
                  <c:v>88.135887999999994</c:v>
                </c:pt>
                <c:pt idx="2">
                  <c:v>87.956385999999995</c:v>
                </c:pt>
                <c:pt idx="3">
                  <c:v>82.703153</c:v>
                </c:pt>
                <c:pt idx="4">
                  <c:v>82.703153</c:v>
                </c:pt>
                <c:pt idx="5">
                  <c:v>82.703153</c:v>
                </c:pt>
                <c:pt idx="6">
                  <c:v>82.703153</c:v>
                </c:pt>
                <c:pt idx="7">
                  <c:v>76.894700999999998</c:v>
                </c:pt>
                <c:pt idx="8">
                  <c:v>77.052989999999994</c:v>
                </c:pt>
                <c:pt idx="9">
                  <c:v>76.965935000000002</c:v>
                </c:pt>
                <c:pt idx="10">
                  <c:v>77.044225000000012</c:v>
                </c:pt>
                <c:pt idx="11">
                  <c:v>66.417203999999998</c:v>
                </c:pt>
                <c:pt idx="12">
                  <c:v>64.668756999999999</c:v>
                </c:pt>
                <c:pt idx="13">
                  <c:v>68.946591999999995</c:v>
                </c:pt>
                <c:pt idx="14">
                  <c:v>60.005553000000006</c:v>
                </c:pt>
                <c:pt idx="15">
                  <c:v>60.556045999999995</c:v>
                </c:pt>
                <c:pt idx="16">
                  <c:v>60.467757000000006</c:v>
                </c:pt>
              </c:numCache>
            </c:numRef>
          </c:val>
          <c:extLst>
            <c:ext xmlns:c16="http://schemas.microsoft.com/office/drawing/2014/chart" uri="{C3380CC4-5D6E-409C-BE32-E72D297353CC}">
              <c16:uniqueId val="{00000000-048E-774A-A426-A25FA7DF6CD8}"/>
            </c:ext>
          </c:extLst>
        </c:ser>
        <c:dLbls>
          <c:showLegendKey val="0"/>
          <c:showVal val="0"/>
          <c:showCatName val="0"/>
          <c:showSerName val="0"/>
          <c:showPercent val="0"/>
          <c:showBubbleSize val="0"/>
        </c:dLbls>
        <c:gapWidth val="219"/>
        <c:overlap val="-27"/>
        <c:axId val="727101823"/>
        <c:axId val="2067542896"/>
      </c:barChart>
      <c:catAx>
        <c:axId val="727101823"/>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067542896"/>
        <c:crosses val="autoZero"/>
        <c:auto val="1"/>
        <c:lblAlgn val="ctr"/>
        <c:lblOffset val="100"/>
        <c:noMultiLvlLbl val="0"/>
      </c:catAx>
      <c:valAx>
        <c:axId val="2067542896"/>
        <c:scaling>
          <c:orientation val="minMax"/>
          <c:max val="95"/>
          <c:min val="20"/>
        </c:scaling>
        <c:delete val="0"/>
        <c:axPos val="l"/>
        <c:numFmt formatCode="#,##0_);\(#,##0\)" sourceLinked="1"/>
        <c:majorTickMark val="out"/>
        <c:minorTickMark val="none"/>
        <c:tickLblPos val="nextTo"/>
        <c:spPr>
          <a:noFill/>
          <a:ln>
            <a:solidFill>
              <a:srgbClr val="102C23"/>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271018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102C23"/>
            </a:solidFill>
            <a:ln>
              <a:noFill/>
            </a:ln>
            <a:effectLst/>
          </c:spPr>
          <c:invertIfNegative val="0"/>
          <c:dPt>
            <c:idx val="16"/>
            <c:invertIfNegative val="0"/>
            <c:bubble3D val="0"/>
            <c:spPr>
              <a:solidFill>
                <a:srgbClr val="D8FBE5"/>
              </a:solidFill>
              <a:ln>
                <a:solidFill>
                  <a:srgbClr val="102C23"/>
                </a:solidFill>
              </a:ln>
              <a:effectLst/>
            </c:spPr>
            <c:extLst>
              <c:ext xmlns:c16="http://schemas.microsoft.com/office/drawing/2014/chart" uri="{C3380CC4-5D6E-409C-BE32-E72D297353CC}">
                <c16:uniqueId val="{00000001-A0B6-314C-9771-D48D8CC5ECC2}"/>
              </c:ext>
            </c:extLst>
          </c:dPt>
          <c:dLbls>
            <c:dLbl>
              <c:idx val="16"/>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B6-314C-9771-D48D8CC5ECC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 NLP and Holders'!$T$5:$T$21</c:f>
              <c:strCache>
                <c:ptCount val="17"/>
                <c:pt idx="0">
                  <c:v>2021</c:v>
                </c:pt>
                <c:pt idx="1">
                  <c:v>2021</c:v>
                </c:pt>
                <c:pt idx="2">
                  <c:v>2021</c:v>
                </c:pt>
                <c:pt idx="3">
                  <c:v>2021</c:v>
                </c:pt>
                <c:pt idx="4">
                  <c:v>2022</c:v>
                </c:pt>
                <c:pt idx="5">
                  <c:v>2022</c:v>
                </c:pt>
                <c:pt idx="6">
                  <c:v>2022</c:v>
                </c:pt>
                <c:pt idx="7">
                  <c:v>2022</c:v>
                </c:pt>
                <c:pt idx="8">
                  <c:v>2023</c:v>
                </c:pt>
                <c:pt idx="9">
                  <c:v>2023</c:v>
                </c:pt>
                <c:pt idx="10">
                  <c:v>2023</c:v>
                </c:pt>
                <c:pt idx="11">
                  <c:v>2023</c:v>
                </c:pt>
                <c:pt idx="12">
                  <c:v>2024</c:v>
                </c:pt>
                <c:pt idx="13">
                  <c:v>2024</c:v>
                </c:pt>
                <c:pt idx="14">
                  <c:v>2024</c:v>
                </c:pt>
                <c:pt idx="15">
                  <c:v>2024</c:v>
                </c:pt>
                <c:pt idx="16">
                  <c:v>Latest</c:v>
                </c:pt>
              </c:strCache>
            </c:strRef>
          </c:cat>
          <c:val>
            <c:numRef>
              <c:f>' NLP and Holders'!$U$5:$U$21</c:f>
              <c:numCache>
                <c:formatCode>#,##0_);\(#,##0\)</c:formatCode>
                <c:ptCount val="17"/>
                <c:pt idx="0">
                  <c:v>27.936907000000001</c:v>
                </c:pt>
                <c:pt idx="1">
                  <c:v>37.571074000000003</c:v>
                </c:pt>
                <c:pt idx="2">
                  <c:v>37.571074000000003</c:v>
                </c:pt>
                <c:pt idx="3">
                  <c:v>37.571074000000003</c:v>
                </c:pt>
                <c:pt idx="4">
                  <c:v>37.571074000000003</c:v>
                </c:pt>
                <c:pt idx="5">
                  <c:v>37.571074000000003</c:v>
                </c:pt>
                <c:pt idx="6">
                  <c:v>37.571074000000003</c:v>
                </c:pt>
                <c:pt idx="7">
                  <c:v>35.429074</c:v>
                </c:pt>
                <c:pt idx="8">
                  <c:v>35.587363000000003</c:v>
                </c:pt>
                <c:pt idx="9">
                  <c:v>35.500307999999997</c:v>
                </c:pt>
                <c:pt idx="10">
                  <c:v>35.578598</c:v>
                </c:pt>
                <c:pt idx="11">
                  <c:v>35.656888000000002</c:v>
                </c:pt>
                <c:pt idx="12">
                  <c:v>33.908441000000003</c:v>
                </c:pt>
                <c:pt idx="13">
                  <c:v>38.186275999999999</c:v>
                </c:pt>
                <c:pt idx="14">
                  <c:v>35.702195000000003</c:v>
                </c:pt>
                <c:pt idx="15">
                  <c:v>36.252687999999999</c:v>
                </c:pt>
                <c:pt idx="16">
                  <c:v>36.164399000000003</c:v>
                </c:pt>
              </c:numCache>
            </c:numRef>
          </c:val>
          <c:extLst>
            <c:ext xmlns:c16="http://schemas.microsoft.com/office/drawing/2014/chart" uri="{C3380CC4-5D6E-409C-BE32-E72D297353CC}">
              <c16:uniqueId val="{00000002-A0B6-314C-9771-D48D8CC5ECC2}"/>
            </c:ext>
          </c:extLst>
        </c:ser>
        <c:dLbls>
          <c:showLegendKey val="0"/>
          <c:showVal val="0"/>
          <c:showCatName val="0"/>
          <c:showSerName val="0"/>
          <c:showPercent val="0"/>
          <c:showBubbleSize val="0"/>
        </c:dLbls>
        <c:gapWidth val="75"/>
        <c:overlap val="-27"/>
        <c:axId val="126756095"/>
        <c:axId val="126757807"/>
      </c:barChart>
      <c:catAx>
        <c:axId val="126756095"/>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6757807"/>
        <c:crosses val="autoZero"/>
        <c:auto val="1"/>
        <c:lblAlgn val="ctr"/>
        <c:lblOffset val="100"/>
        <c:noMultiLvlLbl val="0"/>
      </c:catAx>
      <c:valAx>
        <c:axId val="126757807"/>
        <c:scaling>
          <c:orientation val="minMax"/>
          <c:min val="5"/>
        </c:scaling>
        <c:delete val="0"/>
        <c:axPos val="l"/>
        <c:numFmt formatCode="#,##0_);\(#,##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675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rgbClr val="102C23"/>
              </a:solidFill>
              <a:round/>
            </a:ln>
            <a:effectLst/>
          </c:spPr>
          <c:marker>
            <c:symbol val="none"/>
          </c:marker>
          <c:cat>
            <c:numRef>
              <c:f>'APP 1Y Share Price'!$A$2:$A$253</c:f>
              <c:numCache>
                <c:formatCode>[$-409]mmm\-dd\-yyyy;@</c:formatCode>
                <c:ptCount val="252"/>
                <c:pt idx="0">
                  <c:v>45383</c:v>
                </c:pt>
                <c:pt idx="1">
                  <c:v>45384</c:v>
                </c:pt>
                <c:pt idx="2">
                  <c:v>45385</c:v>
                </c:pt>
                <c:pt idx="3">
                  <c:v>45386</c:v>
                </c:pt>
                <c:pt idx="4">
                  <c:v>45387</c:v>
                </c:pt>
                <c:pt idx="5">
                  <c:v>45390</c:v>
                </c:pt>
                <c:pt idx="6">
                  <c:v>45391</c:v>
                </c:pt>
                <c:pt idx="7">
                  <c:v>45392</c:v>
                </c:pt>
                <c:pt idx="8">
                  <c:v>45393</c:v>
                </c:pt>
                <c:pt idx="9">
                  <c:v>45394</c:v>
                </c:pt>
                <c:pt idx="10">
                  <c:v>45397</c:v>
                </c:pt>
                <c:pt idx="11">
                  <c:v>45398</c:v>
                </c:pt>
                <c:pt idx="12">
                  <c:v>45399</c:v>
                </c:pt>
                <c:pt idx="13">
                  <c:v>45400</c:v>
                </c:pt>
                <c:pt idx="14">
                  <c:v>45401</c:v>
                </c:pt>
                <c:pt idx="15">
                  <c:v>45404</c:v>
                </c:pt>
                <c:pt idx="16">
                  <c:v>45405</c:v>
                </c:pt>
                <c:pt idx="17">
                  <c:v>45406</c:v>
                </c:pt>
                <c:pt idx="18">
                  <c:v>45407</c:v>
                </c:pt>
                <c:pt idx="19">
                  <c:v>45408</c:v>
                </c:pt>
                <c:pt idx="20">
                  <c:v>45411</c:v>
                </c:pt>
                <c:pt idx="21">
                  <c:v>45412</c:v>
                </c:pt>
                <c:pt idx="22">
                  <c:v>45413</c:v>
                </c:pt>
                <c:pt idx="23">
                  <c:v>45414</c:v>
                </c:pt>
                <c:pt idx="24">
                  <c:v>45415</c:v>
                </c:pt>
                <c:pt idx="25">
                  <c:v>45418</c:v>
                </c:pt>
                <c:pt idx="26">
                  <c:v>45419</c:v>
                </c:pt>
                <c:pt idx="27">
                  <c:v>45420</c:v>
                </c:pt>
                <c:pt idx="28">
                  <c:v>45421</c:v>
                </c:pt>
                <c:pt idx="29">
                  <c:v>45422</c:v>
                </c:pt>
                <c:pt idx="30">
                  <c:v>45425</c:v>
                </c:pt>
                <c:pt idx="31">
                  <c:v>45426</c:v>
                </c:pt>
                <c:pt idx="32">
                  <c:v>45427</c:v>
                </c:pt>
                <c:pt idx="33">
                  <c:v>45428</c:v>
                </c:pt>
                <c:pt idx="34">
                  <c:v>45429</c:v>
                </c:pt>
                <c:pt idx="35">
                  <c:v>45432</c:v>
                </c:pt>
                <c:pt idx="36">
                  <c:v>45433</c:v>
                </c:pt>
                <c:pt idx="37">
                  <c:v>45434</c:v>
                </c:pt>
                <c:pt idx="38">
                  <c:v>45435</c:v>
                </c:pt>
                <c:pt idx="39">
                  <c:v>45436</c:v>
                </c:pt>
                <c:pt idx="40">
                  <c:v>45440</c:v>
                </c:pt>
                <c:pt idx="41">
                  <c:v>45441</c:v>
                </c:pt>
                <c:pt idx="42">
                  <c:v>45442</c:v>
                </c:pt>
                <c:pt idx="43">
                  <c:v>45443</c:v>
                </c:pt>
                <c:pt idx="44">
                  <c:v>45446</c:v>
                </c:pt>
                <c:pt idx="45">
                  <c:v>45447</c:v>
                </c:pt>
                <c:pt idx="46">
                  <c:v>45448</c:v>
                </c:pt>
                <c:pt idx="47">
                  <c:v>45449</c:v>
                </c:pt>
                <c:pt idx="48">
                  <c:v>45450</c:v>
                </c:pt>
                <c:pt idx="49">
                  <c:v>45453</c:v>
                </c:pt>
                <c:pt idx="50">
                  <c:v>45454</c:v>
                </c:pt>
                <c:pt idx="51">
                  <c:v>45455</c:v>
                </c:pt>
                <c:pt idx="52">
                  <c:v>45456</c:v>
                </c:pt>
                <c:pt idx="53">
                  <c:v>45457</c:v>
                </c:pt>
                <c:pt idx="54">
                  <c:v>45460</c:v>
                </c:pt>
                <c:pt idx="55">
                  <c:v>45461</c:v>
                </c:pt>
                <c:pt idx="56">
                  <c:v>45463</c:v>
                </c:pt>
                <c:pt idx="57">
                  <c:v>45464</c:v>
                </c:pt>
                <c:pt idx="58">
                  <c:v>45467</c:v>
                </c:pt>
                <c:pt idx="59">
                  <c:v>45468</c:v>
                </c:pt>
                <c:pt idx="60">
                  <c:v>45469</c:v>
                </c:pt>
                <c:pt idx="61">
                  <c:v>45470</c:v>
                </c:pt>
                <c:pt idx="62">
                  <c:v>45471</c:v>
                </c:pt>
                <c:pt idx="63">
                  <c:v>45474</c:v>
                </c:pt>
                <c:pt idx="64">
                  <c:v>45475</c:v>
                </c:pt>
                <c:pt idx="65">
                  <c:v>45476</c:v>
                </c:pt>
                <c:pt idx="66">
                  <c:v>45478</c:v>
                </c:pt>
                <c:pt idx="67">
                  <c:v>45481</c:v>
                </c:pt>
                <c:pt idx="68">
                  <c:v>45482</c:v>
                </c:pt>
                <c:pt idx="69">
                  <c:v>45483</c:v>
                </c:pt>
                <c:pt idx="70">
                  <c:v>45484</c:v>
                </c:pt>
                <c:pt idx="71">
                  <c:v>45485</c:v>
                </c:pt>
                <c:pt idx="72">
                  <c:v>45488</c:v>
                </c:pt>
                <c:pt idx="73">
                  <c:v>45489</c:v>
                </c:pt>
                <c:pt idx="74">
                  <c:v>45490</c:v>
                </c:pt>
                <c:pt idx="75">
                  <c:v>45491</c:v>
                </c:pt>
                <c:pt idx="76">
                  <c:v>45492</c:v>
                </c:pt>
                <c:pt idx="77">
                  <c:v>45495</c:v>
                </c:pt>
                <c:pt idx="78">
                  <c:v>45496</c:v>
                </c:pt>
                <c:pt idx="79">
                  <c:v>45497</c:v>
                </c:pt>
                <c:pt idx="80">
                  <c:v>45498</c:v>
                </c:pt>
                <c:pt idx="81">
                  <c:v>45499</c:v>
                </c:pt>
                <c:pt idx="82">
                  <c:v>45502</c:v>
                </c:pt>
                <c:pt idx="83">
                  <c:v>45503</c:v>
                </c:pt>
                <c:pt idx="84">
                  <c:v>45504</c:v>
                </c:pt>
                <c:pt idx="85">
                  <c:v>45505</c:v>
                </c:pt>
                <c:pt idx="86">
                  <c:v>45506</c:v>
                </c:pt>
                <c:pt idx="87">
                  <c:v>45509</c:v>
                </c:pt>
                <c:pt idx="88">
                  <c:v>45510</c:v>
                </c:pt>
                <c:pt idx="89">
                  <c:v>45511</c:v>
                </c:pt>
                <c:pt idx="90">
                  <c:v>45512</c:v>
                </c:pt>
                <c:pt idx="91">
                  <c:v>45513</c:v>
                </c:pt>
                <c:pt idx="92">
                  <c:v>45516</c:v>
                </c:pt>
                <c:pt idx="93">
                  <c:v>45517</c:v>
                </c:pt>
                <c:pt idx="94">
                  <c:v>45518</c:v>
                </c:pt>
                <c:pt idx="95">
                  <c:v>45519</c:v>
                </c:pt>
                <c:pt idx="96">
                  <c:v>45520</c:v>
                </c:pt>
                <c:pt idx="97">
                  <c:v>45523</c:v>
                </c:pt>
                <c:pt idx="98">
                  <c:v>45524</c:v>
                </c:pt>
                <c:pt idx="99">
                  <c:v>45525</c:v>
                </c:pt>
                <c:pt idx="100">
                  <c:v>45526</c:v>
                </c:pt>
                <c:pt idx="101">
                  <c:v>45527</c:v>
                </c:pt>
                <c:pt idx="102">
                  <c:v>45530</c:v>
                </c:pt>
                <c:pt idx="103">
                  <c:v>45531</c:v>
                </c:pt>
                <c:pt idx="104">
                  <c:v>45532</c:v>
                </c:pt>
                <c:pt idx="105">
                  <c:v>45533</c:v>
                </c:pt>
                <c:pt idx="106">
                  <c:v>45534</c:v>
                </c:pt>
                <c:pt idx="107">
                  <c:v>45538</c:v>
                </c:pt>
                <c:pt idx="108">
                  <c:v>45539</c:v>
                </c:pt>
                <c:pt idx="109">
                  <c:v>45540</c:v>
                </c:pt>
                <c:pt idx="110">
                  <c:v>45541</c:v>
                </c:pt>
                <c:pt idx="111">
                  <c:v>45544</c:v>
                </c:pt>
                <c:pt idx="112">
                  <c:v>45545</c:v>
                </c:pt>
                <c:pt idx="113">
                  <c:v>45546</c:v>
                </c:pt>
                <c:pt idx="114">
                  <c:v>45547</c:v>
                </c:pt>
                <c:pt idx="115">
                  <c:v>45548</c:v>
                </c:pt>
                <c:pt idx="116">
                  <c:v>45551</c:v>
                </c:pt>
                <c:pt idx="117">
                  <c:v>45552</c:v>
                </c:pt>
                <c:pt idx="118">
                  <c:v>45553</c:v>
                </c:pt>
                <c:pt idx="119">
                  <c:v>45554</c:v>
                </c:pt>
                <c:pt idx="120">
                  <c:v>45555</c:v>
                </c:pt>
                <c:pt idx="121">
                  <c:v>45558</c:v>
                </c:pt>
                <c:pt idx="122">
                  <c:v>45559</c:v>
                </c:pt>
                <c:pt idx="123">
                  <c:v>45560</c:v>
                </c:pt>
                <c:pt idx="124">
                  <c:v>45561</c:v>
                </c:pt>
                <c:pt idx="125">
                  <c:v>45562</c:v>
                </c:pt>
                <c:pt idx="126">
                  <c:v>45565</c:v>
                </c:pt>
                <c:pt idx="127">
                  <c:v>45566</c:v>
                </c:pt>
                <c:pt idx="128">
                  <c:v>45567</c:v>
                </c:pt>
                <c:pt idx="129">
                  <c:v>45568</c:v>
                </c:pt>
                <c:pt idx="130">
                  <c:v>45569</c:v>
                </c:pt>
                <c:pt idx="131">
                  <c:v>45572</c:v>
                </c:pt>
                <c:pt idx="132">
                  <c:v>45573</c:v>
                </c:pt>
                <c:pt idx="133">
                  <c:v>45574</c:v>
                </c:pt>
                <c:pt idx="134">
                  <c:v>45575</c:v>
                </c:pt>
                <c:pt idx="135">
                  <c:v>45576</c:v>
                </c:pt>
                <c:pt idx="136">
                  <c:v>45579</c:v>
                </c:pt>
                <c:pt idx="137">
                  <c:v>45580</c:v>
                </c:pt>
                <c:pt idx="138">
                  <c:v>45581</c:v>
                </c:pt>
                <c:pt idx="139">
                  <c:v>45582</c:v>
                </c:pt>
                <c:pt idx="140">
                  <c:v>45583</c:v>
                </c:pt>
                <c:pt idx="141">
                  <c:v>45586</c:v>
                </c:pt>
                <c:pt idx="142">
                  <c:v>45587</c:v>
                </c:pt>
                <c:pt idx="143">
                  <c:v>45588</c:v>
                </c:pt>
                <c:pt idx="144">
                  <c:v>45589</c:v>
                </c:pt>
                <c:pt idx="145">
                  <c:v>45590</c:v>
                </c:pt>
                <c:pt idx="146">
                  <c:v>45593</c:v>
                </c:pt>
                <c:pt idx="147">
                  <c:v>45594</c:v>
                </c:pt>
                <c:pt idx="148">
                  <c:v>45595</c:v>
                </c:pt>
                <c:pt idx="149">
                  <c:v>45596</c:v>
                </c:pt>
                <c:pt idx="150">
                  <c:v>45597</c:v>
                </c:pt>
                <c:pt idx="151">
                  <c:v>45600</c:v>
                </c:pt>
                <c:pt idx="152">
                  <c:v>45601</c:v>
                </c:pt>
                <c:pt idx="153">
                  <c:v>45602</c:v>
                </c:pt>
                <c:pt idx="154">
                  <c:v>45603</c:v>
                </c:pt>
                <c:pt idx="155">
                  <c:v>45604</c:v>
                </c:pt>
                <c:pt idx="156">
                  <c:v>45607</c:v>
                </c:pt>
                <c:pt idx="157">
                  <c:v>45608</c:v>
                </c:pt>
                <c:pt idx="158">
                  <c:v>45609</c:v>
                </c:pt>
                <c:pt idx="159">
                  <c:v>45610</c:v>
                </c:pt>
                <c:pt idx="160">
                  <c:v>45611</c:v>
                </c:pt>
                <c:pt idx="161">
                  <c:v>45614</c:v>
                </c:pt>
                <c:pt idx="162">
                  <c:v>45615</c:v>
                </c:pt>
                <c:pt idx="163">
                  <c:v>45616</c:v>
                </c:pt>
                <c:pt idx="164">
                  <c:v>45617</c:v>
                </c:pt>
                <c:pt idx="165">
                  <c:v>45618</c:v>
                </c:pt>
                <c:pt idx="166">
                  <c:v>45621</c:v>
                </c:pt>
                <c:pt idx="167">
                  <c:v>45622</c:v>
                </c:pt>
                <c:pt idx="168">
                  <c:v>45623</c:v>
                </c:pt>
                <c:pt idx="169">
                  <c:v>45625</c:v>
                </c:pt>
                <c:pt idx="170">
                  <c:v>45628</c:v>
                </c:pt>
                <c:pt idx="171">
                  <c:v>45629</c:v>
                </c:pt>
                <c:pt idx="172">
                  <c:v>45630</c:v>
                </c:pt>
                <c:pt idx="173">
                  <c:v>45631</c:v>
                </c:pt>
                <c:pt idx="174">
                  <c:v>45632</c:v>
                </c:pt>
                <c:pt idx="175">
                  <c:v>45635</c:v>
                </c:pt>
                <c:pt idx="176">
                  <c:v>45636</c:v>
                </c:pt>
                <c:pt idx="177">
                  <c:v>45637</c:v>
                </c:pt>
                <c:pt idx="178">
                  <c:v>45638</c:v>
                </c:pt>
                <c:pt idx="179">
                  <c:v>45639</c:v>
                </c:pt>
                <c:pt idx="180">
                  <c:v>45642</c:v>
                </c:pt>
                <c:pt idx="181">
                  <c:v>45643</c:v>
                </c:pt>
                <c:pt idx="182">
                  <c:v>45644</c:v>
                </c:pt>
                <c:pt idx="183">
                  <c:v>45645</c:v>
                </c:pt>
                <c:pt idx="184">
                  <c:v>45646</c:v>
                </c:pt>
                <c:pt idx="185">
                  <c:v>45649</c:v>
                </c:pt>
                <c:pt idx="186">
                  <c:v>45650</c:v>
                </c:pt>
                <c:pt idx="187">
                  <c:v>45652</c:v>
                </c:pt>
                <c:pt idx="188">
                  <c:v>45653</c:v>
                </c:pt>
                <c:pt idx="189">
                  <c:v>45656</c:v>
                </c:pt>
                <c:pt idx="190">
                  <c:v>45657</c:v>
                </c:pt>
                <c:pt idx="191">
                  <c:v>45659</c:v>
                </c:pt>
                <c:pt idx="192">
                  <c:v>45660</c:v>
                </c:pt>
                <c:pt idx="193">
                  <c:v>45663</c:v>
                </c:pt>
                <c:pt idx="194">
                  <c:v>45664</c:v>
                </c:pt>
                <c:pt idx="195">
                  <c:v>45665</c:v>
                </c:pt>
                <c:pt idx="196">
                  <c:v>45667</c:v>
                </c:pt>
                <c:pt idx="197">
                  <c:v>45670</c:v>
                </c:pt>
                <c:pt idx="198">
                  <c:v>45671</c:v>
                </c:pt>
                <c:pt idx="199">
                  <c:v>45672</c:v>
                </c:pt>
                <c:pt idx="200">
                  <c:v>45673</c:v>
                </c:pt>
                <c:pt idx="201">
                  <c:v>45674</c:v>
                </c:pt>
                <c:pt idx="202">
                  <c:v>45678</c:v>
                </c:pt>
                <c:pt idx="203">
                  <c:v>45679</c:v>
                </c:pt>
                <c:pt idx="204">
                  <c:v>45680</c:v>
                </c:pt>
                <c:pt idx="205">
                  <c:v>45681</c:v>
                </c:pt>
                <c:pt idx="206">
                  <c:v>45684</c:v>
                </c:pt>
                <c:pt idx="207">
                  <c:v>45685</c:v>
                </c:pt>
                <c:pt idx="208">
                  <c:v>45686</c:v>
                </c:pt>
                <c:pt idx="209">
                  <c:v>45687</c:v>
                </c:pt>
                <c:pt idx="210">
                  <c:v>45688</c:v>
                </c:pt>
                <c:pt idx="211">
                  <c:v>45691</c:v>
                </c:pt>
                <c:pt idx="212">
                  <c:v>45692</c:v>
                </c:pt>
                <c:pt idx="213">
                  <c:v>45693</c:v>
                </c:pt>
                <c:pt idx="214">
                  <c:v>45694</c:v>
                </c:pt>
                <c:pt idx="215">
                  <c:v>45695</c:v>
                </c:pt>
                <c:pt idx="216">
                  <c:v>45698</c:v>
                </c:pt>
                <c:pt idx="217">
                  <c:v>45699</c:v>
                </c:pt>
                <c:pt idx="218">
                  <c:v>45700</c:v>
                </c:pt>
                <c:pt idx="219">
                  <c:v>45701</c:v>
                </c:pt>
                <c:pt idx="220">
                  <c:v>45702</c:v>
                </c:pt>
                <c:pt idx="221">
                  <c:v>45706</c:v>
                </c:pt>
                <c:pt idx="222">
                  <c:v>45707</c:v>
                </c:pt>
                <c:pt idx="223">
                  <c:v>45708</c:v>
                </c:pt>
                <c:pt idx="224">
                  <c:v>45709</c:v>
                </c:pt>
                <c:pt idx="225">
                  <c:v>45712</c:v>
                </c:pt>
                <c:pt idx="226">
                  <c:v>45713</c:v>
                </c:pt>
                <c:pt idx="227">
                  <c:v>45714</c:v>
                </c:pt>
                <c:pt idx="228">
                  <c:v>45715</c:v>
                </c:pt>
                <c:pt idx="229">
                  <c:v>45716</c:v>
                </c:pt>
                <c:pt idx="230">
                  <c:v>45719</c:v>
                </c:pt>
                <c:pt idx="231">
                  <c:v>45720</c:v>
                </c:pt>
                <c:pt idx="232">
                  <c:v>45721</c:v>
                </c:pt>
                <c:pt idx="233">
                  <c:v>45722</c:v>
                </c:pt>
                <c:pt idx="234">
                  <c:v>45723</c:v>
                </c:pt>
                <c:pt idx="235">
                  <c:v>45726</c:v>
                </c:pt>
                <c:pt idx="236">
                  <c:v>45727</c:v>
                </c:pt>
                <c:pt idx="237">
                  <c:v>45728</c:v>
                </c:pt>
                <c:pt idx="238">
                  <c:v>45729</c:v>
                </c:pt>
                <c:pt idx="239">
                  <c:v>45730</c:v>
                </c:pt>
                <c:pt idx="240">
                  <c:v>45733</c:v>
                </c:pt>
                <c:pt idx="241">
                  <c:v>45734</c:v>
                </c:pt>
                <c:pt idx="242">
                  <c:v>45735</c:v>
                </c:pt>
                <c:pt idx="243">
                  <c:v>45736</c:v>
                </c:pt>
                <c:pt idx="244">
                  <c:v>45737</c:v>
                </c:pt>
                <c:pt idx="245">
                  <c:v>45740</c:v>
                </c:pt>
                <c:pt idx="246">
                  <c:v>45741</c:v>
                </c:pt>
                <c:pt idx="247">
                  <c:v>45742</c:v>
                </c:pt>
                <c:pt idx="248">
                  <c:v>45743</c:v>
                </c:pt>
                <c:pt idx="249">
                  <c:v>45744</c:v>
                </c:pt>
                <c:pt idx="250">
                  <c:v>45747</c:v>
                </c:pt>
                <c:pt idx="251">
                  <c:v>45748</c:v>
                </c:pt>
              </c:numCache>
            </c:numRef>
          </c:cat>
          <c:val>
            <c:numRef>
              <c:f>'APP 1Y Share Price'!$B$2:$B$253</c:f>
              <c:numCache>
                <c:formatCode>0.00</c:formatCode>
                <c:ptCount val="252"/>
                <c:pt idx="0">
                  <c:v>69.14</c:v>
                </c:pt>
                <c:pt idx="1">
                  <c:v>69.72</c:v>
                </c:pt>
                <c:pt idx="2">
                  <c:v>72.86</c:v>
                </c:pt>
                <c:pt idx="3">
                  <c:v>72.78</c:v>
                </c:pt>
                <c:pt idx="4">
                  <c:v>74.795000000000002</c:v>
                </c:pt>
                <c:pt idx="5">
                  <c:v>78.05</c:v>
                </c:pt>
                <c:pt idx="6">
                  <c:v>76.52</c:v>
                </c:pt>
                <c:pt idx="7">
                  <c:v>76.34</c:v>
                </c:pt>
                <c:pt idx="8">
                  <c:v>78.239999999999995</c:v>
                </c:pt>
                <c:pt idx="9">
                  <c:v>75.569999999999993</c:v>
                </c:pt>
                <c:pt idx="10">
                  <c:v>71.430000000000007</c:v>
                </c:pt>
                <c:pt idx="11">
                  <c:v>72.319999999999993</c:v>
                </c:pt>
                <c:pt idx="12">
                  <c:v>70.900000000000006</c:v>
                </c:pt>
                <c:pt idx="13">
                  <c:v>68.86</c:v>
                </c:pt>
                <c:pt idx="14">
                  <c:v>66.8</c:v>
                </c:pt>
                <c:pt idx="15">
                  <c:v>67.849999999999994</c:v>
                </c:pt>
                <c:pt idx="16">
                  <c:v>71.185000000000002</c:v>
                </c:pt>
                <c:pt idx="17">
                  <c:v>69.7</c:v>
                </c:pt>
                <c:pt idx="18">
                  <c:v>69.209999999999994</c:v>
                </c:pt>
                <c:pt idx="19">
                  <c:v>73.819999999999993</c:v>
                </c:pt>
                <c:pt idx="20">
                  <c:v>72.989999999999995</c:v>
                </c:pt>
                <c:pt idx="21">
                  <c:v>70.569999999999993</c:v>
                </c:pt>
                <c:pt idx="22">
                  <c:v>69.739999999999995</c:v>
                </c:pt>
                <c:pt idx="23">
                  <c:v>72.47</c:v>
                </c:pt>
                <c:pt idx="24">
                  <c:v>75.069999999999993</c:v>
                </c:pt>
                <c:pt idx="25">
                  <c:v>76.849999999999994</c:v>
                </c:pt>
                <c:pt idx="26">
                  <c:v>77.09</c:v>
                </c:pt>
                <c:pt idx="27">
                  <c:v>74</c:v>
                </c:pt>
                <c:pt idx="28">
                  <c:v>84.69</c:v>
                </c:pt>
                <c:pt idx="29">
                  <c:v>86.43</c:v>
                </c:pt>
                <c:pt idx="30">
                  <c:v>86.37</c:v>
                </c:pt>
                <c:pt idx="31">
                  <c:v>83.44</c:v>
                </c:pt>
                <c:pt idx="32">
                  <c:v>84.06</c:v>
                </c:pt>
                <c:pt idx="33">
                  <c:v>83.23</c:v>
                </c:pt>
                <c:pt idx="34">
                  <c:v>82.49</c:v>
                </c:pt>
                <c:pt idx="35">
                  <c:v>84.57</c:v>
                </c:pt>
                <c:pt idx="36">
                  <c:v>84</c:v>
                </c:pt>
                <c:pt idx="37">
                  <c:v>80</c:v>
                </c:pt>
                <c:pt idx="38">
                  <c:v>79.260000000000005</c:v>
                </c:pt>
                <c:pt idx="39">
                  <c:v>82.15</c:v>
                </c:pt>
                <c:pt idx="40">
                  <c:v>83.23</c:v>
                </c:pt>
                <c:pt idx="41">
                  <c:v>83.89</c:v>
                </c:pt>
                <c:pt idx="42">
                  <c:v>82.5</c:v>
                </c:pt>
                <c:pt idx="43">
                  <c:v>81.48</c:v>
                </c:pt>
                <c:pt idx="44">
                  <c:v>82.7</c:v>
                </c:pt>
                <c:pt idx="45">
                  <c:v>81.64</c:v>
                </c:pt>
                <c:pt idx="46">
                  <c:v>83.67</c:v>
                </c:pt>
                <c:pt idx="47">
                  <c:v>83.23</c:v>
                </c:pt>
                <c:pt idx="48">
                  <c:v>81.91</c:v>
                </c:pt>
                <c:pt idx="49">
                  <c:v>80.38</c:v>
                </c:pt>
                <c:pt idx="50">
                  <c:v>77.349999999999994</c:v>
                </c:pt>
                <c:pt idx="51">
                  <c:v>76.540000000000006</c:v>
                </c:pt>
                <c:pt idx="52">
                  <c:v>75.650000000000006</c:v>
                </c:pt>
                <c:pt idx="53">
                  <c:v>77.52</c:v>
                </c:pt>
                <c:pt idx="54">
                  <c:v>78.459999999999994</c:v>
                </c:pt>
                <c:pt idx="55">
                  <c:v>80.84</c:v>
                </c:pt>
                <c:pt idx="56">
                  <c:v>77.180000000000007</c:v>
                </c:pt>
                <c:pt idx="57">
                  <c:v>78.58</c:v>
                </c:pt>
                <c:pt idx="58">
                  <c:v>78.05</c:v>
                </c:pt>
                <c:pt idx="59">
                  <c:v>81.209999999999994</c:v>
                </c:pt>
                <c:pt idx="60">
                  <c:v>80.48</c:v>
                </c:pt>
                <c:pt idx="61">
                  <c:v>83.12</c:v>
                </c:pt>
                <c:pt idx="62">
                  <c:v>83.22</c:v>
                </c:pt>
                <c:pt idx="63">
                  <c:v>84.82</c:v>
                </c:pt>
                <c:pt idx="64">
                  <c:v>83.68</c:v>
                </c:pt>
                <c:pt idx="65">
                  <c:v>86.96</c:v>
                </c:pt>
                <c:pt idx="66">
                  <c:v>86.8</c:v>
                </c:pt>
                <c:pt idx="67">
                  <c:v>85.18</c:v>
                </c:pt>
                <c:pt idx="68">
                  <c:v>84.71</c:v>
                </c:pt>
                <c:pt idx="69">
                  <c:v>84.36</c:v>
                </c:pt>
                <c:pt idx="70">
                  <c:v>82.01</c:v>
                </c:pt>
                <c:pt idx="71">
                  <c:v>84.86</c:v>
                </c:pt>
                <c:pt idx="72">
                  <c:v>87.93</c:v>
                </c:pt>
                <c:pt idx="73">
                  <c:v>86.53</c:v>
                </c:pt>
                <c:pt idx="74">
                  <c:v>80.19</c:v>
                </c:pt>
                <c:pt idx="75">
                  <c:v>80.930000000000007</c:v>
                </c:pt>
                <c:pt idx="76">
                  <c:v>81.8</c:v>
                </c:pt>
                <c:pt idx="77">
                  <c:v>83.24</c:v>
                </c:pt>
                <c:pt idx="78">
                  <c:v>83.81</c:v>
                </c:pt>
                <c:pt idx="79">
                  <c:v>78.680000000000007</c:v>
                </c:pt>
                <c:pt idx="80">
                  <c:v>76.17</c:v>
                </c:pt>
                <c:pt idx="81">
                  <c:v>77.53</c:v>
                </c:pt>
                <c:pt idx="82">
                  <c:v>76.849999999999994</c:v>
                </c:pt>
                <c:pt idx="83">
                  <c:v>74.83</c:v>
                </c:pt>
                <c:pt idx="84">
                  <c:v>77.099999999999994</c:v>
                </c:pt>
                <c:pt idx="85">
                  <c:v>75.09</c:v>
                </c:pt>
                <c:pt idx="86">
                  <c:v>68.72</c:v>
                </c:pt>
                <c:pt idx="87">
                  <c:v>67.14</c:v>
                </c:pt>
                <c:pt idx="88">
                  <c:v>69</c:v>
                </c:pt>
                <c:pt idx="89">
                  <c:v>67.19</c:v>
                </c:pt>
                <c:pt idx="90">
                  <c:v>76.73</c:v>
                </c:pt>
                <c:pt idx="91">
                  <c:v>77.38</c:v>
                </c:pt>
                <c:pt idx="92">
                  <c:v>74.760000000000005</c:v>
                </c:pt>
                <c:pt idx="93">
                  <c:v>79.790000000000006</c:v>
                </c:pt>
                <c:pt idx="94">
                  <c:v>84.64</c:v>
                </c:pt>
                <c:pt idx="95">
                  <c:v>85.58</c:v>
                </c:pt>
                <c:pt idx="96">
                  <c:v>86.35</c:v>
                </c:pt>
                <c:pt idx="97">
                  <c:v>85.814999999999998</c:v>
                </c:pt>
                <c:pt idx="98">
                  <c:v>86.58</c:v>
                </c:pt>
                <c:pt idx="99">
                  <c:v>90.89</c:v>
                </c:pt>
                <c:pt idx="100">
                  <c:v>89</c:v>
                </c:pt>
                <c:pt idx="101">
                  <c:v>90.2</c:v>
                </c:pt>
                <c:pt idx="102">
                  <c:v>89.89</c:v>
                </c:pt>
                <c:pt idx="103">
                  <c:v>90.3</c:v>
                </c:pt>
                <c:pt idx="104">
                  <c:v>88</c:v>
                </c:pt>
                <c:pt idx="105">
                  <c:v>91.61</c:v>
                </c:pt>
                <c:pt idx="106">
                  <c:v>92.87</c:v>
                </c:pt>
                <c:pt idx="107">
                  <c:v>88.13</c:v>
                </c:pt>
                <c:pt idx="108">
                  <c:v>87.88</c:v>
                </c:pt>
                <c:pt idx="109">
                  <c:v>88.19</c:v>
                </c:pt>
                <c:pt idx="110">
                  <c:v>84.57</c:v>
                </c:pt>
                <c:pt idx="111">
                  <c:v>86.31</c:v>
                </c:pt>
                <c:pt idx="112">
                  <c:v>86.23</c:v>
                </c:pt>
                <c:pt idx="113">
                  <c:v>97.57</c:v>
                </c:pt>
                <c:pt idx="114">
                  <c:v>105.61</c:v>
                </c:pt>
                <c:pt idx="115">
                  <c:v>112.58</c:v>
                </c:pt>
                <c:pt idx="116">
                  <c:v>116.25</c:v>
                </c:pt>
                <c:pt idx="117">
                  <c:v>123.64</c:v>
                </c:pt>
                <c:pt idx="118">
                  <c:v>123.16</c:v>
                </c:pt>
                <c:pt idx="119">
                  <c:v>124</c:v>
                </c:pt>
                <c:pt idx="120">
                  <c:v>126.09</c:v>
                </c:pt>
                <c:pt idx="121">
                  <c:v>126.12</c:v>
                </c:pt>
                <c:pt idx="122">
                  <c:v>129.08000000000001</c:v>
                </c:pt>
                <c:pt idx="123">
                  <c:v>130.71</c:v>
                </c:pt>
                <c:pt idx="124">
                  <c:v>128.13</c:v>
                </c:pt>
                <c:pt idx="125">
                  <c:v>127.75</c:v>
                </c:pt>
                <c:pt idx="126">
                  <c:v>130.55000000000001</c:v>
                </c:pt>
                <c:pt idx="127">
                  <c:v>130.65</c:v>
                </c:pt>
                <c:pt idx="128">
                  <c:v>131.36000000000001</c:v>
                </c:pt>
                <c:pt idx="129">
                  <c:v>135.25</c:v>
                </c:pt>
                <c:pt idx="130">
                  <c:v>139.66</c:v>
                </c:pt>
                <c:pt idx="131">
                  <c:v>139.94999999999999</c:v>
                </c:pt>
                <c:pt idx="132">
                  <c:v>143.51</c:v>
                </c:pt>
                <c:pt idx="133">
                  <c:v>143.4</c:v>
                </c:pt>
                <c:pt idx="134">
                  <c:v>144.84</c:v>
                </c:pt>
                <c:pt idx="135">
                  <c:v>147</c:v>
                </c:pt>
                <c:pt idx="136">
                  <c:v>145.30000000000001</c:v>
                </c:pt>
                <c:pt idx="137">
                  <c:v>143.81</c:v>
                </c:pt>
                <c:pt idx="138">
                  <c:v>144.85</c:v>
                </c:pt>
                <c:pt idx="139">
                  <c:v>143</c:v>
                </c:pt>
                <c:pt idx="140">
                  <c:v>145.22</c:v>
                </c:pt>
                <c:pt idx="141">
                  <c:v>158.85</c:v>
                </c:pt>
                <c:pt idx="142">
                  <c:v>158.94999999999999</c:v>
                </c:pt>
                <c:pt idx="143">
                  <c:v>159.4</c:v>
                </c:pt>
                <c:pt idx="144">
                  <c:v>159</c:v>
                </c:pt>
                <c:pt idx="145">
                  <c:v>161.63</c:v>
                </c:pt>
                <c:pt idx="146">
                  <c:v>166.185</c:v>
                </c:pt>
                <c:pt idx="147">
                  <c:v>172.24</c:v>
                </c:pt>
                <c:pt idx="148">
                  <c:v>171.65</c:v>
                </c:pt>
                <c:pt idx="149">
                  <c:v>169.39</c:v>
                </c:pt>
                <c:pt idx="150">
                  <c:v>163.53</c:v>
                </c:pt>
                <c:pt idx="151">
                  <c:v>159.11000000000001</c:v>
                </c:pt>
                <c:pt idx="152">
                  <c:v>165.18</c:v>
                </c:pt>
                <c:pt idx="153">
                  <c:v>168.55</c:v>
                </c:pt>
                <c:pt idx="154">
                  <c:v>246.53</c:v>
                </c:pt>
                <c:pt idx="155">
                  <c:v>290.01</c:v>
                </c:pt>
                <c:pt idx="156">
                  <c:v>286.43</c:v>
                </c:pt>
                <c:pt idx="157">
                  <c:v>289.02999999999997</c:v>
                </c:pt>
                <c:pt idx="158">
                  <c:v>283.95999999999998</c:v>
                </c:pt>
                <c:pt idx="159">
                  <c:v>284.49</c:v>
                </c:pt>
                <c:pt idx="160">
                  <c:v>291.08999999999997</c:v>
                </c:pt>
                <c:pt idx="161">
                  <c:v>298</c:v>
                </c:pt>
                <c:pt idx="162">
                  <c:v>321.19</c:v>
                </c:pt>
                <c:pt idx="163">
                  <c:v>325.22000000000003</c:v>
                </c:pt>
                <c:pt idx="164">
                  <c:v>318.24</c:v>
                </c:pt>
                <c:pt idx="165">
                  <c:v>333.31</c:v>
                </c:pt>
                <c:pt idx="166">
                  <c:v>319.58999999999997</c:v>
                </c:pt>
                <c:pt idx="167">
                  <c:v>329.77</c:v>
                </c:pt>
                <c:pt idx="168">
                  <c:v>328.56</c:v>
                </c:pt>
                <c:pt idx="169">
                  <c:v>336.75</c:v>
                </c:pt>
                <c:pt idx="170">
                  <c:v>340.59</c:v>
                </c:pt>
                <c:pt idx="171">
                  <c:v>366.55</c:v>
                </c:pt>
                <c:pt idx="172">
                  <c:v>373.7</c:v>
                </c:pt>
                <c:pt idx="173">
                  <c:v>379.07</c:v>
                </c:pt>
                <c:pt idx="174">
                  <c:v>401.5</c:v>
                </c:pt>
                <c:pt idx="175">
                  <c:v>342.54</c:v>
                </c:pt>
                <c:pt idx="176">
                  <c:v>321.06</c:v>
                </c:pt>
                <c:pt idx="177">
                  <c:v>338.21</c:v>
                </c:pt>
                <c:pt idx="178">
                  <c:v>326.20999999999998</c:v>
                </c:pt>
                <c:pt idx="179">
                  <c:v>324.47000000000003</c:v>
                </c:pt>
                <c:pt idx="180">
                  <c:v>343.96</c:v>
                </c:pt>
                <c:pt idx="181">
                  <c:v>337.89</c:v>
                </c:pt>
                <c:pt idx="182">
                  <c:v>313.07</c:v>
                </c:pt>
                <c:pt idx="183">
                  <c:v>318.74</c:v>
                </c:pt>
                <c:pt idx="184">
                  <c:v>340.99</c:v>
                </c:pt>
                <c:pt idx="185">
                  <c:v>344.82</c:v>
                </c:pt>
                <c:pt idx="186">
                  <c:v>341.83</c:v>
                </c:pt>
                <c:pt idx="187">
                  <c:v>346.73</c:v>
                </c:pt>
                <c:pt idx="188">
                  <c:v>335.17</c:v>
                </c:pt>
                <c:pt idx="189">
                  <c:v>335.38</c:v>
                </c:pt>
                <c:pt idx="190">
                  <c:v>323.83</c:v>
                </c:pt>
                <c:pt idx="191">
                  <c:v>341.78</c:v>
                </c:pt>
                <c:pt idx="192">
                  <c:v>350.65</c:v>
                </c:pt>
                <c:pt idx="193">
                  <c:v>354.93</c:v>
                </c:pt>
                <c:pt idx="194">
                  <c:v>330.005</c:v>
                </c:pt>
                <c:pt idx="195">
                  <c:v>329.2</c:v>
                </c:pt>
                <c:pt idx="196">
                  <c:v>318.48</c:v>
                </c:pt>
                <c:pt idx="197">
                  <c:v>315.68</c:v>
                </c:pt>
                <c:pt idx="198">
                  <c:v>321.08999999999997</c:v>
                </c:pt>
                <c:pt idx="199">
                  <c:v>335.03</c:v>
                </c:pt>
                <c:pt idx="200">
                  <c:v>332.01</c:v>
                </c:pt>
                <c:pt idx="201">
                  <c:v>342.34</c:v>
                </c:pt>
                <c:pt idx="202">
                  <c:v>338.39</c:v>
                </c:pt>
                <c:pt idx="203">
                  <c:v>361.72</c:v>
                </c:pt>
                <c:pt idx="204">
                  <c:v>362.52</c:v>
                </c:pt>
                <c:pt idx="205">
                  <c:v>363.1</c:v>
                </c:pt>
                <c:pt idx="206">
                  <c:v>343.02</c:v>
                </c:pt>
                <c:pt idx="207">
                  <c:v>360.75</c:v>
                </c:pt>
                <c:pt idx="208">
                  <c:v>366.34</c:v>
                </c:pt>
                <c:pt idx="209">
                  <c:v>365.51</c:v>
                </c:pt>
                <c:pt idx="210">
                  <c:v>369.59</c:v>
                </c:pt>
                <c:pt idx="211">
                  <c:v>365.44</c:v>
                </c:pt>
                <c:pt idx="212">
                  <c:v>380.26</c:v>
                </c:pt>
                <c:pt idx="213">
                  <c:v>368.27</c:v>
                </c:pt>
                <c:pt idx="214">
                  <c:v>380.63</c:v>
                </c:pt>
                <c:pt idx="215">
                  <c:v>375.72</c:v>
                </c:pt>
                <c:pt idx="216">
                  <c:v>384.4</c:v>
                </c:pt>
                <c:pt idx="217">
                  <c:v>375.25</c:v>
                </c:pt>
                <c:pt idx="218">
                  <c:v>380.32</c:v>
                </c:pt>
                <c:pt idx="219">
                  <c:v>471.67</c:v>
                </c:pt>
                <c:pt idx="220">
                  <c:v>510.13</c:v>
                </c:pt>
                <c:pt idx="221">
                  <c:v>496</c:v>
                </c:pt>
                <c:pt idx="222">
                  <c:v>494.17</c:v>
                </c:pt>
                <c:pt idx="223">
                  <c:v>450.01</c:v>
                </c:pt>
                <c:pt idx="224">
                  <c:v>415.31</c:v>
                </c:pt>
                <c:pt idx="225">
                  <c:v>410.45</c:v>
                </c:pt>
                <c:pt idx="226">
                  <c:v>377.06</c:v>
                </c:pt>
                <c:pt idx="227">
                  <c:v>331</c:v>
                </c:pt>
                <c:pt idx="228">
                  <c:v>320.49</c:v>
                </c:pt>
                <c:pt idx="229">
                  <c:v>325.74</c:v>
                </c:pt>
                <c:pt idx="230">
                  <c:v>337.34</c:v>
                </c:pt>
                <c:pt idx="231">
                  <c:v>327.23</c:v>
                </c:pt>
                <c:pt idx="232">
                  <c:v>318</c:v>
                </c:pt>
                <c:pt idx="233">
                  <c:v>259.63</c:v>
                </c:pt>
                <c:pt idx="234">
                  <c:v>270.48</c:v>
                </c:pt>
                <c:pt idx="235">
                  <c:v>238.08</c:v>
                </c:pt>
                <c:pt idx="236">
                  <c:v>257.76</c:v>
                </c:pt>
                <c:pt idx="237">
                  <c:v>272.58999999999997</c:v>
                </c:pt>
                <c:pt idx="238">
                  <c:v>272</c:v>
                </c:pt>
                <c:pt idx="239">
                  <c:v>292.89</c:v>
                </c:pt>
                <c:pt idx="240">
                  <c:v>306.85000000000002</c:v>
                </c:pt>
                <c:pt idx="241">
                  <c:v>278.83999999999997</c:v>
                </c:pt>
                <c:pt idx="242">
                  <c:v>297.02999999999997</c:v>
                </c:pt>
                <c:pt idx="243">
                  <c:v>306.74</c:v>
                </c:pt>
                <c:pt idx="244">
                  <c:v>314.02999999999997</c:v>
                </c:pt>
                <c:pt idx="245">
                  <c:v>339.72</c:v>
                </c:pt>
                <c:pt idx="246">
                  <c:v>346.29</c:v>
                </c:pt>
                <c:pt idx="247">
                  <c:v>327.62</c:v>
                </c:pt>
                <c:pt idx="248">
                  <c:v>261.7</c:v>
                </c:pt>
                <c:pt idx="249">
                  <c:v>272.38</c:v>
                </c:pt>
                <c:pt idx="250">
                  <c:v>264.97000000000003</c:v>
                </c:pt>
                <c:pt idx="251">
                  <c:v>282.7</c:v>
                </c:pt>
              </c:numCache>
            </c:numRef>
          </c:val>
          <c:smooth val="0"/>
          <c:extLst>
            <c:ext xmlns:c16="http://schemas.microsoft.com/office/drawing/2014/chart" uri="{C3380CC4-5D6E-409C-BE32-E72D297353CC}">
              <c16:uniqueId val="{00000000-12BC-4C5C-B01B-DD6A3EFC5734}"/>
            </c:ext>
          </c:extLst>
        </c:ser>
        <c:dLbls>
          <c:showLegendKey val="0"/>
          <c:showVal val="0"/>
          <c:showCatName val="0"/>
          <c:showSerName val="0"/>
          <c:showPercent val="0"/>
          <c:showBubbleSize val="0"/>
        </c:dLbls>
        <c:smooth val="0"/>
        <c:axId val="1470788656"/>
        <c:axId val="1470789136"/>
      </c:lineChart>
      <c:dateAx>
        <c:axId val="1470788656"/>
        <c:scaling>
          <c:orientation val="minMax"/>
        </c:scaling>
        <c:delete val="0"/>
        <c:axPos val="b"/>
        <c:numFmt formatCode="[$-409]mmm\-yyyy;@" sourceLinked="0"/>
        <c:majorTickMark val="out"/>
        <c:minorTickMark val="none"/>
        <c:tickLblPos val="nextTo"/>
        <c:spPr>
          <a:noFill/>
          <a:ln w="9525" cap="flat" cmpd="sng" algn="ctr">
            <a:solidFill>
              <a:schemeClr val="tx1"/>
            </a:solidFill>
            <a:round/>
          </a:ln>
          <a:effectLst/>
        </c:spPr>
        <c:txPr>
          <a:bodyPr rot="0" spcFirstLastPara="1" vertOverflow="ellipsis" wrap="square" anchor="ctr" anchorCtr="0"/>
          <a:lstStyle/>
          <a:p>
            <a:pPr>
              <a:defRPr sz="900" b="0" i="0" u="none" strike="noStrike" kern="1200" baseline="0">
                <a:solidFill>
                  <a:schemeClr val="tx1"/>
                </a:solidFill>
                <a:latin typeface="+mn-lt"/>
                <a:ea typeface="+mn-ea"/>
                <a:cs typeface="+mn-cs"/>
              </a:defRPr>
            </a:pPr>
            <a:endParaRPr lang="en-US"/>
          </a:p>
        </c:txPr>
        <c:crossAx val="1470789136"/>
        <c:crosses val="autoZero"/>
        <c:auto val="1"/>
        <c:lblOffset val="100"/>
        <c:baseTimeUnit val="days"/>
      </c:dateAx>
      <c:valAx>
        <c:axId val="1470789136"/>
        <c:scaling>
          <c:orientation val="minMax"/>
        </c:scaling>
        <c:delete val="0"/>
        <c:axPos val="l"/>
        <c:numFmt formatCode="_(&quot;$&quot;* #,##0.00_);_(&quot;$&quot;* \(#,##0.00\);_(&quot;$&quot;* &quot;-&quot;??_);_(@_)"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47078865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102C23"/>
            </a:solidFill>
            <a:ln>
              <a:noFill/>
            </a:ln>
            <a:effectLst/>
          </c:spPr>
          <c:invertIfNegative val="0"/>
          <c:dPt>
            <c:idx val="16"/>
            <c:invertIfNegative val="0"/>
            <c:bubble3D val="0"/>
            <c:spPr>
              <a:solidFill>
                <a:srgbClr val="D8FAE5"/>
              </a:solidFill>
              <a:ln>
                <a:solidFill>
                  <a:srgbClr val="102C23"/>
                </a:solidFill>
              </a:ln>
              <a:effectLst/>
            </c:spPr>
            <c:extLst>
              <c:ext xmlns:c16="http://schemas.microsoft.com/office/drawing/2014/chart" uri="{C3380CC4-5D6E-409C-BE32-E72D297353CC}">
                <c16:uniqueId val="{00000001-C85E-6D47-B20A-688ECE14750B}"/>
              </c:ext>
            </c:extLst>
          </c:dPt>
          <c:dLbls>
            <c:dLbl>
              <c:idx val="16"/>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85E-6D47-B20A-688ECE14750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 NLP and Holders'!$T$26:$T$42</c:f>
              <c:strCache>
                <c:ptCount val="17"/>
                <c:pt idx="0">
                  <c:v>2021</c:v>
                </c:pt>
                <c:pt idx="1">
                  <c:v>2021</c:v>
                </c:pt>
                <c:pt idx="2">
                  <c:v>2021</c:v>
                </c:pt>
                <c:pt idx="3">
                  <c:v>2021</c:v>
                </c:pt>
                <c:pt idx="4">
                  <c:v>2022</c:v>
                </c:pt>
                <c:pt idx="5">
                  <c:v>2022</c:v>
                </c:pt>
                <c:pt idx="6">
                  <c:v>2022</c:v>
                </c:pt>
                <c:pt idx="7">
                  <c:v>2022</c:v>
                </c:pt>
                <c:pt idx="8">
                  <c:v>2023</c:v>
                </c:pt>
                <c:pt idx="9">
                  <c:v>2023</c:v>
                </c:pt>
                <c:pt idx="10">
                  <c:v>2023</c:v>
                </c:pt>
                <c:pt idx="11">
                  <c:v>2023</c:v>
                </c:pt>
                <c:pt idx="12">
                  <c:v>2024</c:v>
                </c:pt>
                <c:pt idx="13">
                  <c:v>2024</c:v>
                </c:pt>
                <c:pt idx="14">
                  <c:v>2024</c:v>
                </c:pt>
                <c:pt idx="15">
                  <c:v>2024</c:v>
                </c:pt>
                <c:pt idx="16">
                  <c:v>Latest</c:v>
                </c:pt>
              </c:strCache>
            </c:strRef>
          </c:cat>
          <c:val>
            <c:numRef>
              <c:f>' NLP and Holders'!$U$26:$U$42</c:f>
              <c:numCache>
                <c:formatCode>#,##0_);\(#,##0\)</c:formatCode>
                <c:ptCount val="17"/>
                <c:pt idx="0">
                  <c:v>21.957896999999999</c:v>
                </c:pt>
                <c:pt idx="1">
                  <c:v>24.825089999999999</c:v>
                </c:pt>
                <c:pt idx="2">
                  <c:v>24.825089999999999</c:v>
                </c:pt>
                <c:pt idx="3">
                  <c:v>21.862552999999998</c:v>
                </c:pt>
                <c:pt idx="4">
                  <c:v>21.862552999999998</c:v>
                </c:pt>
                <c:pt idx="5">
                  <c:v>21.862552999999998</c:v>
                </c:pt>
                <c:pt idx="6">
                  <c:v>21.862552999999998</c:v>
                </c:pt>
                <c:pt idx="7">
                  <c:v>20.593208000000001</c:v>
                </c:pt>
                <c:pt idx="8">
                  <c:v>20.593208000000001</c:v>
                </c:pt>
                <c:pt idx="9">
                  <c:v>20.593208000000001</c:v>
                </c:pt>
                <c:pt idx="10">
                  <c:v>20.593208000000001</c:v>
                </c:pt>
                <c:pt idx="11">
                  <c:v>19.593208000000001</c:v>
                </c:pt>
                <c:pt idx="12">
                  <c:v>19.593208000000001</c:v>
                </c:pt>
                <c:pt idx="13">
                  <c:v>19.593208000000001</c:v>
                </c:pt>
                <c:pt idx="14">
                  <c:v>13.13625</c:v>
                </c:pt>
                <c:pt idx="15">
                  <c:v>13.13625</c:v>
                </c:pt>
                <c:pt idx="16">
                  <c:v>13.13625</c:v>
                </c:pt>
              </c:numCache>
            </c:numRef>
          </c:val>
          <c:extLst>
            <c:ext xmlns:c16="http://schemas.microsoft.com/office/drawing/2014/chart" uri="{C3380CC4-5D6E-409C-BE32-E72D297353CC}">
              <c16:uniqueId val="{00000002-C85E-6D47-B20A-688ECE14750B}"/>
            </c:ext>
          </c:extLst>
        </c:ser>
        <c:dLbls>
          <c:showLegendKey val="0"/>
          <c:showVal val="0"/>
          <c:showCatName val="0"/>
          <c:showSerName val="0"/>
          <c:showPercent val="0"/>
          <c:showBubbleSize val="0"/>
        </c:dLbls>
        <c:gapWidth val="219"/>
        <c:overlap val="-27"/>
        <c:axId val="119972015"/>
        <c:axId val="120206383"/>
      </c:barChart>
      <c:catAx>
        <c:axId val="119972015"/>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0206383"/>
        <c:crosses val="autoZero"/>
        <c:auto val="1"/>
        <c:lblAlgn val="ctr"/>
        <c:lblOffset val="100"/>
        <c:noMultiLvlLbl val="0"/>
      </c:catAx>
      <c:valAx>
        <c:axId val="120206383"/>
        <c:scaling>
          <c:orientation val="minMax"/>
          <c:min val="5"/>
        </c:scaling>
        <c:delete val="0"/>
        <c:axPos val="l"/>
        <c:numFmt formatCode="#,##0_);\(#,##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19972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102C23"/>
            </a:solidFill>
            <a:ln>
              <a:noFill/>
            </a:ln>
            <a:effectLst/>
          </c:spPr>
          <c:invertIfNegative val="0"/>
          <c:dPt>
            <c:idx val="16"/>
            <c:invertIfNegative val="0"/>
            <c:bubble3D val="0"/>
            <c:spPr>
              <a:solidFill>
                <a:srgbClr val="D8FAE5"/>
              </a:solidFill>
              <a:ln>
                <a:solidFill>
                  <a:srgbClr val="102C23"/>
                </a:solidFill>
              </a:ln>
              <a:effectLst/>
            </c:spPr>
            <c:extLst>
              <c:ext xmlns:c16="http://schemas.microsoft.com/office/drawing/2014/chart" uri="{C3380CC4-5D6E-409C-BE32-E72D297353CC}">
                <c16:uniqueId val="{00000001-9C27-674A-8FEC-F1BC15B48F63}"/>
              </c:ext>
            </c:extLst>
          </c:dPt>
          <c:dLbls>
            <c:dLbl>
              <c:idx val="16"/>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C27-674A-8FEC-F1BC15B48F6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 NLP and Holders'!$T$46:$T$62</c:f>
              <c:strCache>
                <c:ptCount val="17"/>
                <c:pt idx="0">
                  <c:v>2021</c:v>
                </c:pt>
                <c:pt idx="1">
                  <c:v>2021</c:v>
                </c:pt>
                <c:pt idx="2">
                  <c:v>2021</c:v>
                </c:pt>
                <c:pt idx="3">
                  <c:v>2021</c:v>
                </c:pt>
                <c:pt idx="4">
                  <c:v>2022</c:v>
                </c:pt>
                <c:pt idx="5">
                  <c:v>2022</c:v>
                </c:pt>
                <c:pt idx="6">
                  <c:v>2022</c:v>
                </c:pt>
                <c:pt idx="7">
                  <c:v>2022</c:v>
                </c:pt>
                <c:pt idx="8">
                  <c:v>2023</c:v>
                </c:pt>
                <c:pt idx="9">
                  <c:v>2023</c:v>
                </c:pt>
                <c:pt idx="10">
                  <c:v>2023</c:v>
                </c:pt>
                <c:pt idx="11">
                  <c:v>2023</c:v>
                </c:pt>
                <c:pt idx="12">
                  <c:v>2024</c:v>
                </c:pt>
                <c:pt idx="13">
                  <c:v>2024</c:v>
                </c:pt>
                <c:pt idx="14">
                  <c:v>2024</c:v>
                </c:pt>
                <c:pt idx="15">
                  <c:v>2024</c:v>
                </c:pt>
                <c:pt idx="16">
                  <c:v>Latest</c:v>
                </c:pt>
              </c:strCache>
            </c:strRef>
          </c:cat>
          <c:val>
            <c:numRef>
              <c:f>' NLP and Holders'!$U$46:$U$62</c:f>
              <c:numCache>
                <c:formatCode>#,##0_);\(#,##0\)</c:formatCode>
                <c:ptCount val="17"/>
                <c:pt idx="0">
                  <c:v>24.062857999999999</c:v>
                </c:pt>
                <c:pt idx="1">
                  <c:v>25.739723999999999</c:v>
                </c:pt>
                <c:pt idx="2">
                  <c:v>25.560222</c:v>
                </c:pt>
                <c:pt idx="3">
                  <c:v>23.269525999999999</c:v>
                </c:pt>
                <c:pt idx="4">
                  <c:v>23.269525999999999</c:v>
                </c:pt>
                <c:pt idx="5">
                  <c:v>23.269525999999999</c:v>
                </c:pt>
                <c:pt idx="6">
                  <c:v>23.269525999999999</c:v>
                </c:pt>
                <c:pt idx="7">
                  <c:v>20.872419000000001</c:v>
                </c:pt>
                <c:pt idx="8">
                  <c:v>20.872419000000001</c:v>
                </c:pt>
                <c:pt idx="9">
                  <c:v>20.872419000000001</c:v>
                </c:pt>
                <c:pt idx="10">
                  <c:v>20.872419000000001</c:v>
                </c:pt>
                <c:pt idx="11">
                  <c:v>11.167108000000001</c:v>
                </c:pt>
                <c:pt idx="12">
                  <c:v>11.167108000000001</c:v>
                </c:pt>
                <c:pt idx="13">
                  <c:v>11.167108000000001</c:v>
                </c:pt>
                <c:pt idx="14">
                  <c:v>11.167108000000001</c:v>
                </c:pt>
                <c:pt idx="15">
                  <c:v>11.167108000000001</c:v>
                </c:pt>
                <c:pt idx="16">
                  <c:v>11.167108000000001</c:v>
                </c:pt>
              </c:numCache>
            </c:numRef>
          </c:val>
          <c:extLst>
            <c:ext xmlns:c16="http://schemas.microsoft.com/office/drawing/2014/chart" uri="{C3380CC4-5D6E-409C-BE32-E72D297353CC}">
              <c16:uniqueId val="{00000002-9C27-674A-8FEC-F1BC15B48F63}"/>
            </c:ext>
          </c:extLst>
        </c:ser>
        <c:dLbls>
          <c:showLegendKey val="0"/>
          <c:showVal val="0"/>
          <c:showCatName val="0"/>
          <c:showSerName val="0"/>
          <c:showPercent val="0"/>
          <c:showBubbleSize val="0"/>
        </c:dLbls>
        <c:gapWidth val="219"/>
        <c:overlap val="-27"/>
        <c:axId val="91013359"/>
        <c:axId val="2067356640"/>
      </c:barChart>
      <c:catAx>
        <c:axId val="91013359"/>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067356640"/>
        <c:crosses val="autoZero"/>
        <c:auto val="1"/>
        <c:lblAlgn val="ctr"/>
        <c:lblOffset val="100"/>
        <c:noMultiLvlLbl val="0"/>
      </c:catAx>
      <c:valAx>
        <c:axId val="2067356640"/>
        <c:scaling>
          <c:orientation val="minMax"/>
          <c:min val="5"/>
        </c:scaling>
        <c:delete val="0"/>
        <c:axPos val="l"/>
        <c:numFmt formatCode="#,##0_);\(#,##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10133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solidFill>
              <a:schemeClr val="accent2"/>
            </a:solidFill>
            <a:ln>
              <a:solidFill>
                <a:schemeClr val="bg1"/>
              </a:solidFill>
            </a:ln>
          </c:spPr>
          <c:dPt>
            <c:idx val="0"/>
            <c:bubble3D val="0"/>
            <c:explosion val="7"/>
            <c:spPr>
              <a:solidFill>
                <a:srgbClr val="008864"/>
              </a:solidFill>
              <a:ln w="19050">
                <a:solidFill>
                  <a:schemeClr val="bg1"/>
                </a:solidFill>
              </a:ln>
              <a:effectLst/>
            </c:spPr>
            <c:extLst>
              <c:ext xmlns:c16="http://schemas.microsoft.com/office/drawing/2014/chart" uri="{C3380CC4-5D6E-409C-BE32-E72D297353CC}">
                <c16:uniqueId val="{00000002-3D51-0E4A-BEC6-66A13BD47C43}"/>
              </c:ext>
            </c:extLst>
          </c:dPt>
          <c:dPt>
            <c:idx val="1"/>
            <c:bubble3D val="0"/>
            <c:spPr>
              <a:solidFill>
                <a:srgbClr val="102C23"/>
              </a:solidFill>
              <a:ln w="19050">
                <a:solidFill>
                  <a:schemeClr val="bg1"/>
                </a:solidFill>
              </a:ln>
              <a:effectLst/>
            </c:spPr>
            <c:extLst>
              <c:ext xmlns:c16="http://schemas.microsoft.com/office/drawing/2014/chart" uri="{C3380CC4-5D6E-409C-BE32-E72D297353CC}">
                <c16:uniqueId val="{00000001-3D51-0E4A-BEC6-66A13BD47C43}"/>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Debt Weighting</c:v>
                </c:pt>
                <c:pt idx="1">
                  <c:v>Equity Weighting</c:v>
                </c:pt>
              </c:strCache>
            </c:strRef>
          </c:cat>
          <c:val>
            <c:numRef>
              <c:f>Sheet1!$B$2:$B$3</c:f>
              <c:numCache>
                <c:formatCode>0.0%</c:formatCode>
                <c:ptCount val="2"/>
                <c:pt idx="0">
                  <c:v>0.04</c:v>
                </c:pt>
                <c:pt idx="1">
                  <c:v>0.96</c:v>
                </c:pt>
              </c:numCache>
            </c:numRef>
          </c:val>
          <c:extLst>
            <c:ext xmlns:c16="http://schemas.microsoft.com/office/drawing/2014/chart" uri="{C3380CC4-5D6E-409C-BE32-E72D297353CC}">
              <c16:uniqueId val="{00000000-3D51-0E4A-BEC6-66A13BD47C43}"/>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008864"/>
              </a:solidFill>
              <a:ln>
                <a:noFill/>
              </a:ln>
              <a:effectLst/>
            </c:spPr>
            <c:extLst>
              <c:ext xmlns:c16="http://schemas.microsoft.com/office/drawing/2014/chart" uri="{C3380CC4-5D6E-409C-BE32-E72D297353CC}">
                <c16:uniqueId val="{00000003-CB68-D043-BDCB-5F4C6966D696}"/>
              </c:ext>
            </c:extLst>
          </c:dPt>
          <c:dPt>
            <c:idx val="1"/>
            <c:invertIfNegative val="0"/>
            <c:bubble3D val="0"/>
            <c:spPr>
              <a:solidFill>
                <a:srgbClr val="102C23"/>
              </a:solidFill>
              <a:ln>
                <a:noFill/>
              </a:ln>
              <a:effectLst/>
            </c:spPr>
            <c:extLst>
              <c:ext xmlns:c16="http://schemas.microsoft.com/office/drawing/2014/chart" uri="{C3380CC4-5D6E-409C-BE32-E72D297353CC}">
                <c16:uniqueId val="{00000004-CB68-D043-BDCB-5F4C6966D696}"/>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fter-Tax Cost of Debt</c:v>
                </c:pt>
                <c:pt idx="1">
                  <c:v>Cost of Equity</c:v>
                </c:pt>
              </c:strCache>
            </c:strRef>
          </c:cat>
          <c:val>
            <c:numRef>
              <c:f>Sheet1!$B$2:$B$3</c:f>
              <c:numCache>
                <c:formatCode>0.0%</c:formatCode>
                <c:ptCount val="2"/>
                <c:pt idx="0">
                  <c:v>3.5400000000000001E-2</c:v>
                </c:pt>
                <c:pt idx="1">
                  <c:v>0.14319999999999999</c:v>
                </c:pt>
              </c:numCache>
            </c:numRef>
          </c:val>
          <c:extLst>
            <c:ext xmlns:c16="http://schemas.microsoft.com/office/drawing/2014/chart" uri="{C3380CC4-5D6E-409C-BE32-E72D297353CC}">
              <c16:uniqueId val="{00000000-CB68-D043-BDCB-5F4C6966D696}"/>
            </c:ext>
          </c:extLst>
        </c:ser>
        <c:dLbls>
          <c:dLblPos val="outEnd"/>
          <c:showLegendKey val="0"/>
          <c:showVal val="1"/>
          <c:showCatName val="0"/>
          <c:showSerName val="0"/>
          <c:showPercent val="0"/>
          <c:showBubbleSize val="0"/>
        </c:dLbls>
        <c:gapWidth val="219"/>
        <c:overlap val="-27"/>
        <c:axId val="1340881023"/>
        <c:axId val="1340826127"/>
      </c:barChart>
      <c:catAx>
        <c:axId val="1340881023"/>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340826127"/>
        <c:crosses val="autoZero"/>
        <c:auto val="1"/>
        <c:lblAlgn val="ctr"/>
        <c:lblOffset val="100"/>
        <c:noMultiLvlLbl val="0"/>
      </c:catAx>
      <c:valAx>
        <c:axId val="1340826127"/>
        <c:scaling>
          <c:orientation val="minMax"/>
        </c:scaling>
        <c:delete val="1"/>
        <c:axPos val="l"/>
        <c:numFmt formatCode="0.0%" sourceLinked="1"/>
        <c:majorTickMark val="none"/>
        <c:minorTickMark val="none"/>
        <c:tickLblPos val="nextTo"/>
        <c:crossAx val="13408810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solidFill>
              <a:schemeClr val="accent2"/>
            </a:solidFill>
            <a:ln>
              <a:solidFill>
                <a:schemeClr val="bg1"/>
              </a:solidFill>
            </a:ln>
          </c:spPr>
          <c:dPt>
            <c:idx val="0"/>
            <c:bubble3D val="0"/>
            <c:explosion val="7"/>
            <c:spPr>
              <a:solidFill>
                <a:srgbClr val="008864"/>
              </a:solidFill>
              <a:ln w="19050">
                <a:solidFill>
                  <a:schemeClr val="bg1"/>
                </a:solidFill>
              </a:ln>
              <a:effectLst/>
            </c:spPr>
            <c:extLst>
              <c:ext xmlns:c16="http://schemas.microsoft.com/office/drawing/2014/chart" uri="{C3380CC4-5D6E-409C-BE32-E72D297353CC}">
                <c16:uniqueId val="{00000002-3D51-0E4A-BEC6-66A13BD47C43}"/>
              </c:ext>
            </c:extLst>
          </c:dPt>
          <c:dPt>
            <c:idx val="1"/>
            <c:bubble3D val="0"/>
            <c:spPr>
              <a:solidFill>
                <a:srgbClr val="102C23"/>
              </a:solidFill>
              <a:ln w="19050">
                <a:solidFill>
                  <a:schemeClr val="bg1"/>
                </a:solidFill>
              </a:ln>
              <a:effectLst/>
            </c:spPr>
            <c:extLst>
              <c:ext xmlns:c16="http://schemas.microsoft.com/office/drawing/2014/chart" uri="{C3380CC4-5D6E-409C-BE32-E72D297353CC}">
                <c16:uniqueId val="{00000001-3D51-0E4A-BEC6-66A13BD47C43}"/>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Debt Weighting</c:v>
                </c:pt>
                <c:pt idx="1">
                  <c:v>Equity Weighting</c:v>
                </c:pt>
              </c:strCache>
            </c:strRef>
          </c:cat>
          <c:val>
            <c:numRef>
              <c:f>Sheet1!$B$2:$B$3</c:f>
              <c:numCache>
                <c:formatCode>0.0%</c:formatCode>
                <c:ptCount val="2"/>
                <c:pt idx="0">
                  <c:v>0.04</c:v>
                </c:pt>
                <c:pt idx="1">
                  <c:v>0.96</c:v>
                </c:pt>
              </c:numCache>
            </c:numRef>
          </c:val>
          <c:extLst>
            <c:ext xmlns:c16="http://schemas.microsoft.com/office/drawing/2014/chart" uri="{C3380CC4-5D6E-409C-BE32-E72D297353CC}">
              <c16:uniqueId val="{00000000-3D51-0E4A-BEC6-66A13BD47C43}"/>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008864"/>
              </a:solidFill>
              <a:ln>
                <a:noFill/>
              </a:ln>
              <a:effectLst/>
            </c:spPr>
            <c:extLst>
              <c:ext xmlns:c16="http://schemas.microsoft.com/office/drawing/2014/chart" uri="{C3380CC4-5D6E-409C-BE32-E72D297353CC}">
                <c16:uniqueId val="{00000003-CB68-D043-BDCB-5F4C6966D696}"/>
              </c:ext>
            </c:extLst>
          </c:dPt>
          <c:dPt>
            <c:idx val="1"/>
            <c:invertIfNegative val="0"/>
            <c:bubble3D val="0"/>
            <c:spPr>
              <a:solidFill>
                <a:srgbClr val="102C23"/>
              </a:solidFill>
              <a:ln>
                <a:noFill/>
              </a:ln>
              <a:effectLst/>
            </c:spPr>
            <c:extLst>
              <c:ext xmlns:c16="http://schemas.microsoft.com/office/drawing/2014/chart" uri="{C3380CC4-5D6E-409C-BE32-E72D297353CC}">
                <c16:uniqueId val="{00000004-CB68-D043-BDCB-5F4C6966D696}"/>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fter-Tax Cost of Debt</c:v>
                </c:pt>
                <c:pt idx="1">
                  <c:v>Cost of Equity</c:v>
                </c:pt>
              </c:strCache>
            </c:strRef>
          </c:cat>
          <c:val>
            <c:numRef>
              <c:f>Sheet1!$B$2:$B$3</c:f>
              <c:numCache>
                <c:formatCode>0.0%</c:formatCode>
                <c:ptCount val="2"/>
                <c:pt idx="0">
                  <c:v>3.5400000000000001E-2</c:v>
                </c:pt>
                <c:pt idx="1">
                  <c:v>0.1356</c:v>
                </c:pt>
              </c:numCache>
            </c:numRef>
          </c:val>
          <c:extLst>
            <c:ext xmlns:c16="http://schemas.microsoft.com/office/drawing/2014/chart" uri="{C3380CC4-5D6E-409C-BE32-E72D297353CC}">
              <c16:uniqueId val="{00000000-CB68-D043-BDCB-5F4C6966D696}"/>
            </c:ext>
          </c:extLst>
        </c:ser>
        <c:dLbls>
          <c:dLblPos val="outEnd"/>
          <c:showLegendKey val="0"/>
          <c:showVal val="1"/>
          <c:showCatName val="0"/>
          <c:showSerName val="0"/>
          <c:showPercent val="0"/>
          <c:showBubbleSize val="0"/>
        </c:dLbls>
        <c:gapWidth val="219"/>
        <c:overlap val="-27"/>
        <c:axId val="1340881023"/>
        <c:axId val="1340826127"/>
      </c:barChart>
      <c:catAx>
        <c:axId val="1340881023"/>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340826127"/>
        <c:crosses val="autoZero"/>
        <c:auto val="1"/>
        <c:lblAlgn val="ctr"/>
        <c:lblOffset val="100"/>
        <c:noMultiLvlLbl val="0"/>
      </c:catAx>
      <c:valAx>
        <c:axId val="1340826127"/>
        <c:scaling>
          <c:orientation val="minMax"/>
        </c:scaling>
        <c:delete val="1"/>
        <c:axPos val="l"/>
        <c:numFmt formatCode="0.0%" sourceLinked="1"/>
        <c:majorTickMark val="none"/>
        <c:minorTickMark val="none"/>
        <c:tickLblPos val="nextTo"/>
        <c:crossAx val="13408810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33CA-4AA8-B7B8-FB056D4B4E23}"/>
              </c:ext>
            </c:extLst>
          </c:dPt>
          <c:dLbls>
            <c:dLbl>
              <c:idx val="0"/>
              <c:tx>
                <c:rich>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fld id="{443F9611-EB3C-498D-9CD7-69D99B6B6980}" type="VALUE">
                      <a:rPr lang="en-US">
                        <a:solidFill>
                          <a:schemeClr val="tx2"/>
                        </a:solidFill>
                      </a:rPr>
                      <a:pPr>
                        <a:defRPr b="1">
                          <a:solidFill>
                            <a:schemeClr val="tx2"/>
                          </a:solidFill>
                        </a:defRPr>
                      </a:pPr>
                      <a:t>[VALUE]</a:t>
                    </a:fld>
                    <a:endParaRPr lang="en-US"/>
                  </a:p>
                </c:rich>
              </c:tx>
              <c:numFmt formatCode="&quot;$&quot;#,##0.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33CA-4AA8-B7B8-FB056D4B4E23}"/>
                </c:ext>
              </c:extLst>
            </c:dLbl>
            <c:dLbl>
              <c:idx val="1"/>
              <c:tx>
                <c:rich>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fld id="{E19376A2-EFC5-4CEB-8969-C5F34E7D14D5}" type="VALUE">
                      <a:rPr lang="en-US">
                        <a:solidFill>
                          <a:schemeClr val="tx2"/>
                        </a:solidFill>
                      </a:rPr>
                      <a:pPr>
                        <a:defRPr b="1">
                          <a:solidFill>
                            <a:schemeClr val="tx2"/>
                          </a:solidFill>
                        </a:defRPr>
                      </a:pPr>
                      <a:t>[VALUE]</a:t>
                    </a:fld>
                    <a:endParaRPr lang="en-US"/>
                  </a:p>
                </c:rich>
              </c:tx>
              <c:numFmt formatCode="&quot;$&quot;#,##0.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33CA-4AA8-B7B8-FB056D4B4E23}"/>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TA!$L$24:$M$24</c:f>
              <c:strCache>
                <c:ptCount val="2"/>
                <c:pt idx="0">
                  <c:v>(2.8x) NTM EV/Revenue </c:v>
                </c:pt>
                <c:pt idx="1">
                  <c:v>(16.1x) NTM EV/EBITDA</c:v>
                </c:pt>
              </c:strCache>
            </c:strRef>
          </c:cat>
          <c:val>
            <c:numRef>
              <c:f>PTA!$L$25:$M$25</c:f>
              <c:numCache>
                <c:formatCode>#,##0.00</c:formatCode>
                <c:ptCount val="2"/>
                <c:pt idx="0">
                  <c:v>13138.80192</c:v>
                </c:pt>
                <c:pt idx="1">
                  <c:v>37544.17</c:v>
                </c:pt>
              </c:numCache>
            </c:numRef>
          </c:val>
          <c:extLst>
            <c:ext xmlns:c16="http://schemas.microsoft.com/office/drawing/2014/chart" uri="{C3380CC4-5D6E-409C-BE32-E72D297353CC}">
              <c16:uniqueId val="{00000000-33CA-4AA8-B7B8-FB056D4B4E23}"/>
            </c:ext>
          </c:extLst>
        </c:ser>
        <c:dLbls>
          <c:dLblPos val="outEnd"/>
          <c:showLegendKey val="0"/>
          <c:showVal val="1"/>
          <c:showCatName val="0"/>
          <c:showSerName val="0"/>
          <c:showPercent val="0"/>
          <c:showBubbleSize val="0"/>
        </c:dLbls>
        <c:gapWidth val="219"/>
        <c:overlap val="-27"/>
        <c:axId val="1445964640"/>
        <c:axId val="1445970400"/>
      </c:barChart>
      <c:catAx>
        <c:axId val="1445964640"/>
        <c:scaling>
          <c:orientation val="minMax"/>
        </c:scaling>
        <c:delete val="0"/>
        <c:axPos val="b"/>
        <c:numFmt formatCode="General" sourceLinked="1"/>
        <c:majorTickMark val="out"/>
        <c:minorTickMark val="none"/>
        <c:tickLblPos val="nextTo"/>
        <c:spPr>
          <a:solidFill>
            <a:schemeClr val="bg1"/>
          </a:solid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chemeClr val="tx2"/>
                </a:solidFill>
                <a:latin typeface="+mn-lt"/>
                <a:ea typeface="+mn-ea"/>
                <a:cs typeface="+mn-cs"/>
              </a:defRPr>
            </a:pPr>
            <a:endParaRPr lang="en-US"/>
          </a:p>
        </c:txPr>
        <c:crossAx val="1445970400"/>
        <c:crosses val="autoZero"/>
        <c:auto val="1"/>
        <c:lblAlgn val="ctr"/>
        <c:lblOffset val="100"/>
        <c:noMultiLvlLbl val="0"/>
      </c:catAx>
      <c:valAx>
        <c:axId val="1445970400"/>
        <c:scaling>
          <c:orientation val="minMax"/>
        </c:scaling>
        <c:delete val="1"/>
        <c:axPos val="l"/>
        <c:numFmt formatCode="#,##0.00" sourceLinked="1"/>
        <c:majorTickMark val="none"/>
        <c:minorTickMark val="none"/>
        <c:tickLblPos val="nextTo"/>
        <c:crossAx val="14459646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222-47B6-AD17-6EF0C9916E5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6222-47B6-AD17-6EF0C9916E51}"/>
              </c:ext>
            </c:extLst>
          </c:dPt>
          <c:dLbls>
            <c:dLbl>
              <c:idx val="0"/>
              <c:layout>
                <c:manualLayout>
                  <c:x val="-0.23261310999802384"/>
                  <c:y val="-0.234121754601855"/>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r>
                      <a:rPr lang="en-US" sz="900" b="1" baseline="0">
                        <a:solidFill>
                          <a:schemeClr val="bg1"/>
                        </a:solidFill>
                        <a:latin typeface="+mj-lt"/>
                      </a:rPr>
                      <a:t>EV/Revenue (70%)</a:t>
                    </a:r>
                    <a:r>
                      <a:rPr lang="en-US" sz="900" b="1">
                        <a:solidFill>
                          <a:schemeClr val="bg1"/>
                        </a:solidFill>
                        <a:latin typeface="+mj-lt"/>
                      </a:rPr>
                      <a:t> </a:t>
                    </a:r>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26644839620193506"/>
                      <c:h val="0.31199783665855413"/>
                    </c:manualLayout>
                  </c15:layout>
                  <c15:showDataLabelsRange val="0"/>
                </c:ext>
                <c:ext xmlns:c16="http://schemas.microsoft.com/office/drawing/2014/chart" uri="{C3380CC4-5D6E-409C-BE32-E72D297353CC}">
                  <c16:uniqueId val="{00000001-6222-47B6-AD17-6EF0C9916E51}"/>
                </c:ext>
              </c:extLst>
            </c:dLbl>
            <c:dLbl>
              <c:idx val="1"/>
              <c:layout>
                <c:manualLayout>
                  <c:x val="0.17109097438777651"/>
                  <c:y val="0.24081939548723455"/>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r>
                      <a:rPr lang="en-US" sz="900" b="1">
                        <a:solidFill>
                          <a:schemeClr val="bg1"/>
                        </a:solidFill>
                        <a:latin typeface="+mj-lt"/>
                      </a:rPr>
                      <a:t> </a:t>
                    </a:r>
                  </a:p>
                  <a:p>
                    <a:pPr>
                      <a:defRPr sz="900"/>
                    </a:pPr>
                    <a:r>
                      <a:rPr lang="en-US" sz="900" b="1">
                        <a:solidFill>
                          <a:schemeClr val="bg1"/>
                        </a:solidFill>
                        <a:latin typeface="+mj-lt"/>
                      </a:rPr>
                      <a:t>EV/</a:t>
                    </a:r>
                    <a:r>
                      <a:rPr lang="en-US" sz="900" b="1" baseline="0">
                        <a:solidFill>
                          <a:schemeClr val="bg1"/>
                        </a:solidFill>
                        <a:latin typeface="+mj-lt"/>
                      </a:rPr>
                      <a:t>EBITDA (30%)</a:t>
                    </a:r>
                    <a:endParaRPr lang="en-US" sz="900" b="1">
                      <a:solidFill>
                        <a:schemeClr val="bg1"/>
                      </a:solidFill>
                      <a:latin typeface="+mj-lt"/>
                    </a:endParaRPr>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29884845339532806"/>
                      <c:h val="0.27141816067524543"/>
                    </c:manualLayout>
                  </c15:layout>
                  <c15:showDataLabelsRange val="0"/>
                </c:ext>
                <c:ext xmlns:c16="http://schemas.microsoft.com/office/drawing/2014/chart" uri="{C3380CC4-5D6E-409C-BE32-E72D297353CC}">
                  <c16:uniqueId val="{00000002-6222-47B6-AD17-6EF0C9916E5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NTM EV/Revenue </c:v>
                </c:pt>
                <c:pt idx="1">
                  <c:v>NTM EV/EBITDA</c:v>
                </c:pt>
              </c:strCache>
            </c:strRef>
          </c:cat>
          <c:val>
            <c:numRef>
              <c:f>Sheet1!$B$2:$B$3</c:f>
              <c:numCache>
                <c:formatCode>General</c:formatCode>
                <c:ptCount val="2"/>
                <c:pt idx="0">
                  <c:v>0.7</c:v>
                </c:pt>
                <c:pt idx="1">
                  <c:v>0.3</c:v>
                </c:pt>
              </c:numCache>
            </c:numRef>
          </c:val>
          <c:extLst>
            <c:ext xmlns:c16="http://schemas.microsoft.com/office/drawing/2014/chart" uri="{C3380CC4-5D6E-409C-BE32-E72D297353CC}">
              <c16:uniqueId val="{00000000-6222-47B6-AD17-6EF0C9916E51}"/>
            </c:ext>
          </c:extLst>
        </c:ser>
        <c:dLbls>
          <c:dLblPos val="inEnd"/>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C$52</c:f>
              <c:strCache>
                <c:ptCount val="1"/>
                <c:pt idx="0">
                  <c:v>EBITDA</c:v>
                </c:pt>
              </c:strCache>
            </c:strRef>
          </c:tx>
          <c:spPr>
            <a:solidFill>
              <a:srgbClr val="00886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D$51:$H$51</c:f>
              <c:numCache>
                <c:formatCode>General</c:formatCode>
                <c:ptCount val="5"/>
                <c:pt idx="0">
                  <c:v>2025</c:v>
                </c:pt>
                <c:pt idx="1">
                  <c:v>2026</c:v>
                </c:pt>
                <c:pt idx="2">
                  <c:v>2027</c:v>
                </c:pt>
                <c:pt idx="3">
                  <c:v>2028</c:v>
                </c:pt>
                <c:pt idx="4">
                  <c:v>2029</c:v>
                </c:pt>
              </c:numCache>
            </c:numRef>
          </c:cat>
          <c:val>
            <c:numRef>
              <c:f>Sheet1!$D$52:$H$52</c:f>
              <c:numCache>
                <c:formatCode>#,##0.0_);\(#,##0.0\)</c:formatCode>
                <c:ptCount val="5"/>
                <c:pt idx="0">
                  <c:v>2545.6</c:v>
                </c:pt>
                <c:pt idx="1">
                  <c:v>4121.5</c:v>
                </c:pt>
                <c:pt idx="2">
                  <c:v>5617.7</c:v>
                </c:pt>
                <c:pt idx="3">
                  <c:v>7181.5</c:v>
                </c:pt>
                <c:pt idx="4">
                  <c:v>8974.7999999999993</c:v>
                </c:pt>
              </c:numCache>
            </c:numRef>
          </c:val>
          <c:extLst>
            <c:ext xmlns:c16="http://schemas.microsoft.com/office/drawing/2014/chart" uri="{C3380CC4-5D6E-409C-BE32-E72D297353CC}">
              <c16:uniqueId val="{00000000-366E-DB4A-95E8-487690F57570}"/>
            </c:ext>
          </c:extLst>
        </c:ser>
        <c:dLbls>
          <c:showLegendKey val="0"/>
          <c:showVal val="0"/>
          <c:showCatName val="0"/>
          <c:showSerName val="0"/>
          <c:showPercent val="0"/>
          <c:showBubbleSize val="0"/>
        </c:dLbls>
        <c:gapWidth val="65"/>
        <c:overlap val="-26"/>
        <c:axId val="1777164976"/>
        <c:axId val="1754990800"/>
      </c:barChart>
      <c:lineChart>
        <c:grouping val="standard"/>
        <c:varyColors val="0"/>
        <c:ser>
          <c:idx val="1"/>
          <c:order val="1"/>
          <c:tx>
            <c:strRef>
              <c:f>Sheet1!$C$53</c:f>
              <c:strCache>
                <c:ptCount val="1"/>
                <c:pt idx="0">
                  <c:v>EBITDA Margin</c:v>
                </c:pt>
              </c:strCache>
            </c:strRef>
          </c:tx>
          <c:spPr>
            <a:ln w="28575" cap="rnd">
              <a:solidFill>
                <a:srgbClr val="3E685D"/>
              </a:solidFill>
              <a:round/>
            </a:ln>
            <a:effectLst/>
          </c:spPr>
          <c:marker>
            <c:symbol val="none"/>
          </c:marker>
          <c:dLbls>
            <c:spPr>
              <a:solidFill>
                <a:srgbClr val="3E685D"/>
              </a:solidFill>
              <a:ln>
                <a:solidFill>
                  <a:srgbClr val="000000"/>
                </a:solidFill>
              </a:ln>
              <a:effectLst/>
            </c:spPr>
            <c:txPr>
              <a:bodyPr rot="0" spcFirstLastPara="1" vertOverflow="ellipsis" vert="horz" wrap="square" anchor="ctr" anchorCtr="1"/>
              <a:lstStyle/>
              <a:p>
                <a:pPr>
                  <a:defRPr sz="900" b="1" i="0" u="none" strike="noStrike" kern="1200" baseline="0">
                    <a:ln>
                      <a:noFill/>
                    </a:ln>
                    <a:solidFill>
                      <a:schemeClr val="bg1">
                        <a:lumMod val="9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D$51:$H$51</c:f>
              <c:numCache>
                <c:formatCode>General</c:formatCode>
                <c:ptCount val="5"/>
                <c:pt idx="0">
                  <c:v>2025</c:v>
                </c:pt>
                <c:pt idx="1">
                  <c:v>2026</c:v>
                </c:pt>
                <c:pt idx="2">
                  <c:v>2027</c:v>
                </c:pt>
                <c:pt idx="3">
                  <c:v>2028</c:v>
                </c:pt>
                <c:pt idx="4">
                  <c:v>2029</c:v>
                </c:pt>
              </c:numCache>
            </c:numRef>
          </c:cat>
          <c:val>
            <c:numRef>
              <c:f>Sheet1!$D$53:$H$53</c:f>
              <c:numCache>
                <c:formatCode>0.0%</c:formatCode>
                <c:ptCount val="5"/>
                <c:pt idx="0">
                  <c:v>0.46400000000000002</c:v>
                </c:pt>
                <c:pt idx="1">
                  <c:v>0.48399999999999999</c:v>
                </c:pt>
                <c:pt idx="2">
                  <c:v>0.50700000000000001</c:v>
                </c:pt>
                <c:pt idx="3">
                  <c:v>0.51800000000000002</c:v>
                </c:pt>
                <c:pt idx="4">
                  <c:v>0.53800000000000003</c:v>
                </c:pt>
              </c:numCache>
            </c:numRef>
          </c:val>
          <c:smooth val="0"/>
          <c:extLst>
            <c:ext xmlns:c16="http://schemas.microsoft.com/office/drawing/2014/chart" uri="{C3380CC4-5D6E-409C-BE32-E72D297353CC}">
              <c16:uniqueId val="{00000001-366E-DB4A-95E8-487690F57570}"/>
            </c:ext>
          </c:extLst>
        </c:ser>
        <c:dLbls>
          <c:showLegendKey val="0"/>
          <c:showVal val="0"/>
          <c:showCatName val="0"/>
          <c:showSerName val="0"/>
          <c:showPercent val="0"/>
          <c:showBubbleSize val="0"/>
        </c:dLbls>
        <c:marker val="1"/>
        <c:smooth val="0"/>
        <c:axId val="204404447"/>
        <c:axId val="196185807"/>
      </c:lineChart>
      <c:catAx>
        <c:axId val="1777164976"/>
        <c:scaling>
          <c:orientation val="minMax"/>
        </c:scaling>
        <c:delete val="0"/>
        <c:axPos val="b"/>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9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1754990800"/>
        <c:crosses val="autoZero"/>
        <c:auto val="1"/>
        <c:lblAlgn val="ctr"/>
        <c:lblOffset val="100"/>
        <c:noMultiLvlLbl val="0"/>
      </c:catAx>
      <c:valAx>
        <c:axId val="1754990800"/>
        <c:scaling>
          <c:orientation val="minMax"/>
        </c:scaling>
        <c:delete val="0"/>
        <c:axPos val="l"/>
        <c:numFmt formatCode="#,##0.0_);\(#,##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777164976"/>
        <c:crosses val="autoZero"/>
        <c:crossBetween val="between"/>
      </c:valAx>
      <c:valAx>
        <c:axId val="196185807"/>
        <c:scaling>
          <c:orientation val="minMax"/>
          <c:max val="0.7"/>
          <c:min val="0.4"/>
        </c:scaling>
        <c:delete val="0"/>
        <c:axPos val="r"/>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04404447"/>
        <c:crosses val="max"/>
        <c:crossBetween val="between"/>
      </c:valAx>
      <c:catAx>
        <c:axId val="204404447"/>
        <c:scaling>
          <c:orientation val="minMax"/>
        </c:scaling>
        <c:delete val="1"/>
        <c:axPos val="b"/>
        <c:numFmt formatCode="General" sourceLinked="1"/>
        <c:majorTickMark val="none"/>
        <c:minorTickMark val="none"/>
        <c:tickLblPos val="nextTo"/>
        <c:crossAx val="196185807"/>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9434188552209589E-2"/>
          <c:y val="2.6894870703438521E-2"/>
          <c:w val="0.92440122471332731"/>
          <c:h val="0.94621025859312291"/>
        </c:manualLayout>
      </c:layout>
      <c:barChart>
        <c:barDir val="bar"/>
        <c:grouping val="clustered"/>
        <c:varyColors val="0"/>
        <c:ser>
          <c:idx val="0"/>
          <c:order val="0"/>
          <c:tx>
            <c:strRef>
              <c:f>Sheet1!$C$23</c:f>
              <c:strCache>
                <c:ptCount val="1"/>
                <c:pt idx="0">
                  <c:v>Net Income</c:v>
                </c:pt>
              </c:strCache>
            </c:strRef>
          </c:tx>
          <c:spPr>
            <a:solidFill>
              <a:schemeClr val="accent1"/>
            </a:solidFill>
            <a:ln>
              <a:noFill/>
            </a:ln>
            <a:effectLst/>
          </c:spPr>
          <c:invertIfNegative val="0"/>
          <c:dPt>
            <c:idx val="0"/>
            <c:invertIfNegative val="0"/>
            <c:bubble3D val="0"/>
            <c:spPr>
              <a:solidFill>
                <a:srgbClr val="004F3C"/>
              </a:solidFill>
              <a:ln>
                <a:noFill/>
              </a:ln>
              <a:effectLst/>
            </c:spPr>
            <c:extLst>
              <c:ext xmlns:c16="http://schemas.microsoft.com/office/drawing/2014/chart" uri="{C3380CC4-5D6E-409C-BE32-E72D297353CC}">
                <c16:uniqueId val="{00000001-D154-6942-9D96-6ABF88DA20E4}"/>
              </c:ext>
            </c:extLst>
          </c:dPt>
          <c:dPt>
            <c:idx val="1"/>
            <c:invertIfNegative val="0"/>
            <c:bubble3D val="0"/>
            <c:spPr>
              <a:solidFill>
                <a:srgbClr val="004F3C"/>
              </a:solidFill>
              <a:ln>
                <a:noFill/>
              </a:ln>
              <a:effectLst/>
            </c:spPr>
            <c:extLst>
              <c:ext xmlns:c16="http://schemas.microsoft.com/office/drawing/2014/chart" uri="{C3380CC4-5D6E-409C-BE32-E72D297353CC}">
                <c16:uniqueId val="{00000003-D154-6942-9D96-6ABF88DA20E4}"/>
              </c:ext>
            </c:extLst>
          </c:dPt>
          <c:dPt>
            <c:idx val="2"/>
            <c:invertIfNegative val="0"/>
            <c:bubble3D val="0"/>
            <c:spPr>
              <a:solidFill>
                <a:srgbClr val="004F3C"/>
              </a:solidFill>
              <a:ln>
                <a:noFill/>
              </a:ln>
              <a:effectLst/>
            </c:spPr>
            <c:extLst>
              <c:ext xmlns:c16="http://schemas.microsoft.com/office/drawing/2014/chart" uri="{C3380CC4-5D6E-409C-BE32-E72D297353CC}">
                <c16:uniqueId val="{00000005-D154-6942-9D96-6ABF88DA20E4}"/>
              </c:ext>
            </c:extLst>
          </c:dPt>
          <c:dPt>
            <c:idx val="3"/>
            <c:invertIfNegative val="0"/>
            <c:bubble3D val="0"/>
            <c:spPr>
              <a:solidFill>
                <a:srgbClr val="004F3C"/>
              </a:solidFill>
              <a:ln>
                <a:noFill/>
              </a:ln>
              <a:effectLst/>
            </c:spPr>
            <c:extLst>
              <c:ext xmlns:c16="http://schemas.microsoft.com/office/drawing/2014/chart" uri="{C3380CC4-5D6E-409C-BE32-E72D297353CC}">
                <c16:uniqueId val="{00000007-D154-6942-9D96-6ABF88DA20E4}"/>
              </c:ext>
            </c:extLst>
          </c:dPt>
          <c:dPt>
            <c:idx val="4"/>
            <c:invertIfNegative val="0"/>
            <c:bubble3D val="0"/>
            <c:spPr>
              <a:solidFill>
                <a:srgbClr val="00503E"/>
              </a:solidFill>
              <a:ln>
                <a:noFill/>
              </a:ln>
              <a:effectLst/>
            </c:spPr>
            <c:extLst>
              <c:ext xmlns:c16="http://schemas.microsoft.com/office/drawing/2014/chart" uri="{C3380CC4-5D6E-409C-BE32-E72D297353CC}">
                <c16:uniqueId val="{00000009-D154-6942-9D96-6ABF88DA20E4}"/>
              </c:ext>
            </c:extLst>
          </c:dPt>
          <c:dLbls>
            <c:dLbl>
              <c:idx val="0"/>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154-6942-9D96-6ABF88DA20E4}"/>
                </c:ext>
              </c:extLst>
            </c:dLbl>
            <c:dLbl>
              <c:idx val="1"/>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154-6942-9D96-6ABF88DA20E4}"/>
                </c:ext>
              </c:extLst>
            </c:dLbl>
            <c:dLbl>
              <c:idx val="2"/>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154-6942-9D96-6ABF88DA20E4}"/>
                </c:ext>
              </c:extLst>
            </c:dLbl>
            <c:dLbl>
              <c:idx val="3"/>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154-6942-9D96-6ABF88DA20E4}"/>
                </c:ext>
              </c:extLst>
            </c:dLbl>
            <c:dLbl>
              <c:idx val="4"/>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154-6942-9D96-6ABF88DA20E4}"/>
                </c:ext>
              </c:extLst>
            </c:dLbl>
            <c:numFmt formatCode="[&gt;=1000000000]\ &quot;$&quot;#.0,,,&quot;B&quot;;[&gt;=1000000]\ #.0,,&quot;M&quot;;0" sourceLinked="0"/>
            <c:spPr>
              <a:noFill/>
              <a:ln>
                <a:noFill/>
              </a:ln>
              <a:effectLst/>
            </c:spPr>
            <c:txPr>
              <a:bodyPr rot="0" spcFirstLastPara="1" vertOverflow="ellipsis" vert="horz" wrap="square" anchor="ctr" anchorCtr="1"/>
              <a:lstStyle/>
              <a:p>
                <a:pPr>
                  <a:defRPr sz="2000" b="1" i="0" u="none" strike="noStrike" kern="1200" baseline="0">
                    <a:solidFill>
                      <a:schemeClr val="bg1">
                        <a:lumMod val="95000"/>
                      </a:schemeClr>
                    </a:solidFill>
                    <a:latin typeface="Arial" panose="020B0604020202020204" pitchFamily="34" charset="0"/>
                    <a:ea typeface="+mn-ea"/>
                    <a:cs typeface="Segoe UI"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D$22:$H$22</c:f>
              <c:numCache>
                <c:formatCode>General</c:formatCode>
                <c:ptCount val="5"/>
                <c:pt idx="0">
                  <c:v>2025</c:v>
                </c:pt>
                <c:pt idx="1">
                  <c:v>2026</c:v>
                </c:pt>
                <c:pt idx="2">
                  <c:v>2027</c:v>
                </c:pt>
                <c:pt idx="3">
                  <c:v>2028</c:v>
                </c:pt>
                <c:pt idx="4">
                  <c:v>2029</c:v>
                </c:pt>
              </c:numCache>
            </c:numRef>
          </c:cat>
          <c:val>
            <c:numRef>
              <c:f>Sheet1!$D$23:$H$23</c:f>
              <c:numCache>
                <c:formatCode>#,##0_);\(#,##0\)</c:formatCode>
                <c:ptCount val="5"/>
                <c:pt idx="0">
                  <c:v>2419000000</c:v>
                </c:pt>
                <c:pt idx="1">
                  <c:v>4049300000</c:v>
                </c:pt>
                <c:pt idx="2">
                  <c:v>5544700000</c:v>
                </c:pt>
                <c:pt idx="3">
                  <c:v>7124100000</c:v>
                </c:pt>
                <c:pt idx="4">
                  <c:v>8879400000</c:v>
                </c:pt>
              </c:numCache>
            </c:numRef>
          </c:val>
          <c:extLst>
            <c:ext xmlns:c16="http://schemas.microsoft.com/office/drawing/2014/chart" uri="{C3380CC4-5D6E-409C-BE32-E72D297353CC}">
              <c16:uniqueId val="{0000000A-D154-6942-9D96-6ABF88DA20E4}"/>
            </c:ext>
          </c:extLst>
        </c:ser>
        <c:dLbls>
          <c:showLegendKey val="0"/>
          <c:showVal val="0"/>
          <c:showCatName val="0"/>
          <c:showSerName val="0"/>
          <c:showPercent val="0"/>
          <c:showBubbleSize val="0"/>
        </c:dLbls>
        <c:gapWidth val="31"/>
        <c:axId val="196167583"/>
        <c:axId val="196124559"/>
      </c:barChart>
      <c:catAx>
        <c:axId val="196167583"/>
        <c:scaling>
          <c:orientation val="maxMin"/>
        </c:scaling>
        <c:delete val="0"/>
        <c:axPos val="l"/>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Segoe UI" panose="020B0502040204020203" pitchFamily="34" charset="0"/>
              </a:defRPr>
            </a:pPr>
            <a:endParaRPr lang="en-US"/>
          </a:p>
        </c:txPr>
        <c:crossAx val="196124559"/>
        <c:crosses val="autoZero"/>
        <c:auto val="1"/>
        <c:lblAlgn val="ctr"/>
        <c:lblOffset val="100"/>
        <c:noMultiLvlLbl val="0"/>
      </c:catAx>
      <c:valAx>
        <c:axId val="196124559"/>
        <c:scaling>
          <c:orientation val="minMax"/>
        </c:scaling>
        <c:delete val="1"/>
        <c:axPos val="t"/>
        <c:numFmt formatCode="#,##0_);\(#,##0\)" sourceLinked="1"/>
        <c:majorTickMark val="none"/>
        <c:minorTickMark val="none"/>
        <c:tickLblPos val="nextTo"/>
        <c:crossAx val="196167583"/>
        <c:crosses val="autoZero"/>
        <c:crossBetween val="between"/>
      </c:valAx>
      <c:spPr>
        <a:noFill/>
        <a:ln>
          <a:noFill/>
        </a:ln>
        <a:effectLst/>
      </c:spPr>
    </c:plotArea>
    <c:plotVisOnly val="1"/>
    <c:dispBlanksAs val="gap"/>
    <c:showDLblsOverMax val="0"/>
  </c:chart>
  <c:spPr>
    <a:noFill/>
    <a:ln>
      <a:noFill/>
    </a:ln>
    <a:effectLst/>
  </c:spPr>
  <c:txPr>
    <a:bodyPr/>
    <a:lstStyle/>
    <a:p>
      <a:pPr>
        <a:defRPr b="1" i="0">
          <a:solidFill>
            <a:schemeClr val="bg1">
              <a:lumMod val="95000"/>
            </a:schemeClr>
          </a:solidFill>
          <a:latin typeface="Segoe UI" panose="020B0502040204020203" pitchFamily="34" charset="0"/>
          <a:cs typeface="Segoe UI" panose="020B0502040204020203" pitchFamily="34" charset="0"/>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D$64</c:f>
              <c:strCache>
                <c:ptCount val="1"/>
                <c:pt idx="0">
                  <c:v>Total Assets</c:v>
                </c:pt>
              </c:strCache>
            </c:strRef>
          </c:tx>
          <c:spPr>
            <a:pattFill prst="dkDnDiag">
              <a:fgClr>
                <a:srgbClr val="008864"/>
              </a:fgClr>
              <a:bgClr>
                <a:schemeClr val="bg1"/>
              </a:bgClr>
            </a:pattFill>
            <a:ln>
              <a:noFill/>
            </a:ln>
            <a:effectLst/>
          </c:spPr>
          <c:invertIfNegative val="0"/>
          <c:dPt>
            <c:idx val="0"/>
            <c:invertIfNegative val="0"/>
            <c:bubble3D val="0"/>
            <c:spPr>
              <a:solidFill>
                <a:srgbClr val="008864"/>
              </a:solidFill>
              <a:ln>
                <a:noFill/>
              </a:ln>
              <a:effectLst/>
            </c:spPr>
            <c:extLst>
              <c:ext xmlns:c16="http://schemas.microsoft.com/office/drawing/2014/chart" uri="{C3380CC4-5D6E-409C-BE32-E72D297353CC}">
                <c16:uniqueId val="{0000000A-9CDC-074D-842B-D9985F19F940}"/>
              </c:ext>
            </c:extLst>
          </c:dPt>
          <c:dPt>
            <c:idx val="1"/>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0-4157-44C4-A249-42F62E22F0DE}"/>
              </c:ext>
            </c:extLst>
          </c:dPt>
          <c:dPt>
            <c:idx val="2"/>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1-4157-44C4-A249-42F62E22F0DE}"/>
              </c:ext>
            </c:extLst>
          </c:dPt>
          <c:dPt>
            <c:idx val="3"/>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2-4157-44C4-A249-42F62E22F0DE}"/>
              </c:ext>
            </c:extLst>
          </c:dPt>
          <c:dPt>
            <c:idx val="4"/>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0-D943-4161-B24D-EE8C8925A805}"/>
              </c:ext>
            </c:extLst>
          </c:dPt>
          <c:dPt>
            <c:idx val="5"/>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3-4157-44C4-A249-42F62E22F0DE}"/>
              </c:ext>
            </c:extLst>
          </c:dPt>
          <c:dLbls>
            <c:numFmt formatCode="_(* #,##0_);_(* \(#,##0\);_(* &quot;-&quot;_);_(@_)"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2!$C$65:$C$70</c:f>
              <c:numCache>
                <c:formatCode>General</c:formatCode>
                <c:ptCount val="6"/>
                <c:pt idx="0">
                  <c:v>2024</c:v>
                </c:pt>
                <c:pt idx="1">
                  <c:v>2025</c:v>
                </c:pt>
                <c:pt idx="2">
                  <c:v>2026</c:v>
                </c:pt>
                <c:pt idx="3">
                  <c:v>2027</c:v>
                </c:pt>
                <c:pt idx="4">
                  <c:v>2028</c:v>
                </c:pt>
                <c:pt idx="5">
                  <c:v>2029</c:v>
                </c:pt>
              </c:numCache>
            </c:numRef>
          </c:cat>
          <c:val>
            <c:numRef>
              <c:f>Sheet2!$D$65:$D$70</c:f>
              <c:numCache>
                <c:formatCode>General</c:formatCode>
                <c:ptCount val="6"/>
                <c:pt idx="0">
                  <c:v>5869.2150000000001</c:v>
                </c:pt>
                <c:pt idx="1">
                  <c:v>5694.9739991952019</c:v>
                </c:pt>
                <c:pt idx="2">
                  <c:v>8982.2217618441337</c:v>
                </c:pt>
                <c:pt idx="3">
                  <c:v>13335.971311725745</c:v>
                </c:pt>
                <c:pt idx="4">
                  <c:v>18930.841890652911</c:v>
                </c:pt>
                <c:pt idx="5">
                  <c:v>25833.723041606565</c:v>
                </c:pt>
              </c:numCache>
            </c:numRef>
          </c:val>
          <c:extLst>
            <c:ext xmlns:c16="http://schemas.microsoft.com/office/drawing/2014/chart" uri="{C3380CC4-5D6E-409C-BE32-E72D297353CC}">
              <c16:uniqueId val="{00000001-D943-4161-B24D-EE8C8925A805}"/>
            </c:ext>
          </c:extLst>
        </c:ser>
        <c:dLbls>
          <c:showLegendKey val="0"/>
          <c:showVal val="0"/>
          <c:showCatName val="0"/>
          <c:showSerName val="0"/>
          <c:showPercent val="0"/>
          <c:showBubbleSize val="0"/>
        </c:dLbls>
        <c:gapWidth val="219"/>
        <c:overlap val="-27"/>
        <c:axId val="2062580528"/>
        <c:axId val="2062564208"/>
      </c:barChart>
      <c:catAx>
        <c:axId val="206258052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62564208"/>
        <c:crosses val="autoZero"/>
        <c:auto val="1"/>
        <c:lblAlgn val="ctr"/>
        <c:lblOffset val="100"/>
        <c:noMultiLvlLbl val="0"/>
      </c:catAx>
      <c:valAx>
        <c:axId val="2062564208"/>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625805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D$88</c:f>
              <c:strCache>
                <c:ptCount val="1"/>
                <c:pt idx="0">
                  <c:v>Liabilities</c:v>
                </c:pt>
              </c:strCache>
            </c:strRef>
          </c:tx>
          <c:spPr>
            <a:solidFill>
              <a:srgbClr val="008864"/>
            </a:solidFill>
            <a:ln>
              <a:noFill/>
            </a:ln>
            <a:effectLst/>
          </c:spPr>
          <c:invertIfNegative val="0"/>
          <c:dPt>
            <c:idx val="1"/>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9-54F4-4E85-AEB6-ACD506524007}"/>
              </c:ext>
            </c:extLst>
          </c:dPt>
          <c:dPt>
            <c:idx val="2"/>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8-54F4-4E85-AEB6-ACD506524007}"/>
              </c:ext>
            </c:extLst>
          </c:dPt>
          <c:dPt>
            <c:idx val="3"/>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0-E62B-4FA0-8F02-4053479B71BF}"/>
              </c:ext>
            </c:extLst>
          </c:dPt>
          <c:dPt>
            <c:idx val="4"/>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1-E62B-4FA0-8F02-4053479B71BF}"/>
              </c:ext>
            </c:extLst>
          </c:dPt>
          <c:dPt>
            <c:idx val="5"/>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2-E62B-4FA0-8F02-4053479B71BF}"/>
              </c:ext>
            </c:extLst>
          </c:dPt>
          <c:dLbls>
            <c:numFmt formatCode="_(* #,##0_);_(* \(#,##0\);_(* &quot;-&quot;_);_(@_)"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2!$C$89:$C$94</c:f>
              <c:numCache>
                <c:formatCode>General</c:formatCode>
                <c:ptCount val="6"/>
                <c:pt idx="0">
                  <c:v>2024</c:v>
                </c:pt>
                <c:pt idx="1">
                  <c:v>2025</c:v>
                </c:pt>
                <c:pt idx="2">
                  <c:v>2026</c:v>
                </c:pt>
                <c:pt idx="3">
                  <c:v>2027</c:v>
                </c:pt>
                <c:pt idx="4">
                  <c:v>2028</c:v>
                </c:pt>
                <c:pt idx="5">
                  <c:v>2029</c:v>
                </c:pt>
              </c:numCache>
            </c:numRef>
          </c:cat>
          <c:val>
            <c:numRef>
              <c:f>Sheet2!$D$89:$D$94</c:f>
              <c:numCache>
                <c:formatCode>General</c:formatCode>
                <c:ptCount val="6"/>
                <c:pt idx="0">
                  <c:v>4764.6099999999997</c:v>
                </c:pt>
                <c:pt idx="1">
                  <c:v>4305.08</c:v>
                </c:pt>
                <c:pt idx="2">
                  <c:v>4445.84</c:v>
                </c:pt>
                <c:pt idx="3">
                  <c:v>4508.0200000000004</c:v>
                </c:pt>
                <c:pt idx="4">
                  <c:v>4575.93</c:v>
                </c:pt>
                <c:pt idx="5">
                  <c:v>4706.5200000000004</c:v>
                </c:pt>
              </c:numCache>
            </c:numRef>
          </c:val>
          <c:extLst>
            <c:ext xmlns:c16="http://schemas.microsoft.com/office/drawing/2014/chart" uri="{C3380CC4-5D6E-409C-BE32-E72D297353CC}">
              <c16:uniqueId val="{00000000-54F4-4E85-AEB6-ACD506524007}"/>
            </c:ext>
          </c:extLst>
        </c:ser>
        <c:dLbls>
          <c:showLegendKey val="0"/>
          <c:showVal val="0"/>
          <c:showCatName val="0"/>
          <c:showSerName val="0"/>
          <c:showPercent val="0"/>
          <c:showBubbleSize val="0"/>
        </c:dLbls>
        <c:gapWidth val="219"/>
        <c:overlap val="-27"/>
        <c:axId val="479424512"/>
        <c:axId val="479425952"/>
      </c:barChart>
      <c:catAx>
        <c:axId val="479424512"/>
        <c:scaling>
          <c:orientation val="minMax"/>
        </c:scaling>
        <c:delete val="0"/>
        <c:axPos val="b"/>
        <c:numFmt formatCode="General" sourceLinked="1"/>
        <c:majorTickMark val="out"/>
        <c:minorTickMark val="none"/>
        <c:tickLblPos val="nextTo"/>
        <c:spPr>
          <a:solidFill>
            <a:schemeClr val="bg1"/>
          </a:solid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479425952"/>
        <c:crosses val="autoZero"/>
        <c:auto val="1"/>
        <c:lblAlgn val="ctr"/>
        <c:lblOffset val="100"/>
        <c:noMultiLvlLbl val="0"/>
      </c:catAx>
      <c:valAx>
        <c:axId val="479425952"/>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94245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D$112</c:f>
              <c:strCache>
                <c:ptCount val="1"/>
                <c:pt idx="0">
                  <c:v>Equity</c:v>
                </c:pt>
              </c:strCache>
            </c:strRef>
          </c:tx>
          <c:spPr>
            <a:pattFill prst="dkDnDiag">
              <a:fgClr>
                <a:srgbClr val="008864"/>
              </a:fgClr>
              <a:bgClr>
                <a:schemeClr val="bg1"/>
              </a:bgClr>
            </a:pattFill>
            <a:ln>
              <a:noFill/>
            </a:ln>
            <a:effectLst/>
          </c:spPr>
          <c:invertIfNegative val="0"/>
          <c:dPt>
            <c:idx val="0"/>
            <c:invertIfNegative val="0"/>
            <c:bubble3D val="0"/>
            <c:spPr>
              <a:solidFill>
                <a:srgbClr val="008864"/>
              </a:solidFill>
              <a:ln>
                <a:noFill/>
              </a:ln>
              <a:effectLst/>
            </c:spPr>
            <c:extLst>
              <c:ext xmlns:c16="http://schemas.microsoft.com/office/drawing/2014/chart" uri="{C3380CC4-5D6E-409C-BE32-E72D297353CC}">
                <c16:uniqueId val="{00000000-E51F-41D5-9BA5-C11C3C198D9D}"/>
              </c:ext>
            </c:extLst>
          </c:dPt>
          <c:dPt>
            <c:idx val="1"/>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0-36AE-452E-859F-B5F78A6F9767}"/>
              </c:ext>
            </c:extLst>
          </c:dPt>
          <c:dPt>
            <c:idx val="2"/>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1-36AE-452E-859F-B5F78A6F9767}"/>
              </c:ext>
            </c:extLst>
          </c:dPt>
          <c:dPt>
            <c:idx val="3"/>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3-E51F-41D5-9BA5-C11C3C198D9D}"/>
              </c:ext>
            </c:extLst>
          </c:dPt>
          <c:dPt>
            <c:idx val="4"/>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2-36AE-452E-859F-B5F78A6F9767}"/>
              </c:ext>
            </c:extLst>
          </c:dPt>
          <c:dPt>
            <c:idx val="5"/>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3-36AE-452E-859F-B5F78A6F9767}"/>
              </c:ext>
            </c:extLst>
          </c:dPt>
          <c:dLbls>
            <c:dLbl>
              <c:idx val="0"/>
              <c:layout>
                <c:manualLayout>
                  <c:x val="1.4874139186067488E-3"/>
                  <c:y val="-5.23063347303597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1F-41D5-9BA5-C11C3C198D9D}"/>
                </c:ext>
              </c:extLst>
            </c:dLbl>
            <c:dLbl>
              <c:idx val="1"/>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6AE-452E-859F-B5F78A6F9767}"/>
                </c:ext>
              </c:extLst>
            </c:dLbl>
            <c:dLbl>
              <c:idx val="2"/>
              <c:layout>
                <c:manualLayout>
                  <c:x val="-7.8210374898133183E-17"/>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6AE-452E-859F-B5F78A6F9767}"/>
                </c:ext>
              </c:extLst>
            </c:dLbl>
            <c:dLbl>
              <c:idx val="3"/>
              <c:layout>
                <c:manualLayout>
                  <c:x val="-7.8210374898133183E-17"/>
                  <c:y val="1.69116713613939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51F-41D5-9BA5-C11C3C198D9D}"/>
                </c:ext>
              </c:extLst>
            </c:dLbl>
            <c:dLbl>
              <c:idx val="4"/>
              <c:layout>
                <c:manualLayout>
                  <c:x val="-7.8210374898133183E-17"/>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6AE-452E-859F-B5F78A6F976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2!$C$113:$C$118</c:f>
              <c:numCache>
                <c:formatCode>General</c:formatCode>
                <c:ptCount val="6"/>
                <c:pt idx="0">
                  <c:v>2024</c:v>
                </c:pt>
                <c:pt idx="1">
                  <c:v>2025</c:v>
                </c:pt>
                <c:pt idx="2">
                  <c:v>2026</c:v>
                </c:pt>
                <c:pt idx="3">
                  <c:v>2027</c:v>
                </c:pt>
                <c:pt idx="4">
                  <c:v>2028</c:v>
                </c:pt>
                <c:pt idx="5">
                  <c:v>2029</c:v>
                </c:pt>
              </c:numCache>
            </c:numRef>
          </c:cat>
          <c:val>
            <c:numRef>
              <c:f>Sheet2!$D$113:$D$118</c:f>
              <c:numCache>
                <c:formatCode>General</c:formatCode>
                <c:ptCount val="6"/>
                <c:pt idx="0">
                  <c:v>1089.8</c:v>
                </c:pt>
                <c:pt idx="1">
                  <c:v>1389.89</c:v>
                </c:pt>
                <c:pt idx="2">
                  <c:v>4536.38</c:v>
                </c:pt>
                <c:pt idx="3">
                  <c:v>8827.9500000000007</c:v>
                </c:pt>
                <c:pt idx="4">
                  <c:v>14354.91</c:v>
                </c:pt>
                <c:pt idx="5">
                  <c:v>21127.200000000001</c:v>
                </c:pt>
              </c:numCache>
            </c:numRef>
          </c:val>
          <c:extLst>
            <c:ext xmlns:c16="http://schemas.microsoft.com/office/drawing/2014/chart" uri="{C3380CC4-5D6E-409C-BE32-E72D297353CC}">
              <c16:uniqueId val="{00000001-E51F-41D5-9BA5-C11C3C198D9D}"/>
            </c:ext>
          </c:extLst>
        </c:ser>
        <c:dLbls>
          <c:showLegendKey val="0"/>
          <c:showVal val="0"/>
          <c:showCatName val="0"/>
          <c:showSerName val="0"/>
          <c:showPercent val="0"/>
          <c:showBubbleSize val="0"/>
        </c:dLbls>
        <c:gapWidth val="219"/>
        <c:overlap val="-27"/>
        <c:axId val="764950752"/>
        <c:axId val="764945472"/>
      </c:barChart>
      <c:catAx>
        <c:axId val="76495075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64945472"/>
        <c:crosses val="autoZero"/>
        <c:auto val="1"/>
        <c:lblAlgn val="ctr"/>
        <c:lblOffset val="100"/>
        <c:noMultiLvlLbl val="0"/>
      </c:catAx>
      <c:valAx>
        <c:axId val="764945472"/>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49507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866451110414805E-2"/>
          <c:y val="5.1067780872794802E-2"/>
          <c:w val="0.92734218526827661"/>
          <c:h val="0.74498826574254817"/>
        </c:manualLayout>
      </c:layout>
      <c:barChart>
        <c:barDir val="col"/>
        <c:grouping val="stacked"/>
        <c:varyColors val="0"/>
        <c:ser>
          <c:idx val="0"/>
          <c:order val="0"/>
          <c:tx>
            <c:strRef>
              <c:f>Sheet1!$B$1</c:f>
              <c:strCache>
                <c:ptCount val="1"/>
                <c:pt idx="0">
                  <c:v>Assets</c:v>
                </c:pt>
              </c:strCache>
            </c:strRef>
          </c:tx>
          <c:spPr>
            <a:solidFill>
              <a:schemeClr val="accent1"/>
            </a:solidFill>
            <a:ln>
              <a:noFill/>
            </a:ln>
            <a:effectLst/>
          </c:spPr>
          <c:invertIfNegative val="0"/>
          <c:dPt>
            <c:idx val="3"/>
            <c:invertIfNegative val="0"/>
            <c:bubble3D val="0"/>
            <c:spPr>
              <a:pattFill prst="dkDnDiag">
                <a:fgClr>
                  <a:schemeClr val="accent1"/>
                </a:fgClr>
                <a:bgClr>
                  <a:schemeClr val="bg1"/>
                </a:bgClr>
              </a:pattFill>
              <a:ln>
                <a:solidFill>
                  <a:schemeClr val="tx1"/>
                </a:solidFill>
              </a:ln>
              <a:effectLst/>
            </c:spPr>
            <c:extLst>
              <c:ext xmlns:c16="http://schemas.microsoft.com/office/drawing/2014/chart" uri="{C3380CC4-5D6E-409C-BE32-E72D297353CC}">
                <c16:uniqueId val="{00000000-066E-44F3-9C68-9BE2FA6D3B8D}"/>
              </c:ext>
            </c:extLst>
          </c:dPt>
          <c:dPt>
            <c:idx val="4"/>
            <c:invertIfNegative val="0"/>
            <c:bubble3D val="0"/>
            <c:spPr>
              <a:pattFill prst="dkDnDiag">
                <a:fgClr>
                  <a:schemeClr val="accent1"/>
                </a:fgClr>
                <a:bgClr>
                  <a:schemeClr val="bg1"/>
                </a:bgClr>
              </a:pattFill>
              <a:ln>
                <a:solidFill>
                  <a:srgbClr val="102C23"/>
                </a:solidFill>
              </a:ln>
              <a:effectLst/>
            </c:spPr>
            <c:extLst>
              <c:ext xmlns:c16="http://schemas.microsoft.com/office/drawing/2014/chart" uri="{C3380CC4-5D6E-409C-BE32-E72D297353CC}">
                <c16:uniqueId val="{00000003-066E-44F3-9C68-9BE2FA6D3B8D}"/>
              </c:ext>
            </c:extLst>
          </c:dPt>
          <c:dPt>
            <c:idx val="5"/>
            <c:invertIfNegative val="0"/>
            <c:bubble3D val="0"/>
            <c:spPr>
              <a:pattFill prst="dkDnDiag">
                <a:fgClr>
                  <a:schemeClr val="accent1"/>
                </a:fgClr>
                <a:bgClr>
                  <a:schemeClr val="bg1"/>
                </a:bgClr>
              </a:pattFill>
              <a:ln>
                <a:solidFill>
                  <a:srgbClr val="102C23"/>
                </a:solidFill>
              </a:ln>
              <a:effectLst/>
            </c:spPr>
            <c:extLst>
              <c:ext xmlns:c16="http://schemas.microsoft.com/office/drawing/2014/chart" uri="{C3380CC4-5D6E-409C-BE32-E72D297353CC}">
                <c16:uniqueId val="{00000009-DD82-49D2-A84E-D814CCAF7CD0}"/>
              </c:ext>
            </c:extLst>
          </c:dPt>
          <c:dPt>
            <c:idx val="6"/>
            <c:invertIfNegative val="0"/>
            <c:bubble3D val="0"/>
            <c:spPr>
              <a:pattFill prst="dkDnDiag">
                <a:fgClr>
                  <a:srgbClr val="102C23"/>
                </a:fgClr>
                <a:bgClr>
                  <a:schemeClr val="bg1"/>
                </a:bgClr>
              </a:pattFill>
              <a:ln>
                <a:solidFill>
                  <a:srgbClr val="102C23"/>
                </a:solidFill>
              </a:ln>
              <a:effectLst/>
            </c:spPr>
            <c:extLst>
              <c:ext xmlns:c16="http://schemas.microsoft.com/office/drawing/2014/chart" uri="{C3380CC4-5D6E-409C-BE32-E72D297353CC}">
                <c16:uniqueId val="{0000000E-DD82-49D2-A84E-D814CCAF7CD0}"/>
              </c:ext>
            </c:extLst>
          </c:dPt>
          <c:dPt>
            <c:idx val="7"/>
            <c:invertIfNegative val="0"/>
            <c:bubble3D val="0"/>
            <c:spPr>
              <a:pattFill prst="dkDnDiag">
                <a:fgClr>
                  <a:srgbClr val="102C23"/>
                </a:fgClr>
                <a:bgClr>
                  <a:schemeClr val="bg1"/>
                </a:bgClr>
              </a:pattFill>
              <a:ln>
                <a:solidFill>
                  <a:srgbClr val="006247"/>
                </a:solidFill>
              </a:ln>
              <a:effectLst/>
            </c:spPr>
            <c:extLst>
              <c:ext xmlns:c16="http://schemas.microsoft.com/office/drawing/2014/chart" uri="{C3380CC4-5D6E-409C-BE32-E72D297353CC}">
                <c16:uniqueId val="{0000000F-DD82-49D2-A84E-D814CCAF7CD0}"/>
              </c:ext>
            </c:extLst>
          </c:dPt>
          <c:cat>
            <c:numRef>
              <c:f>Sheet1!$A$2:$A$9</c:f>
              <c:numCache>
                <c:formatCode>General</c:formatCode>
                <c:ptCount val="8"/>
                <c:pt idx="0">
                  <c:v>2022</c:v>
                </c:pt>
                <c:pt idx="1">
                  <c:v>2023</c:v>
                </c:pt>
                <c:pt idx="2">
                  <c:v>2024</c:v>
                </c:pt>
                <c:pt idx="3">
                  <c:v>2025</c:v>
                </c:pt>
                <c:pt idx="4">
                  <c:v>2026</c:v>
                </c:pt>
                <c:pt idx="5">
                  <c:v>2027</c:v>
                </c:pt>
                <c:pt idx="6">
                  <c:v>2028</c:v>
                </c:pt>
                <c:pt idx="7">
                  <c:v>2029</c:v>
                </c:pt>
              </c:numCache>
            </c:numRef>
          </c:cat>
          <c:val>
            <c:numRef>
              <c:f>Sheet1!$B$2:$B$9</c:f>
              <c:numCache>
                <c:formatCode>General</c:formatCode>
                <c:ptCount val="8"/>
                <c:pt idx="0">
                  <c:v>5847.9</c:v>
                </c:pt>
                <c:pt idx="1">
                  <c:v>5360.2</c:v>
                </c:pt>
                <c:pt idx="2">
                  <c:v>5869.2</c:v>
                </c:pt>
                <c:pt idx="3">
                  <c:v>4481</c:v>
                </c:pt>
                <c:pt idx="4">
                  <c:v>6092.6</c:v>
                </c:pt>
                <c:pt idx="5">
                  <c:v>8348</c:v>
                </c:pt>
                <c:pt idx="6">
                  <c:v>11460.1</c:v>
                </c:pt>
                <c:pt idx="7">
                  <c:v>15265.9</c:v>
                </c:pt>
              </c:numCache>
            </c:numRef>
          </c:val>
          <c:extLst>
            <c:ext xmlns:c16="http://schemas.microsoft.com/office/drawing/2014/chart" uri="{C3380CC4-5D6E-409C-BE32-E72D297353CC}">
              <c16:uniqueId val="{00000000-D93A-4160-88EB-ACB537DD6FB3}"/>
            </c:ext>
          </c:extLst>
        </c:ser>
        <c:ser>
          <c:idx val="1"/>
          <c:order val="1"/>
          <c:tx>
            <c:strRef>
              <c:f>Sheet1!$C$1</c:f>
              <c:strCache>
                <c:ptCount val="1"/>
                <c:pt idx="0">
                  <c:v>Liabilities</c:v>
                </c:pt>
              </c:strCache>
            </c:strRef>
          </c:tx>
          <c:spPr>
            <a:solidFill>
              <a:schemeClr val="accent2"/>
            </a:solidFill>
            <a:ln>
              <a:noFill/>
            </a:ln>
            <a:effectLst/>
          </c:spPr>
          <c:invertIfNegative val="0"/>
          <c:dPt>
            <c:idx val="3"/>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1-066E-44F3-9C68-9BE2FA6D3B8D}"/>
              </c:ext>
            </c:extLst>
          </c:dPt>
          <c:dPt>
            <c:idx val="4"/>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4-066E-44F3-9C68-9BE2FA6D3B8D}"/>
              </c:ext>
            </c:extLst>
          </c:dPt>
          <c:dPt>
            <c:idx val="5"/>
            <c:invertIfNegative val="0"/>
            <c:bubble3D val="0"/>
            <c:spPr>
              <a:pattFill prst="dkDnDiag">
                <a:fgClr>
                  <a:schemeClr val="accent2"/>
                </a:fgClr>
                <a:bgClr>
                  <a:schemeClr val="bg1"/>
                </a:bgClr>
              </a:pattFill>
              <a:ln>
                <a:solidFill>
                  <a:srgbClr val="008864"/>
                </a:solidFill>
              </a:ln>
              <a:effectLst/>
            </c:spPr>
            <c:extLst>
              <c:ext xmlns:c16="http://schemas.microsoft.com/office/drawing/2014/chart" uri="{C3380CC4-5D6E-409C-BE32-E72D297353CC}">
                <c16:uniqueId val="{0000000A-DD82-49D2-A84E-D814CCAF7CD0}"/>
              </c:ext>
            </c:extLst>
          </c:dPt>
          <c:dPt>
            <c:idx val="6"/>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0D-DD82-49D2-A84E-D814CCAF7CD0}"/>
              </c:ext>
            </c:extLst>
          </c:dPt>
          <c:dPt>
            <c:idx val="7"/>
            <c:invertIfNegative val="0"/>
            <c:bubble3D val="0"/>
            <c:spPr>
              <a:pattFill prst="dkDnDiag">
                <a:fgClr>
                  <a:srgbClr val="008864"/>
                </a:fgClr>
                <a:bgClr>
                  <a:schemeClr val="bg1"/>
                </a:bgClr>
              </a:pattFill>
              <a:ln>
                <a:solidFill>
                  <a:srgbClr val="008864"/>
                </a:solidFill>
              </a:ln>
              <a:effectLst/>
            </c:spPr>
            <c:extLst>
              <c:ext xmlns:c16="http://schemas.microsoft.com/office/drawing/2014/chart" uri="{C3380CC4-5D6E-409C-BE32-E72D297353CC}">
                <c16:uniqueId val="{00000010-DD82-49D2-A84E-D814CCAF7CD0}"/>
              </c:ext>
            </c:extLst>
          </c:dPt>
          <c:cat>
            <c:numRef>
              <c:f>Sheet1!$A$2:$A$9</c:f>
              <c:numCache>
                <c:formatCode>General</c:formatCode>
                <c:ptCount val="8"/>
                <c:pt idx="0">
                  <c:v>2022</c:v>
                </c:pt>
                <c:pt idx="1">
                  <c:v>2023</c:v>
                </c:pt>
                <c:pt idx="2">
                  <c:v>2024</c:v>
                </c:pt>
                <c:pt idx="3">
                  <c:v>2025</c:v>
                </c:pt>
                <c:pt idx="4">
                  <c:v>2026</c:v>
                </c:pt>
                <c:pt idx="5">
                  <c:v>2027</c:v>
                </c:pt>
                <c:pt idx="6">
                  <c:v>2028</c:v>
                </c:pt>
                <c:pt idx="7">
                  <c:v>2029</c:v>
                </c:pt>
              </c:numCache>
            </c:numRef>
          </c:cat>
          <c:val>
            <c:numRef>
              <c:f>Sheet1!$C$2:$C$9</c:f>
              <c:numCache>
                <c:formatCode>General</c:formatCode>
                <c:ptCount val="8"/>
                <c:pt idx="0">
                  <c:v>3975.5</c:v>
                </c:pt>
                <c:pt idx="1">
                  <c:v>4246.5</c:v>
                </c:pt>
                <c:pt idx="2">
                  <c:v>4764.6000000000004</c:v>
                </c:pt>
                <c:pt idx="3">
                  <c:v>4324.3</c:v>
                </c:pt>
                <c:pt idx="4">
                  <c:v>4639.7</c:v>
                </c:pt>
                <c:pt idx="5">
                  <c:v>4682.6000000000004</c:v>
                </c:pt>
                <c:pt idx="6">
                  <c:v>4867.3</c:v>
                </c:pt>
                <c:pt idx="7">
                  <c:v>5115.8999999999996</c:v>
                </c:pt>
              </c:numCache>
            </c:numRef>
          </c:val>
          <c:extLst>
            <c:ext xmlns:c16="http://schemas.microsoft.com/office/drawing/2014/chart" uri="{C3380CC4-5D6E-409C-BE32-E72D297353CC}">
              <c16:uniqueId val="{00000001-D93A-4160-88EB-ACB537DD6FB3}"/>
            </c:ext>
          </c:extLst>
        </c:ser>
        <c:ser>
          <c:idx val="2"/>
          <c:order val="2"/>
          <c:tx>
            <c:strRef>
              <c:f>Sheet1!$D$1</c:f>
              <c:strCache>
                <c:ptCount val="1"/>
                <c:pt idx="0">
                  <c:v>Shareholder Equity</c:v>
                </c:pt>
              </c:strCache>
            </c:strRef>
          </c:tx>
          <c:spPr>
            <a:solidFill>
              <a:srgbClr val="D8FBE5"/>
            </a:solidFill>
            <a:ln>
              <a:noFill/>
            </a:ln>
            <a:effectLst/>
          </c:spPr>
          <c:invertIfNegative val="0"/>
          <c:dPt>
            <c:idx val="3"/>
            <c:invertIfNegative val="0"/>
            <c:bubble3D val="0"/>
            <c:spPr>
              <a:pattFill prst="dkDnDiag">
                <a:fgClr>
                  <a:srgbClr val="D8FBE5"/>
                </a:fgClr>
                <a:bgClr>
                  <a:schemeClr val="bg1"/>
                </a:bgClr>
              </a:pattFill>
              <a:ln>
                <a:noFill/>
              </a:ln>
              <a:effectLst/>
            </c:spPr>
            <c:extLst>
              <c:ext xmlns:c16="http://schemas.microsoft.com/office/drawing/2014/chart" uri="{C3380CC4-5D6E-409C-BE32-E72D297353CC}">
                <c16:uniqueId val="{0000001C-7AFA-6248-A0CE-65908404F27C}"/>
              </c:ext>
            </c:extLst>
          </c:dPt>
          <c:dPt>
            <c:idx val="4"/>
            <c:invertIfNegative val="0"/>
            <c:bubble3D val="0"/>
            <c:spPr>
              <a:pattFill prst="dkDnDiag">
                <a:fgClr>
                  <a:srgbClr val="D8FBE5"/>
                </a:fgClr>
                <a:bgClr>
                  <a:schemeClr val="bg1"/>
                </a:bgClr>
              </a:pattFill>
              <a:ln>
                <a:solidFill>
                  <a:srgbClr val="3F685E"/>
                </a:solidFill>
              </a:ln>
              <a:effectLst/>
            </c:spPr>
            <c:extLst>
              <c:ext xmlns:c16="http://schemas.microsoft.com/office/drawing/2014/chart" uri="{C3380CC4-5D6E-409C-BE32-E72D297353CC}">
                <c16:uniqueId val="{00000008-DD82-49D2-A84E-D814CCAF7CD0}"/>
              </c:ext>
            </c:extLst>
          </c:dPt>
          <c:dPt>
            <c:idx val="5"/>
            <c:invertIfNegative val="0"/>
            <c:bubble3D val="0"/>
            <c:spPr>
              <a:pattFill prst="dkDnDiag">
                <a:fgClr>
                  <a:srgbClr val="D8FBE5"/>
                </a:fgClr>
                <a:bgClr>
                  <a:schemeClr val="bg1"/>
                </a:bgClr>
              </a:pattFill>
              <a:ln>
                <a:solidFill>
                  <a:srgbClr val="3F685E"/>
                </a:solidFill>
              </a:ln>
              <a:effectLst/>
            </c:spPr>
            <c:extLst>
              <c:ext xmlns:c16="http://schemas.microsoft.com/office/drawing/2014/chart" uri="{C3380CC4-5D6E-409C-BE32-E72D297353CC}">
                <c16:uniqueId val="{0000000B-DD82-49D2-A84E-D814CCAF7CD0}"/>
              </c:ext>
            </c:extLst>
          </c:dPt>
          <c:dPt>
            <c:idx val="6"/>
            <c:invertIfNegative val="0"/>
            <c:bubble3D val="0"/>
            <c:spPr>
              <a:pattFill prst="dkDnDiag">
                <a:fgClr>
                  <a:srgbClr val="D8FBE5"/>
                </a:fgClr>
                <a:bgClr>
                  <a:schemeClr val="bg1"/>
                </a:bgClr>
              </a:pattFill>
              <a:ln>
                <a:solidFill>
                  <a:srgbClr val="3F685E"/>
                </a:solidFill>
              </a:ln>
              <a:effectLst/>
            </c:spPr>
            <c:extLst>
              <c:ext xmlns:c16="http://schemas.microsoft.com/office/drawing/2014/chart" uri="{C3380CC4-5D6E-409C-BE32-E72D297353CC}">
                <c16:uniqueId val="{0000000C-DD82-49D2-A84E-D814CCAF7CD0}"/>
              </c:ext>
            </c:extLst>
          </c:dPt>
          <c:dPt>
            <c:idx val="7"/>
            <c:invertIfNegative val="0"/>
            <c:bubble3D val="0"/>
            <c:spPr>
              <a:pattFill prst="dkDnDiag">
                <a:fgClr>
                  <a:srgbClr val="D8FBE5"/>
                </a:fgClr>
                <a:bgClr>
                  <a:schemeClr val="bg1"/>
                </a:bgClr>
              </a:pattFill>
              <a:ln>
                <a:solidFill>
                  <a:srgbClr val="3F685E"/>
                </a:solidFill>
              </a:ln>
              <a:effectLst/>
            </c:spPr>
            <c:extLst>
              <c:ext xmlns:c16="http://schemas.microsoft.com/office/drawing/2014/chart" uri="{C3380CC4-5D6E-409C-BE32-E72D297353CC}">
                <c16:uniqueId val="{00000011-DD82-49D2-A84E-D814CCAF7CD0}"/>
              </c:ext>
            </c:extLst>
          </c:dPt>
          <c:cat>
            <c:numRef>
              <c:f>Sheet1!$A$2:$A$9</c:f>
              <c:numCache>
                <c:formatCode>General</c:formatCode>
                <c:ptCount val="8"/>
                <c:pt idx="0">
                  <c:v>2022</c:v>
                </c:pt>
                <c:pt idx="1">
                  <c:v>2023</c:v>
                </c:pt>
                <c:pt idx="2">
                  <c:v>2024</c:v>
                </c:pt>
                <c:pt idx="3">
                  <c:v>2025</c:v>
                </c:pt>
                <c:pt idx="4">
                  <c:v>2026</c:v>
                </c:pt>
                <c:pt idx="5">
                  <c:v>2027</c:v>
                </c:pt>
                <c:pt idx="6">
                  <c:v>2028</c:v>
                </c:pt>
                <c:pt idx="7">
                  <c:v>2029</c:v>
                </c:pt>
              </c:numCache>
            </c:numRef>
          </c:cat>
          <c:val>
            <c:numRef>
              <c:f>Sheet1!$D$2:$D$9</c:f>
              <c:numCache>
                <c:formatCode>General</c:formatCode>
                <c:ptCount val="8"/>
                <c:pt idx="0">
                  <c:v>1902.7</c:v>
                </c:pt>
                <c:pt idx="1">
                  <c:v>1256.3</c:v>
                </c:pt>
                <c:pt idx="2">
                  <c:v>1089.8</c:v>
                </c:pt>
                <c:pt idx="3">
                  <c:v>156.69999999999999</c:v>
                </c:pt>
                <c:pt idx="4">
                  <c:v>1452.9</c:v>
                </c:pt>
                <c:pt idx="5">
                  <c:v>3665.3</c:v>
                </c:pt>
                <c:pt idx="6">
                  <c:v>6592.8</c:v>
                </c:pt>
                <c:pt idx="7">
                  <c:v>10150</c:v>
                </c:pt>
              </c:numCache>
            </c:numRef>
          </c:val>
          <c:extLst>
            <c:ext xmlns:c16="http://schemas.microsoft.com/office/drawing/2014/chart" uri="{C3380CC4-5D6E-409C-BE32-E72D297353CC}">
              <c16:uniqueId val="{00000002-D93A-4160-88EB-ACB537DD6FB3}"/>
            </c:ext>
          </c:extLst>
        </c:ser>
        <c:dLbls>
          <c:showLegendKey val="0"/>
          <c:showVal val="0"/>
          <c:showCatName val="0"/>
          <c:showSerName val="0"/>
          <c:showPercent val="0"/>
          <c:showBubbleSize val="0"/>
        </c:dLbls>
        <c:gapWidth val="150"/>
        <c:overlap val="100"/>
        <c:axId val="1139558816"/>
        <c:axId val="1139554016"/>
      </c:barChart>
      <c:catAx>
        <c:axId val="113955881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139554016"/>
        <c:crosses val="autoZero"/>
        <c:auto val="1"/>
        <c:lblAlgn val="ctr"/>
        <c:lblOffset val="100"/>
        <c:noMultiLvlLbl val="0"/>
      </c:catAx>
      <c:valAx>
        <c:axId val="1139554016"/>
        <c:scaling>
          <c:orientation val="minMax"/>
        </c:scaling>
        <c:delete val="0"/>
        <c:axPos val="l"/>
        <c:numFmt formatCode="General" sourceLinked="1"/>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1395588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561345466995853E-2"/>
          <c:y val="5.356652059354617E-2"/>
          <c:w val="0.96762687865361663"/>
          <c:h val="0.88535761555847647"/>
        </c:manualLayout>
      </c:layout>
      <c:barChart>
        <c:barDir val="col"/>
        <c:grouping val="clustered"/>
        <c:varyColors val="0"/>
        <c:ser>
          <c:idx val="1"/>
          <c:order val="1"/>
          <c:tx>
            <c:v>Revenue</c:v>
          </c:tx>
          <c:spPr>
            <a:solidFill>
              <a:srgbClr val="00886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PP DCF'!$I$22:$R$22</c:f>
              <c:strCache>
                <c:ptCount val="10"/>
                <c:pt idx="0">
                  <c:v>2025E</c:v>
                </c:pt>
                <c:pt idx="1">
                  <c:v>2026E</c:v>
                </c:pt>
                <c:pt idx="2">
                  <c:v>2027E</c:v>
                </c:pt>
                <c:pt idx="3">
                  <c:v>2028E</c:v>
                </c:pt>
                <c:pt idx="4">
                  <c:v>2029E</c:v>
                </c:pt>
                <c:pt idx="5">
                  <c:v>2030E</c:v>
                </c:pt>
                <c:pt idx="6">
                  <c:v>2031E</c:v>
                </c:pt>
                <c:pt idx="7">
                  <c:v>2032E</c:v>
                </c:pt>
                <c:pt idx="8">
                  <c:v>2033E</c:v>
                </c:pt>
                <c:pt idx="9">
                  <c:v>2034E</c:v>
                </c:pt>
              </c:strCache>
            </c:strRef>
          </c:cat>
          <c:val>
            <c:numRef>
              <c:f>'APP DCF'!$I$23:$R$23</c:f>
              <c:numCache>
                <c:formatCode>_(* #,##0.0#_);_(* \(#,##0.0#\)_)\ ;_(* 0_)</c:formatCode>
                <c:ptCount val="10"/>
                <c:pt idx="0">
                  <c:v>5480.8985999999995</c:v>
                </c:pt>
                <c:pt idx="1">
                  <c:v>8510.1912562199996</c:v>
                </c:pt>
                <c:pt idx="2">
                  <c:v>11071.75882434222</c:v>
                </c:pt>
                <c:pt idx="3">
                  <c:v>13857.413344546723</c:v>
                </c:pt>
                <c:pt idx="4">
                  <c:v>16688.482890837618</c:v>
                </c:pt>
                <c:pt idx="5">
                  <c:v>20026.179469005143</c:v>
                </c:pt>
                <c:pt idx="6">
                  <c:v>23943.30017314255</c:v>
                </c:pt>
                <c:pt idx="7">
                  <c:v>27714.3699504125</c:v>
                </c:pt>
                <c:pt idx="8">
                  <c:v>30624.378795205812</c:v>
                </c:pt>
                <c:pt idx="9">
                  <c:v>32369.968386532542</c:v>
                </c:pt>
              </c:numCache>
            </c:numRef>
          </c:val>
          <c:extLst>
            <c:ext xmlns:c16="http://schemas.microsoft.com/office/drawing/2014/chart" uri="{C3380CC4-5D6E-409C-BE32-E72D297353CC}">
              <c16:uniqueId val="{00000000-A974-4D0A-BE5D-80FB8A51E03C}"/>
            </c:ext>
          </c:extLst>
        </c:ser>
        <c:dLbls>
          <c:showLegendKey val="0"/>
          <c:showVal val="0"/>
          <c:showCatName val="0"/>
          <c:showSerName val="0"/>
          <c:showPercent val="0"/>
          <c:showBubbleSize val="0"/>
        </c:dLbls>
        <c:gapWidth val="130"/>
        <c:axId val="333875136"/>
        <c:axId val="333876576"/>
      </c:barChart>
      <c:lineChart>
        <c:grouping val="stacked"/>
        <c:varyColors val="0"/>
        <c:ser>
          <c:idx val="0"/>
          <c:order val="0"/>
          <c:tx>
            <c:v>Revenue Growth</c:v>
          </c:tx>
          <c:spPr>
            <a:ln w="28575" cap="rnd">
              <a:solidFill>
                <a:schemeClr val="bg2"/>
              </a:solidFill>
              <a:round/>
            </a:ln>
            <a:effectLst/>
          </c:spPr>
          <c:marker>
            <c:symbol val="none"/>
          </c:marker>
          <c:dLbls>
            <c:dLbl>
              <c:idx val="2"/>
              <c:layout>
                <c:manualLayout>
                  <c:x val="-3.5177584800430491E-2"/>
                  <c:y val="-1.18840083356493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F1A-469C-BAD5-2DF7A59F4CFE}"/>
                </c:ext>
              </c:extLst>
            </c:dLbl>
            <c:numFmt formatCode="0.0%" sourceLinked="0"/>
            <c:spPr>
              <a:solidFill>
                <a:srgbClr val="3F685E"/>
              </a:solidFill>
              <a:ln>
                <a:solidFill>
                  <a:srgbClr val="102C23"/>
                </a:solidFill>
              </a:ln>
              <a:effectLst/>
            </c:spPr>
            <c:txPr>
              <a:bodyPr rot="0" spcFirstLastPara="1" vertOverflow="clip" horzOverflow="clip"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APP DCF'!$I$22:$R$22</c:f>
              <c:strCache>
                <c:ptCount val="10"/>
                <c:pt idx="0">
                  <c:v>2025E</c:v>
                </c:pt>
                <c:pt idx="1">
                  <c:v>2026E</c:v>
                </c:pt>
                <c:pt idx="2">
                  <c:v>2027E</c:v>
                </c:pt>
                <c:pt idx="3">
                  <c:v>2028E</c:v>
                </c:pt>
                <c:pt idx="4">
                  <c:v>2029E</c:v>
                </c:pt>
                <c:pt idx="5">
                  <c:v>2030E</c:v>
                </c:pt>
                <c:pt idx="6">
                  <c:v>2031E</c:v>
                </c:pt>
                <c:pt idx="7">
                  <c:v>2032E</c:v>
                </c:pt>
                <c:pt idx="8">
                  <c:v>2033E</c:v>
                </c:pt>
                <c:pt idx="9">
                  <c:v>2034E</c:v>
                </c:pt>
              </c:strCache>
            </c:strRef>
          </c:cat>
          <c:val>
            <c:numRef>
              <c:f>'APP DCF'!$I$24:$R$24</c:f>
              <c:numCache>
                <c:formatCode>0.00%;\(0.00%\);0.00%</c:formatCode>
                <c:ptCount val="10"/>
                <c:pt idx="0">
                  <c:v>0.7</c:v>
                </c:pt>
                <c:pt idx="1">
                  <c:v>0.55269999999999997</c:v>
                </c:pt>
                <c:pt idx="2">
                  <c:v>0.30099999999999999</c:v>
                </c:pt>
                <c:pt idx="3">
                  <c:v>0.25159999999999999</c:v>
                </c:pt>
                <c:pt idx="4">
                  <c:v>0.20430000000000001</c:v>
                </c:pt>
                <c:pt idx="5">
                  <c:v>0.2</c:v>
                </c:pt>
                <c:pt idx="6">
                  <c:v>0.1956</c:v>
                </c:pt>
                <c:pt idx="7">
                  <c:v>0.1575</c:v>
                </c:pt>
                <c:pt idx="8">
                  <c:v>0.105</c:v>
                </c:pt>
                <c:pt idx="9">
                  <c:v>5.7000000000000002E-2</c:v>
                </c:pt>
              </c:numCache>
            </c:numRef>
          </c:val>
          <c:smooth val="0"/>
          <c:extLst>
            <c:ext xmlns:c16="http://schemas.microsoft.com/office/drawing/2014/chart" uri="{C3380CC4-5D6E-409C-BE32-E72D297353CC}">
              <c16:uniqueId val="{0000000B-A974-4D0A-BE5D-80FB8A51E03C}"/>
            </c:ext>
          </c:extLst>
        </c:ser>
        <c:dLbls>
          <c:showLegendKey val="0"/>
          <c:showVal val="0"/>
          <c:showCatName val="0"/>
          <c:showSerName val="0"/>
          <c:showPercent val="0"/>
          <c:showBubbleSize val="0"/>
        </c:dLbls>
        <c:marker val="1"/>
        <c:smooth val="0"/>
        <c:axId val="79046080"/>
        <c:axId val="79045600"/>
      </c:lineChart>
      <c:catAx>
        <c:axId val="33387513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33876576"/>
        <c:crosses val="autoZero"/>
        <c:auto val="1"/>
        <c:lblAlgn val="ctr"/>
        <c:lblOffset val="100"/>
        <c:noMultiLvlLbl val="0"/>
      </c:catAx>
      <c:valAx>
        <c:axId val="333876576"/>
        <c:scaling>
          <c:orientation val="minMax"/>
        </c:scaling>
        <c:delete val="0"/>
        <c:axPos val="l"/>
        <c:numFmt formatCode="_(* #,##0.0#_);_(* \(#,##0.0#\)_)\ ;_(* 0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3875136"/>
        <c:crosses val="autoZero"/>
        <c:crossBetween val="between"/>
      </c:valAx>
      <c:valAx>
        <c:axId val="79045600"/>
        <c:scaling>
          <c:orientation val="minMax"/>
        </c:scaling>
        <c:delete val="0"/>
        <c:axPos val="r"/>
        <c:numFmt formatCode="0.00%;\(0.00%\);0.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046080"/>
        <c:crosses val="max"/>
        <c:crossBetween val="between"/>
      </c:valAx>
      <c:catAx>
        <c:axId val="79046080"/>
        <c:scaling>
          <c:orientation val="minMax"/>
        </c:scaling>
        <c:delete val="1"/>
        <c:axPos val="b"/>
        <c:numFmt formatCode="General" sourceLinked="1"/>
        <c:majorTickMark val="out"/>
        <c:minorTickMark val="none"/>
        <c:tickLblPos val="nextTo"/>
        <c:crossAx val="7904560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D$46:$H$46</cx:f>
        <cx:lvl ptCount="5">
          <cx:pt idx="0">2025</cx:pt>
          <cx:pt idx="1">2026</cx:pt>
          <cx:pt idx="2">2027</cx:pt>
          <cx:pt idx="3">2028</cx:pt>
          <cx:pt idx="4">2029</cx:pt>
        </cx:lvl>
      </cx:strDim>
      <cx:numDim type="val">
        <cx:f>Sheet1!$D$47:$H$47</cx:f>
        <cx:lvl ptCount="5" formatCode="General">
          <cx:pt idx="0">7.1200000000000001</cx:pt>
          <cx:pt idx="1">11.91</cx:pt>
          <cx:pt idx="2">16.309999999999999</cx:pt>
          <cx:pt idx="3">20.960000000000001</cx:pt>
          <cx:pt idx="4">26.120000000000001</cx:pt>
        </cx:lvl>
      </cx:numDim>
    </cx:data>
  </cx:chartData>
  <cx:chart>
    <cx:plotArea>
      <cx:plotAreaRegion>
        <cx:series layoutId="waterfall" uniqueId="{7B62211E-F650-E748-845C-E6C26D405D1F}">
          <cx:tx>
            <cx:txData>
              <cx:f>Sheet1!$C$47</cx:f>
              <cx:v>EPS</cx:v>
            </cx:txData>
          </cx:tx>
          <cx:spPr>
            <a:solidFill>
              <a:srgbClr val="008864"/>
            </a:solidFill>
            <a:ln>
              <a:noFill/>
            </a:ln>
          </cx:spPr>
          <cx:dataPt idx="4">
            <cx:spPr>
              <a:solidFill>
                <a:srgbClr val="008864"/>
              </a:solidFill>
            </cx:spPr>
          </cx:dataPt>
          <cx:dataLabels pos="ctr">
            <cx:numFmt formatCode="$#,##0.00" sourceLinked="0"/>
            <cx:spPr>
              <a:noFill/>
            </cx:spPr>
            <cx:txPr>
              <a:bodyPr vertOverflow="overflow" horzOverflow="overflow" wrap="square" lIns="0" tIns="0" rIns="0" bIns="0"/>
              <a:lstStyle/>
              <a:p>
                <a:pPr algn="ctr" rtl="0">
                  <a:defRPr sz="900" b="1" i="0" baseline="0">
                    <a:solidFill>
                      <a:schemeClr val="bg1">
                        <a:lumMod val="95000"/>
                      </a:schemeClr>
                    </a:solidFill>
                    <a:latin typeface="Arial" panose="020B0604020202020204" pitchFamily="34" charset="0"/>
                    <a:ea typeface="Aptos Narrow" panose="020B0004020202020204" pitchFamily="34" charset="0"/>
                    <a:cs typeface="Aptos Narrow" panose="020B0004020202020204" pitchFamily="34" charset="0"/>
                  </a:defRPr>
                </a:pPr>
                <a:endParaRPr lang="en-US" b="1" baseline="0">
                  <a:solidFill>
                    <a:schemeClr val="bg1">
                      <a:lumMod val="95000"/>
                    </a:schemeClr>
                  </a:solidFill>
                  <a:latin typeface="Arial" panose="020B0604020202020204" pitchFamily="34" charset="0"/>
                </a:endParaRPr>
              </a:p>
            </cx:txPr>
            <cx:visibility seriesName="0" categoryName="0" value="1"/>
          </cx:dataLabels>
          <cx:dataId val="0"/>
          <cx:layoutPr>
            <cx:visibility connectorLines="0"/>
            <cx:subtotals/>
          </cx:layoutPr>
        </cx:series>
      </cx:plotAreaRegion>
      <cx:axis id="0">
        <cx:catScaling gapWidth="0.5"/>
        <cx:majorTickMarks type="out"/>
        <cx:tickLabels/>
        <cx:spPr>
          <a:ln>
            <a:solidFill>
              <a:schemeClr val="tx1"/>
            </a:solidFill>
          </a:ln>
        </cx:spPr>
        <cx:txPr>
          <a:bodyPr vertOverflow="overflow" horzOverflow="overflow" wrap="square" lIns="0" tIns="0" rIns="0" bIns="0"/>
          <a:lstStyle/>
          <a:p>
            <a:pPr algn="ctr" rtl="0">
              <a:defRPr sz="900" b="0" i="0" baseline="0">
                <a:solidFill>
                  <a:schemeClr val="tx2"/>
                </a:solidFill>
                <a:latin typeface="Arial" panose="020B0604020202020204" pitchFamily="34" charset="0"/>
                <a:ea typeface="Aptos Narrow" panose="020B0004020202020204" pitchFamily="34" charset="0"/>
                <a:cs typeface="Aptos Narrow" panose="020B0004020202020204" pitchFamily="34" charset="0"/>
              </a:defRPr>
            </a:pPr>
            <a:endParaRPr lang="en-US" baseline="0">
              <a:solidFill>
                <a:schemeClr val="tx2"/>
              </a:solidFill>
              <a:latin typeface="Arial" panose="020B0604020202020204" pitchFamily="34" charset="0"/>
            </a:endParaRPr>
          </a:p>
        </cx:txPr>
      </cx:axis>
      <cx:axis id="1" hidden="1">
        <cx:valScaling/>
        <cx:tickLabels/>
        <cx:txPr>
          <a:bodyPr vertOverflow="overflow" horzOverflow="overflow" wrap="square" lIns="0" tIns="0" rIns="0" bIns="0"/>
          <a:lstStyle/>
          <a:p>
            <a:pPr algn="ctr" rtl="0">
              <a:defRPr sz="900" b="0" i="0">
                <a:solidFill>
                  <a:schemeClr val="tx2"/>
                </a:solidFill>
                <a:latin typeface="+mn-lt"/>
                <a:ea typeface="Aptos Narrow" panose="020B0004020202020204" pitchFamily="34" charset="0"/>
                <a:cs typeface="Aptos Narrow" panose="020B0004020202020204" pitchFamily="34" charset="0"/>
              </a:defRPr>
            </a:pPr>
            <a:endParaRPr lang="en-US">
              <a:solidFill>
                <a:schemeClr val="tx2"/>
              </a:solidFill>
              <a:latin typeface="+mn-lt"/>
            </a:endParaRPr>
          </a:p>
        </cx:txPr>
      </cx:axis>
    </cx:plotArea>
  </cx:chart>
  <cx:clrMapOvr bg1="lt1" tx1="dk1" bg2="lt2" tx2="dk2" accent1="accent1" accent2="accent2" accent3="accent3" accent4="accent4" accent5="accent5" accent6="accent6" hlink="hlink" folHlink="folHlink"/>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G1'!$C$8:$C$21</cx:f>
        <cx:lvl ptCount="14">
          <cx:pt idx="0">Net Income</cx:pt>
          <cx:pt idx="1">D&amp;A</cx:pt>
          <cx:pt idx="2">Stock-Based Comp</cx:pt>
          <cx:pt idx="3">Amort. of Debt Disc/Issu. Fees</cx:pt>
          <cx:pt idx="4">Other Items</cx:pt>
          <cx:pt idx="5">CFO</cx:pt>
          <cx:pt idx="6">CapEx</cx:pt>
          <cx:pt idx="7">Sold PP&amp;E:</cx:pt>
          <cx:pt idx="8">Acquistions</cx:pt>
          <cx:pt idx="9">FCF</cx:pt>
          <cx:pt idx="10">Debt Insur.</cx:pt>
          <cx:pt idx="11">Debt Rep.</cx:pt>
          <cx:pt idx="12">Insur. C/S</cx:pt>
          <cx:pt idx="13">Net Δ In Cap</cx:pt>
        </cx:lvl>
      </cx:strDim>
      <cx:numDim type="val">
        <cx:f>'G1'!$D$8:$D$21</cx:f>
        <cx:lvl ptCount="14" formatCode="0.0">
          <cx:pt idx="0">395.95287475649923</cx:pt>
          <cx:pt idx="1">188.05677249999999</cx:pt>
          <cx:pt idx="2">5.1433982000000009</cx:pt>
          <cx:pt idx="3">2.1000000000000001</cx:pt>
          <cx:pt idx="4">-120.98096910551885</cx:pt>
          <cx:pt idx="5">252.91208935553456</cx:pt>
          <cx:pt idx="6">-5.4808985999999997</cx:pt>
          <cx:pt idx="7">16.706666666666667</cx:pt>
          <cx:pt idx="8">-82.213478999999992</cx:pt>
          <cx:pt idx="9">247.43119075553457</cx:pt>
          <cx:pt idx="10">1424.7081000000001</cx:pt>
          <cx:pt idx="11">-1583.009</cx:pt>
          <cx:pt idx="12">32.868000000000002</cx:pt>
          <cx:pt idx="13">-125.43289999999996</cx:pt>
        </cx:lvl>
      </cx:numDim>
    </cx:data>
  </cx:chartData>
  <cx:chart>
    <cx:plotArea>
      <cx:plotAreaRegion>
        <cx:plotSurface>
          <cx:spPr>
            <a:ln>
              <a:noFill/>
              <a:prstDash val="sysDash"/>
            </a:ln>
          </cx:spPr>
        </cx:plotSurface>
        <cx:series layoutId="waterfall" uniqueId="{EFAB92F6-4101-40C4-AC09-5B0DF2DE1F09}" formatIdx="0">
          <cx:tx>
            <cx:txData>
              <cx:f>'G1'!$D$7</cx:f>
              <cx:v>Chart</cx:v>
            </cx:txData>
          </cx:tx>
          <cx:dataPt idx="0">
            <cx:spPr>
              <a:solidFill>
                <a:srgbClr val="D8FAE5"/>
              </a:solidFill>
            </cx:spPr>
          </cx:dataPt>
          <cx:dataPt idx="1">
            <cx:spPr>
              <a:solidFill>
                <a:srgbClr val="008864"/>
              </a:solidFill>
            </cx:spPr>
          </cx:dataPt>
          <cx:dataPt idx="2">
            <cx:spPr>
              <a:solidFill>
                <a:srgbClr val="008864"/>
              </a:solidFill>
            </cx:spPr>
          </cx:dataPt>
          <cx:dataPt idx="3">
            <cx:spPr>
              <a:solidFill>
                <a:srgbClr val="008864"/>
              </a:solidFill>
            </cx:spPr>
          </cx:dataPt>
          <cx:dataPt idx="4">
            <cx:spPr>
              <a:solidFill>
                <a:srgbClr val="EC7A81"/>
              </a:solidFill>
            </cx:spPr>
          </cx:dataPt>
          <cx:dataPt idx="5">
            <cx:spPr>
              <a:solidFill>
                <a:srgbClr val="D8FAE5"/>
              </a:solidFill>
            </cx:spPr>
          </cx:dataPt>
          <cx:dataPt idx="6">
            <cx:spPr>
              <a:solidFill>
                <a:srgbClr val="EC7A81"/>
              </a:solidFill>
            </cx:spPr>
          </cx:dataPt>
          <cx:dataPt idx="7">
            <cx:spPr>
              <a:solidFill>
                <a:srgbClr val="048765"/>
              </a:solidFill>
            </cx:spPr>
          </cx:dataPt>
          <cx:dataPt idx="8">
            <cx:spPr>
              <a:solidFill>
                <a:srgbClr val="EC7A81"/>
              </a:solidFill>
            </cx:spPr>
          </cx:dataPt>
          <cx:dataPt idx="9">
            <cx:spPr>
              <a:solidFill>
                <a:srgbClr val="D8FAE5"/>
              </a:solidFill>
            </cx:spPr>
          </cx:dataPt>
          <cx:dataPt idx="10">
            <cx:spPr>
              <a:solidFill>
                <a:srgbClr val="048765"/>
              </a:solidFill>
            </cx:spPr>
          </cx:dataPt>
          <cx:dataPt idx="11">
            <cx:spPr>
              <a:solidFill>
                <a:srgbClr val="EC7A81"/>
              </a:solidFill>
            </cx:spPr>
          </cx:dataPt>
          <cx:dataPt idx="12">
            <cx:spPr>
              <a:solidFill>
                <a:srgbClr val="048765"/>
              </a:solidFill>
            </cx:spPr>
          </cx:dataPt>
          <cx:dataPt idx="13">
            <cx:spPr>
              <a:solidFill>
                <a:srgbClr val="D8FAE5"/>
              </a:solidFill>
            </cx:spPr>
          </cx:dataPt>
          <cx:dataLabels pos="outEnd">
            <cx:numFmt formatCode="_(* #,##0.0_);_(* (#,##0.0)_) ;_(* 0_)" sourceLinked="0"/>
            <cx:txPr>
              <a:bodyPr vertOverflow="overflow" horzOverflow="overflow" wrap="square" lIns="0" tIns="0" rIns="0" bIns="0"/>
              <a:lstStyle/>
              <a:p>
                <a:pPr algn="ctr" rtl="0">
                  <a:defRPr sz="1200" b="0" i="0">
                    <a:solidFill>
                      <a:schemeClr val="tx1"/>
                    </a:solidFill>
                    <a:latin typeface="Calibri" panose="020F0502020204030204" pitchFamily="34" charset="0"/>
                    <a:ea typeface="Calibri" panose="020F0502020204030204" pitchFamily="34" charset="0"/>
                    <a:cs typeface="Calibri" panose="020F0502020204030204" pitchFamily="34" charset="0"/>
                  </a:defRPr>
                </a:pPr>
                <a:endParaRPr>
                  <a:solidFill>
                    <a:schemeClr val="tx1"/>
                  </a:solidFill>
                </a:endParaRPr>
              </a:p>
            </cx:txPr>
            <cx:visibility seriesName="0" categoryName="0" value="1"/>
            <cx:separator>, </cx:separator>
            <cx:dataLabel idx="11">
              <cx:numFmt formatCode="_(* #,##0.0_);_(* (#,##0.0)_) ;_(* 0_)" sourceLinked="0"/>
              <cx:visibility seriesName="0" categoryName="0" value="1"/>
              <cx:separator>, </cx:separator>
            </cx:dataLabel>
          </cx:dataLabels>
          <cx:dataId val="0"/>
          <cx:layoutPr>
            <cx:subtotals/>
          </cx:layoutPr>
        </cx:series>
      </cx:plotAreaRegion>
      <cx:axis id="0">
        <cx:catScaling gapWidth="0.5"/>
        <cx:majorTickMarks type="out"/>
        <cx:tickLabels/>
        <cx:spPr>
          <a:ln>
            <a:solidFill>
              <a:schemeClr val="tx1"/>
            </a:solidFill>
          </a:ln>
        </cx:spPr>
        <cx:txPr>
          <a:bodyPr vertOverflow="overflow" horzOverflow="overflow" wrap="square" lIns="0" tIns="0" rIns="0" bIns="0"/>
          <a:lstStyle/>
          <a:p>
            <a:pPr algn="ctr" rtl="0">
              <a:defRPr sz="900" b="0" i="0" baseline="0">
                <a:solidFill>
                  <a:schemeClr val="tx1"/>
                </a:solidFill>
                <a:latin typeface="Calibri" panose="020F0502020204030204" pitchFamily="34" charset="0"/>
                <a:ea typeface="Calibri" panose="020F0502020204030204" pitchFamily="34" charset="0"/>
                <a:cs typeface="Calibri" panose="020F0502020204030204" pitchFamily="34" charset="0"/>
              </a:defRPr>
            </a:pPr>
            <a:endParaRPr sz="900" baseline="0">
              <a:solidFill>
                <a:schemeClr val="tx1"/>
              </a:solidFill>
            </a:endParaRPr>
          </a:p>
        </cx:txPr>
      </cx:axis>
      <cx:axis id="1" hidden="1">
        <cx:valScaling/>
        <cx:tickLabels/>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3!$C$76:$C$78</cx:f>
        <cx:lvl ptCount="3">
          <cx:pt idx="0">PV of FCFF</cx:pt>
          <cx:pt idx="1">PV of TV</cx:pt>
          <cx:pt idx="2">Enterprise Value</cx:pt>
        </cx:lvl>
      </cx:strDim>
      <cx:numDim type="val">
        <cx:f>Sheet3!$D$76:$D$78</cx:f>
        <cx:lvl ptCount="3" formatCode="#,##0.0_);\(#,##0.0\)">
          <cx:pt idx="0">41531.959999999999</cx:pt>
          <cx:pt idx="1">62886.730000000003</cx:pt>
          <cx:pt idx="2">104418.69</cx:pt>
        </cx:lvl>
      </cx:numDim>
    </cx:data>
  </cx:chartData>
  <cx:chart>
    <cx:plotArea>
      <cx:plotAreaRegion>
        <cx:series layoutId="waterfall" uniqueId="{7CBA55B2-036B-0C49-B5E4-32E94D5DA38C}">
          <cx:dataPt idx="0">
            <cx:spPr>
              <a:solidFill>
                <a:srgbClr val="0F2B23"/>
              </a:solidFill>
            </cx:spPr>
          </cx:dataPt>
          <cx:dataPt idx="1">
            <cx:spPr>
              <a:solidFill>
                <a:srgbClr val="D8FBE5"/>
              </a:solidFill>
            </cx:spPr>
          </cx:dataPt>
          <cx:dataPt idx="2">
            <cx:spPr>
              <a:solidFill>
                <a:srgbClr val="008864"/>
              </a:solidFill>
            </cx:spPr>
          </cx:dataPt>
          <cx:dataLabels pos="outEnd">
            <cx:txPr>
              <a:bodyPr spcFirstLastPara="1" vertOverflow="ellipsis" horzOverflow="overflow" wrap="square" lIns="0" tIns="0" rIns="0" bIns="0" anchor="ctr" anchorCtr="1"/>
              <a:lstStyle/>
              <a:p>
                <a:pPr algn="ctr" rtl="0">
                  <a:defRPr>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900" b="0" i="0" u="none" strike="noStrike" baseline="0">
                  <a:solidFill>
                    <a:schemeClr val="tx1"/>
                  </a:solidFill>
                  <a:latin typeface="Arial" panose="020B0604020202020204" pitchFamily="34" charset="0"/>
                  <a:cs typeface="Arial" panose="020B0604020202020204" pitchFamily="34" charset="0"/>
                </a:endParaRPr>
              </a:p>
            </cx:txPr>
            <cx:visibility seriesName="0" categoryName="0" value="1"/>
          </cx:dataLabels>
          <cx:dataId val="0"/>
          <cx:layoutPr>
            <cx:subtotals>
              <cx:idx val="2"/>
            </cx:subtotals>
          </cx:layoutPr>
        </cx:series>
      </cx:plotAreaRegion>
      <cx:axis id="0">
        <cx:catScaling gapWidth="0.5"/>
        <cx:majorTickMarks type="out"/>
        <cx:tickLabels/>
        <cx:spPr>
          <a:ln>
            <a:solidFill>
              <a:schemeClr val="tx1"/>
            </a:solidFill>
          </a:ln>
        </cx:spPr>
        <cx:txPr>
          <a:bodyPr spcFirstLastPara="1" vertOverflow="ellipsis" horzOverflow="overflow" wrap="square" lIns="0" tIns="0" rIns="0" bIns="0" anchor="ctr" anchorCtr="1"/>
          <a:lstStyle/>
          <a:p>
            <a:pPr algn="ctr" rtl="0">
              <a:defRPr>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900" b="0" i="0" u="none" strike="noStrike" baseline="0">
              <a:solidFill>
                <a:schemeClr val="tx1"/>
              </a:solidFill>
              <a:latin typeface="Arial" panose="020B0604020202020204" pitchFamily="34" charset="0"/>
              <a:cs typeface="Arial" panose="020B0604020202020204" pitchFamily="34" charset="0"/>
            </a:endParaRPr>
          </a:p>
        </cx:txPr>
      </cx:axis>
      <cx:axis id="1" hidden="1">
        <cx:valScaling/>
        <cx:tickLabels/>
        <cx:txPr>
          <a:bodyPr vertOverflow="overflow" horzOverflow="overflow" wrap="square" lIns="0" tIns="0" rIns="0" bIns="0"/>
          <a:lstStyle/>
          <a:p>
            <a:pPr algn="ctr" rtl="0">
              <a:defRPr sz="9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a:solidFill>
                <a:schemeClr val="tx1"/>
              </a:solidFill>
              <a:latin typeface="Arial" panose="020B0604020202020204" pitchFamily="34" charset="0"/>
              <a:cs typeface="Arial" panose="020B0604020202020204" pitchFamily="34" charset="0"/>
            </a:endParaRPr>
          </a:p>
        </cx:txPr>
      </cx:axis>
    </cx:plotArea>
  </cx:chart>
  <cx:clrMapOvr bg1="lt1" tx1="dk1" bg2="lt2" tx2="dk2" accent1="accent1" accent2="accent2" accent3="accent3" accent4="accent4" accent5="accent5" accent6="accent6" hlink="hlink" folHlink="folHlink"/>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3!$C$118:$C$120</cx:f>
        <cx:lvl ptCount="3">
          <cx:pt idx="0">Cash</cx:pt>
          <cx:pt idx="1">Total Debt</cx:pt>
          <cx:pt idx="2">Net Debt</cx:pt>
        </cx:lvl>
      </cx:strDim>
      <cx:numDim type="val">
        <cx:f>Sheet3!$D$118:$D$120</cx:f>
        <cx:lvl ptCount="3" formatCode="General">
          <cx:pt idx="0">741.40999999999997</cx:pt>
          <cx:pt idx="1">-3541.5900000000001</cx:pt>
          <cx:pt idx="2">-2800.1799999999998</cx:pt>
        </cx:lvl>
      </cx:numDim>
    </cx:data>
  </cx:chartData>
  <cx:chart>
    <cx:plotArea>
      <cx:plotAreaRegion>
        <cx:series layoutId="waterfall" uniqueId="{CE42A2F1-75BC-AB4A-896B-DD9B05AE4B62}">
          <cx:dataPt idx="0">
            <cx:spPr>
              <a:solidFill>
                <a:srgbClr val="0F2B23"/>
              </a:solidFill>
            </cx:spPr>
          </cx:dataPt>
          <cx:dataPt idx="1">
            <cx:spPr>
              <a:solidFill>
                <a:srgbClr val="D8FBE5"/>
              </a:solidFill>
            </cx:spPr>
          </cx:dataPt>
          <cx:dataPt idx="2">
            <cx:spPr>
              <a:solidFill>
                <a:srgbClr val="008864"/>
              </a:solidFill>
            </cx:spPr>
          </cx:dataPt>
          <cx:dataLabels>
            <cx:numFmt formatCode="#,##0.0_);(#,##0.0)" sourceLinked="0"/>
            <cx:txPr>
              <a:bodyPr spcFirstLastPara="1" vertOverflow="ellipsis" horzOverflow="overflow" wrap="square" lIns="0" tIns="0" rIns="0" bIns="0" anchor="ctr" anchorCtr="1"/>
              <a:lstStyle/>
              <a:p>
                <a:pPr algn="ctr" rtl="0">
                  <a:defRPr b="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900" b="0" i="0" u="none" strike="noStrike" baseline="0">
                  <a:solidFill>
                    <a:schemeClr val="tx1"/>
                  </a:solidFill>
                  <a:latin typeface="Arial" panose="020B0604020202020204" pitchFamily="34" charset="0"/>
                  <a:cs typeface="Arial" panose="020B0604020202020204" pitchFamily="34" charset="0"/>
                </a:endParaRPr>
              </a:p>
            </cx:txPr>
          </cx:dataLabels>
          <cx:dataId val="0"/>
          <cx:layoutPr>
            <cx:subtotals>
              <cx:idx val="0"/>
            </cx:subtotals>
          </cx:layoutPr>
        </cx:series>
      </cx:plotAreaRegion>
      <cx:axis id="0">
        <cx:catScaling gapWidth="0.5"/>
        <cx:majorTickMarks type="out"/>
        <cx:tickLabels/>
        <cx:spPr>
          <a:ln>
            <a:solidFill>
              <a:schemeClr val="tx1"/>
            </a:solidFill>
          </a:ln>
        </cx:spPr>
        <cx:txPr>
          <a:bodyPr spcFirstLastPara="1" vertOverflow="ellipsis" horzOverflow="overflow" wrap="square" lIns="0" tIns="0" rIns="0" bIns="0" anchor="ctr" anchorCtr="1"/>
          <a:lstStyle/>
          <a:p>
            <a:pPr algn="ctr" rtl="0">
              <a:defRPr>
                <a:solidFill>
                  <a:schemeClr val="tx1"/>
                </a:solidFill>
                <a:latin typeface="Arial" panose="020B0604020202020204" pitchFamily="34" charset="0"/>
                <a:ea typeface="Arial" panose="020B0604020202020204" pitchFamily="34" charset="0"/>
                <a:cs typeface="Arial" panose="020B0604020202020204" pitchFamily="34" charset="0"/>
              </a:defRPr>
            </a:pPr>
            <a:endParaRPr lang="en-US" sz="900" b="0" i="0" u="none" strike="noStrike" baseline="0">
              <a:solidFill>
                <a:schemeClr val="tx1"/>
              </a:solidFill>
              <a:latin typeface="Arial" panose="020B0604020202020204" pitchFamily="34" charset="0"/>
              <a:cs typeface="Arial" panose="020B0604020202020204" pitchFamily="34" charset="0"/>
            </a:endParaRPr>
          </a:p>
        </cx:txPr>
      </cx:axis>
      <cx:axis id="1" hidden="1">
        <cx:valScaling/>
        <cx:tickLabels/>
      </cx:axis>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1E3B2B-C864-1141-B824-230D231EB4B6}" type="doc">
      <dgm:prSet loTypeId="urn:microsoft.com/office/officeart/2005/8/layout/process5" loCatId="" qsTypeId="urn:microsoft.com/office/officeart/2005/8/quickstyle/simple1" qsCatId="simple" csTypeId="urn:microsoft.com/office/officeart/2005/8/colors/accent2_2" csCatId="accent2" phldr="1"/>
      <dgm:spPr/>
    </dgm:pt>
    <dgm:pt modelId="{21F95F98-2FB3-4A4E-89D9-649743B3F413}">
      <dgm:prSet phldrT="[Text]"/>
      <dgm:spPr/>
      <dgm:t>
        <a:bodyPr/>
        <a:lstStyle/>
        <a:p>
          <a:r>
            <a:rPr lang="en-US" b="1"/>
            <a:t>App Development</a:t>
          </a:r>
        </a:p>
      </dgm:t>
    </dgm:pt>
    <dgm:pt modelId="{33CD1C14-F883-DD43-9DBE-E7D721FE83F4}" type="parTrans" cxnId="{DF1C0E9E-157D-E84C-9EDC-FA4BE44BFEAB}">
      <dgm:prSet/>
      <dgm:spPr/>
      <dgm:t>
        <a:bodyPr/>
        <a:lstStyle/>
        <a:p>
          <a:endParaRPr lang="en-US" b="1">
            <a:solidFill>
              <a:schemeClr val="tx1"/>
            </a:solidFill>
          </a:endParaRPr>
        </a:p>
      </dgm:t>
    </dgm:pt>
    <dgm:pt modelId="{8BD2C4D2-3A20-534C-83EF-23213DF8251A}" type="sibTrans" cxnId="{DF1C0E9E-157D-E84C-9EDC-FA4BE44BFEAB}">
      <dgm:prSet/>
      <dgm:spPr>
        <a:solidFill>
          <a:srgbClr val="A1A6A9"/>
        </a:solidFill>
        <a:ln>
          <a:noFill/>
        </a:ln>
      </dgm:spPr>
      <dgm:t>
        <a:bodyPr/>
        <a:lstStyle/>
        <a:p>
          <a:endParaRPr lang="en-US" b="1">
            <a:solidFill>
              <a:schemeClr val="tx1"/>
            </a:solidFill>
          </a:endParaRPr>
        </a:p>
      </dgm:t>
    </dgm:pt>
    <dgm:pt modelId="{2C6C35CB-1DB4-6E49-A6E2-96BE06DBD0DA}">
      <dgm:prSet phldrT="[Text]"/>
      <dgm:spPr/>
      <dgm:t>
        <a:bodyPr/>
        <a:lstStyle/>
        <a:p>
          <a:r>
            <a:rPr lang="en-US" b="1"/>
            <a:t>User Acquisition &amp; Marketing</a:t>
          </a:r>
        </a:p>
      </dgm:t>
    </dgm:pt>
    <dgm:pt modelId="{52D135AB-6F3A-9D47-A46D-FC7ED6B9DCE4}" type="parTrans" cxnId="{E28D9053-910A-CD4F-A104-364686385554}">
      <dgm:prSet/>
      <dgm:spPr/>
      <dgm:t>
        <a:bodyPr/>
        <a:lstStyle/>
        <a:p>
          <a:endParaRPr lang="en-US" b="1">
            <a:solidFill>
              <a:schemeClr val="tx1"/>
            </a:solidFill>
          </a:endParaRPr>
        </a:p>
      </dgm:t>
    </dgm:pt>
    <dgm:pt modelId="{834D6162-6BA8-DD4C-99E3-00D116ED1F32}" type="sibTrans" cxnId="{E28D9053-910A-CD4F-A104-364686385554}">
      <dgm:prSet/>
      <dgm:spPr>
        <a:solidFill>
          <a:srgbClr val="A1A6A9"/>
        </a:solidFill>
        <a:ln>
          <a:noFill/>
        </a:ln>
      </dgm:spPr>
      <dgm:t>
        <a:bodyPr/>
        <a:lstStyle/>
        <a:p>
          <a:endParaRPr lang="en-US" b="1">
            <a:solidFill>
              <a:schemeClr val="tx1"/>
            </a:solidFill>
          </a:endParaRPr>
        </a:p>
      </dgm:t>
    </dgm:pt>
    <dgm:pt modelId="{E6D33713-A477-3340-9E36-E0CCF3A400E7}">
      <dgm:prSet phldrT="[Text]"/>
      <dgm:spPr/>
      <dgm:t>
        <a:bodyPr/>
        <a:lstStyle/>
        <a:p>
          <a:r>
            <a:rPr lang="en-US" b="1"/>
            <a:t>Analytics &amp; Attribution</a:t>
          </a:r>
        </a:p>
      </dgm:t>
    </dgm:pt>
    <dgm:pt modelId="{D18C9A02-9BC1-5D45-8B3F-60CF714DDA84}" type="parTrans" cxnId="{28771B57-7F78-A14F-B58C-DC2E70352D57}">
      <dgm:prSet/>
      <dgm:spPr/>
      <dgm:t>
        <a:bodyPr/>
        <a:lstStyle/>
        <a:p>
          <a:endParaRPr lang="en-US" b="1">
            <a:solidFill>
              <a:schemeClr val="tx1"/>
            </a:solidFill>
          </a:endParaRPr>
        </a:p>
      </dgm:t>
    </dgm:pt>
    <dgm:pt modelId="{41759F98-F7C4-2842-A7F9-C8B09428E4C6}" type="sibTrans" cxnId="{28771B57-7F78-A14F-B58C-DC2E70352D57}">
      <dgm:prSet/>
      <dgm:spPr>
        <a:solidFill>
          <a:srgbClr val="A1A6A9"/>
        </a:solidFill>
        <a:ln>
          <a:noFill/>
        </a:ln>
      </dgm:spPr>
      <dgm:t>
        <a:bodyPr/>
        <a:lstStyle/>
        <a:p>
          <a:endParaRPr lang="en-US" b="1">
            <a:solidFill>
              <a:schemeClr val="tx1"/>
            </a:solidFill>
          </a:endParaRPr>
        </a:p>
      </dgm:t>
    </dgm:pt>
    <dgm:pt modelId="{7ACEF918-3EA2-0244-BD6D-9ECF428D663A}">
      <dgm:prSet phldrT="[Text]"/>
      <dgm:spPr/>
      <dgm:t>
        <a:bodyPr/>
        <a:lstStyle/>
        <a:p>
          <a:r>
            <a:rPr lang="en-US" b="1"/>
            <a:t>Monetization</a:t>
          </a:r>
        </a:p>
      </dgm:t>
    </dgm:pt>
    <dgm:pt modelId="{F838CE0A-8433-B34A-AF54-CAEA0985F5E6}" type="parTrans" cxnId="{3BDB498D-6656-7542-8668-B9ED7FD7E6B8}">
      <dgm:prSet/>
      <dgm:spPr/>
      <dgm:t>
        <a:bodyPr/>
        <a:lstStyle/>
        <a:p>
          <a:endParaRPr lang="en-US" b="1">
            <a:solidFill>
              <a:schemeClr val="tx1"/>
            </a:solidFill>
          </a:endParaRPr>
        </a:p>
      </dgm:t>
    </dgm:pt>
    <dgm:pt modelId="{25287B89-5957-B446-8F5C-31E57E940477}" type="sibTrans" cxnId="{3BDB498D-6656-7542-8668-B9ED7FD7E6B8}">
      <dgm:prSet/>
      <dgm:spPr>
        <a:solidFill>
          <a:srgbClr val="A1A6A9"/>
        </a:solidFill>
        <a:ln>
          <a:noFill/>
        </a:ln>
      </dgm:spPr>
      <dgm:t>
        <a:bodyPr/>
        <a:lstStyle/>
        <a:p>
          <a:endParaRPr lang="en-US" b="1">
            <a:solidFill>
              <a:schemeClr val="tx1"/>
            </a:solidFill>
          </a:endParaRPr>
        </a:p>
      </dgm:t>
    </dgm:pt>
    <dgm:pt modelId="{5CCD7D7E-33F6-2B44-B4BD-79393F98ED6D}">
      <dgm:prSet phldrT="[Text]"/>
      <dgm:spPr/>
      <dgm:t>
        <a:bodyPr/>
        <a:lstStyle/>
        <a:p>
          <a:r>
            <a:rPr lang="en-US" b="1"/>
            <a:t>Scalability &amp; Infrastructure</a:t>
          </a:r>
        </a:p>
      </dgm:t>
    </dgm:pt>
    <dgm:pt modelId="{B3C34B8A-0306-9F4A-A0D5-548DB08D42B7}" type="parTrans" cxnId="{597FF76B-297A-0346-B268-E42BAA0CF8D7}">
      <dgm:prSet/>
      <dgm:spPr/>
      <dgm:t>
        <a:bodyPr/>
        <a:lstStyle/>
        <a:p>
          <a:endParaRPr lang="en-US" b="1">
            <a:solidFill>
              <a:schemeClr val="tx1"/>
            </a:solidFill>
          </a:endParaRPr>
        </a:p>
      </dgm:t>
    </dgm:pt>
    <dgm:pt modelId="{CE71F6D3-F32F-FD4D-BC37-7B3138FDF8B0}" type="sibTrans" cxnId="{597FF76B-297A-0346-B268-E42BAA0CF8D7}">
      <dgm:prSet/>
      <dgm:spPr>
        <a:solidFill>
          <a:srgbClr val="A1A6A9"/>
        </a:solidFill>
        <a:ln>
          <a:noFill/>
        </a:ln>
      </dgm:spPr>
      <dgm:t>
        <a:bodyPr/>
        <a:lstStyle/>
        <a:p>
          <a:endParaRPr lang="en-US" b="1">
            <a:solidFill>
              <a:schemeClr val="tx1"/>
            </a:solidFill>
          </a:endParaRPr>
        </a:p>
      </dgm:t>
    </dgm:pt>
    <dgm:pt modelId="{2AD50045-9709-5444-8698-A1917F89C982}">
      <dgm:prSet phldrT="[Text]"/>
      <dgm:spPr/>
      <dgm:t>
        <a:bodyPr/>
        <a:lstStyle/>
        <a:p>
          <a:r>
            <a:rPr lang="en-US" b="1"/>
            <a:t>Data Insights &amp; Optimization (AI)</a:t>
          </a:r>
        </a:p>
      </dgm:t>
    </dgm:pt>
    <dgm:pt modelId="{1C8121EE-0623-2C47-80A2-9AD2C77F8F6C}" type="parTrans" cxnId="{20CD7437-2A6A-2D45-BDB4-CB680DDB1D6B}">
      <dgm:prSet/>
      <dgm:spPr/>
      <dgm:t>
        <a:bodyPr/>
        <a:lstStyle/>
        <a:p>
          <a:endParaRPr lang="en-US" b="1">
            <a:solidFill>
              <a:schemeClr val="tx1"/>
            </a:solidFill>
          </a:endParaRPr>
        </a:p>
      </dgm:t>
    </dgm:pt>
    <dgm:pt modelId="{678C38DF-6538-494D-B7DE-9BFAD44A73EA}" type="sibTrans" cxnId="{20CD7437-2A6A-2D45-BDB4-CB680DDB1D6B}">
      <dgm:prSet/>
      <dgm:spPr/>
      <dgm:t>
        <a:bodyPr/>
        <a:lstStyle/>
        <a:p>
          <a:endParaRPr lang="en-US" b="1">
            <a:solidFill>
              <a:schemeClr val="tx1"/>
            </a:solidFill>
          </a:endParaRPr>
        </a:p>
      </dgm:t>
    </dgm:pt>
    <dgm:pt modelId="{FBE47C40-6FA6-C547-A4D7-BA07076EB22F}" type="pres">
      <dgm:prSet presAssocID="{241E3B2B-C864-1141-B824-230D231EB4B6}" presName="diagram" presStyleCnt="0">
        <dgm:presLayoutVars>
          <dgm:dir/>
          <dgm:resizeHandles val="exact"/>
        </dgm:presLayoutVars>
      </dgm:prSet>
      <dgm:spPr/>
    </dgm:pt>
    <dgm:pt modelId="{FC874517-D98A-A04A-9883-655B868799C6}" type="pres">
      <dgm:prSet presAssocID="{21F95F98-2FB3-4A4E-89D9-649743B3F413}" presName="node" presStyleLbl="node1" presStyleIdx="0" presStyleCnt="6">
        <dgm:presLayoutVars>
          <dgm:bulletEnabled val="1"/>
        </dgm:presLayoutVars>
      </dgm:prSet>
      <dgm:spPr/>
    </dgm:pt>
    <dgm:pt modelId="{3E1E47FC-15AA-6A46-8223-521686265A6E}" type="pres">
      <dgm:prSet presAssocID="{8BD2C4D2-3A20-534C-83EF-23213DF8251A}" presName="sibTrans" presStyleLbl="sibTrans2D1" presStyleIdx="0" presStyleCnt="5"/>
      <dgm:spPr/>
    </dgm:pt>
    <dgm:pt modelId="{F87989DD-0AC3-EA4C-9347-FCC974A363E4}" type="pres">
      <dgm:prSet presAssocID="{8BD2C4D2-3A20-534C-83EF-23213DF8251A}" presName="connectorText" presStyleLbl="sibTrans2D1" presStyleIdx="0" presStyleCnt="5"/>
      <dgm:spPr/>
    </dgm:pt>
    <dgm:pt modelId="{BCDE70E0-8508-B548-A47F-2890ECB3486A}" type="pres">
      <dgm:prSet presAssocID="{2C6C35CB-1DB4-6E49-A6E2-96BE06DBD0DA}" presName="node" presStyleLbl="node1" presStyleIdx="1" presStyleCnt="6">
        <dgm:presLayoutVars>
          <dgm:bulletEnabled val="1"/>
        </dgm:presLayoutVars>
      </dgm:prSet>
      <dgm:spPr/>
    </dgm:pt>
    <dgm:pt modelId="{4BFBDDEB-D054-604B-AC90-47E1E40798F9}" type="pres">
      <dgm:prSet presAssocID="{834D6162-6BA8-DD4C-99E3-00D116ED1F32}" presName="sibTrans" presStyleLbl="sibTrans2D1" presStyleIdx="1" presStyleCnt="5"/>
      <dgm:spPr/>
    </dgm:pt>
    <dgm:pt modelId="{40D87347-9633-DD4D-87B4-9AB2243CB615}" type="pres">
      <dgm:prSet presAssocID="{834D6162-6BA8-DD4C-99E3-00D116ED1F32}" presName="connectorText" presStyleLbl="sibTrans2D1" presStyleIdx="1" presStyleCnt="5"/>
      <dgm:spPr/>
    </dgm:pt>
    <dgm:pt modelId="{505F1E98-DA3A-D944-B1FC-3F67850C0982}" type="pres">
      <dgm:prSet presAssocID="{E6D33713-A477-3340-9E36-E0CCF3A400E7}" presName="node" presStyleLbl="node1" presStyleIdx="2" presStyleCnt="6">
        <dgm:presLayoutVars>
          <dgm:bulletEnabled val="1"/>
        </dgm:presLayoutVars>
      </dgm:prSet>
      <dgm:spPr/>
    </dgm:pt>
    <dgm:pt modelId="{16D0C987-8205-364D-A30A-3C2E2C4ADC74}" type="pres">
      <dgm:prSet presAssocID="{41759F98-F7C4-2842-A7F9-C8B09428E4C6}" presName="sibTrans" presStyleLbl="sibTrans2D1" presStyleIdx="2" presStyleCnt="5"/>
      <dgm:spPr/>
    </dgm:pt>
    <dgm:pt modelId="{1D5B4F82-40B5-E249-A477-FDD8C5A4680C}" type="pres">
      <dgm:prSet presAssocID="{41759F98-F7C4-2842-A7F9-C8B09428E4C6}" presName="connectorText" presStyleLbl="sibTrans2D1" presStyleIdx="2" presStyleCnt="5"/>
      <dgm:spPr/>
    </dgm:pt>
    <dgm:pt modelId="{DEBB652D-2642-3446-8CB1-04633142CF50}" type="pres">
      <dgm:prSet presAssocID="{7ACEF918-3EA2-0244-BD6D-9ECF428D663A}" presName="node" presStyleLbl="node1" presStyleIdx="3" presStyleCnt="6">
        <dgm:presLayoutVars>
          <dgm:bulletEnabled val="1"/>
        </dgm:presLayoutVars>
      </dgm:prSet>
      <dgm:spPr/>
    </dgm:pt>
    <dgm:pt modelId="{9B05FE8C-B434-A843-A3EF-E6582BB5512E}" type="pres">
      <dgm:prSet presAssocID="{25287B89-5957-B446-8F5C-31E57E940477}" presName="sibTrans" presStyleLbl="sibTrans2D1" presStyleIdx="3" presStyleCnt="5"/>
      <dgm:spPr/>
    </dgm:pt>
    <dgm:pt modelId="{4EA56DF1-E8A0-D840-A755-7ED318AC485C}" type="pres">
      <dgm:prSet presAssocID="{25287B89-5957-B446-8F5C-31E57E940477}" presName="connectorText" presStyleLbl="sibTrans2D1" presStyleIdx="3" presStyleCnt="5"/>
      <dgm:spPr/>
    </dgm:pt>
    <dgm:pt modelId="{9C34B1F2-6115-1B49-9BEA-0C0650083B4B}" type="pres">
      <dgm:prSet presAssocID="{5CCD7D7E-33F6-2B44-B4BD-79393F98ED6D}" presName="node" presStyleLbl="node1" presStyleIdx="4" presStyleCnt="6">
        <dgm:presLayoutVars>
          <dgm:bulletEnabled val="1"/>
        </dgm:presLayoutVars>
      </dgm:prSet>
      <dgm:spPr/>
    </dgm:pt>
    <dgm:pt modelId="{37AC4F9F-F880-D843-8824-ABF18D8D491A}" type="pres">
      <dgm:prSet presAssocID="{CE71F6D3-F32F-FD4D-BC37-7B3138FDF8B0}" presName="sibTrans" presStyleLbl="sibTrans2D1" presStyleIdx="4" presStyleCnt="5"/>
      <dgm:spPr/>
    </dgm:pt>
    <dgm:pt modelId="{7D93BB6E-9D09-584C-BAC5-39F5C0489B0D}" type="pres">
      <dgm:prSet presAssocID="{CE71F6D3-F32F-FD4D-BC37-7B3138FDF8B0}" presName="connectorText" presStyleLbl="sibTrans2D1" presStyleIdx="4" presStyleCnt="5"/>
      <dgm:spPr/>
    </dgm:pt>
    <dgm:pt modelId="{01507AF5-2DCA-0B49-9ECD-7E11BABDD4A1}" type="pres">
      <dgm:prSet presAssocID="{2AD50045-9709-5444-8698-A1917F89C982}" presName="node" presStyleLbl="node1" presStyleIdx="5" presStyleCnt="6">
        <dgm:presLayoutVars>
          <dgm:bulletEnabled val="1"/>
        </dgm:presLayoutVars>
      </dgm:prSet>
      <dgm:spPr/>
    </dgm:pt>
  </dgm:ptLst>
  <dgm:cxnLst>
    <dgm:cxn modelId="{63B5730D-7667-C44D-A1CC-FDD22EB9F1A7}" type="presOf" srcId="{25287B89-5957-B446-8F5C-31E57E940477}" destId="{4EA56DF1-E8A0-D840-A755-7ED318AC485C}" srcOrd="1" destOrd="0" presId="urn:microsoft.com/office/officeart/2005/8/layout/process5"/>
    <dgm:cxn modelId="{446DB310-1B81-3F45-9E5B-E664AD7857FC}" type="presOf" srcId="{CE71F6D3-F32F-FD4D-BC37-7B3138FDF8B0}" destId="{7D93BB6E-9D09-584C-BAC5-39F5C0489B0D}" srcOrd="1" destOrd="0" presId="urn:microsoft.com/office/officeart/2005/8/layout/process5"/>
    <dgm:cxn modelId="{EE532A16-ECF9-9040-B025-F6030B142AF2}" type="presOf" srcId="{25287B89-5957-B446-8F5C-31E57E940477}" destId="{9B05FE8C-B434-A843-A3EF-E6582BB5512E}" srcOrd="0" destOrd="0" presId="urn:microsoft.com/office/officeart/2005/8/layout/process5"/>
    <dgm:cxn modelId="{20CD7437-2A6A-2D45-BDB4-CB680DDB1D6B}" srcId="{241E3B2B-C864-1141-B824-230D231EB4B6}" destId="{2AD50045-9709-5444-8698-A1917F89C982}" srcOrd="5" destOrd="0" parTransId="{1C8121EE-0623-2C47-80A2-9AD2C77F8F6C}" sibTransId="{678C38DF-6538-494D-B7DE-9BFAD44A73EA}"/>
    <dgm:cxn modelId="{2E35885F-B071-7A49-B0F6-BCAE7043D8B9}" type="presOf" srcId="{8BD2C4D2-3A20-534C-83EF-23213DF8251A}" destId="{F87989DD-0AC3-EA4C-9347-FCC974A363E4}" srcOrd="1" destOrd="0" presId="urn:microsoft.com/office/officeart/2005/8/layout/process5"/>
    <dgm:cxn modelId="{D96C6641-EC88-0741-867D-34D15461C4F4}" type="presOf" srcId="{21F95F98-2FB3-4A4E-89D9-649743B3F413}" destId="{FC874517-D98A-A04A-9883-655B868799C6}" srcOrd="0" destOrd="0" presId="urn:microsoft.com/office/officeart/2005/8/layout/process5"/>
    <dgm:cxn modelId="{F93ADC47-7AC4-BD43-98FB-1F904D070F5C}" type="presOf" srcId="{8BD2C4D2-3A20-534C-83EF-23213DF8251A}" destId="{3E1E47FC-15AA-6A46-8223-521686265A6E}" srcOrd="0" destOrd="0" presId="urn:microsoft.com/office/officeart/2005/8/layout/process5"/>
    <dgm:cxn modelId="{6E136669-4896-B947-9EB5-79C9CB4D6593}" type="presOf" srcId="{41759F98-F7C4-2842-A7F9-C8B09428E4C6}" destId="{1D5B4F82-40B5-E249-A477-FDD8C5A4680C}" srcOrd="1" destOrd="0" presId="urn:microsoft.com/office/officeart/2005/8/layout/process5"/>
    <dgm:cxn modelId="{DFCD474B-12DD-6D47-8140-04552DE44847}" type="presOf" srcId="{2AD50045-9709-5444-8698-A1917F89C982}" destId="{01507AF5-2DCA-0B49-9ECD-7E11BABDD4A1}" srcOrd="0" destOrd="0" presId="urn:microsoft.com/office/officeart/2005/8/layout/process5"/>
    <dgm:cxn modelId="{597FF76B-297A-0346-B268-E42BAA0CF8D7}" srcId="{241E3B2B-C864-1141-B824-230D231EB4B6}" destId="{5CCD7D7E-33F6-2B44-B4BD-79393F98ED6D}" srcOrd="4" destOrd="0" parTransId="{B3C34B8A-0306-9F4A-A0D5-548DB08D42B7}" sibTransId="{CE71F6D3-F32F-FD4D-BC37-7B3138FDF8B0}"/>
    <dgm:cxn modelId="{E28D9053-910A-CD4F-A104-364686385554}" srcId="{241E3B2B-C864-1141-B824-230D231EB4B6}" destId="{2C6C35CB-1DB4-6E49-A6E2-96BE06DBD0DA}" srcOrd="1" destOrd="0" parTransId="{52D135AB-6F3A-9D47-A46D-FC7ED6B9DCE4}" sibTransId="{834D6162-6BA8-DD4C-99E3-00D116ED1F32}"/>
    <dgm:cxn modelId="{DE4CED54-933A-6F4C-9F1C-87F3F6ABE8A7}" type="presOf" srcId="{41759F98-F7C4-2842-A7F9-C8B09428E4C6}" destId="{16D0C987-8205-364D-A30A-3C2E2C4ADC74}" srcOrd="0" destOrd="0" presId="urn:microsoft.com/office/officeart/2005/8/layout/process5"/>
    <dgm:cxn modelId="{28771B57-7F78-A14F-B58C-DC2E70352D57}" srcId="{241E3B2B-C864-1141-B824-230D231EB4B6}" destId="{E6D33713-A477-3340-9E36-E0CCF3A400E7}" srcOrd="2" destOrd="0" parTransId="{D18C9A02-9BC1-5D45-8B3F-60CF714DDA84}" sibTransId="{41759F98-F7C4-2842-A7F9-C8B09428E4C6}"/>
    <dgm:cxn modelId="{7DCCA085-F65C-DD44-A679-737A006289CA}" type="presOf" srcId="{7ACEF918-3EA2-0244-BD6D-9ECF428D663A}" destId="{DEBB652D-2642-3446-8CB1-04633142CF50}" srcOrd="0" destOrd="0" presId="urn:microsoft.com/office/officeart/2005/8/layout/process5"/>
    <dgm:cxn modelId="{3BDB498D-6656-7542-8668-B9ED7FD7E6B8}" srcId="{241E3B2B-C864-1141-B824-230D231EB4B6}" destId="{7ACEF918-3EA2-0244-BD6D-9ECF428D663A}" srcOrd="3" destOrd="0" parTransId="{F838CE0A-8433-B34A-AF54-CAEA0985F5E6}" sibTransId="{25287B89-5957-B446-8F5C-31E57E940477}"/>
    <dgm:cxn modelId="{52EF3F9C-5788-9A47-93A8-A634B47B61A7}" type="presOf" srcId="{CE71F6D3-F32F-FD4D-BC37-7B3138FDF8B0}" destId="{37AC4F9F-F880-D843-8824-ABF18D8D491A}" srcOrd="0" destOrd="0" presId="urn:microsoft.com/office/officeart/2005/8/layout/process5"/>
    <dgm:cxn modelId="{DF1C0E9E-157D-E84C-9EDC-FA4BE44BFEAB}" srcId="{241E3B2B-C864-1141-B824-230D231EB4B6}" destId="{21F95F98-2FB3-4A4E-89D9-649743B3F413}" srcOrd="0" destOrd="0" parTransId="{33CD1C14-F883-DD43-9DBE-E7D721FE83F4}" sibTransId="{8BD2C4D2-3A20-534C-83EF-23213DF8251A}"/>
    <dgm:cxn modelId="{C5BC9BA2-05F0-E94F-AEC7-62CC2710260E}" type="presOf" srcId="{241E3B2B-C864-1141-B824-230D231EB4B6}" destId="{FBE47C40-6FA6-C547-A4D7-BA07076EB22F}" srcOrd="0" destOrd="0" presId="urn:microsoft.com/office/officeart/2005/8/layout/process5"/>
    <dgm:cxn modelId="{ED33A5B0-AE1A-DF41-A15B-AD023FE00C36}" type="presOf" srcId="{5CCD7D7E-33F6-2B44-B4BD-79393F98ED6D}" destId="{9C34B1F2-6115-1B49-9BEA-0C0650083B4B}" srcOrd="0" destOrd="0" presId="urn:microsoft.com/office/officeart/2005/8/layout/process5"/>
    <dgm:cxn modelId="{BAB44FC6-5644-EC4E-822A-61729A7460B5}" type="presOf" srcId="{834D6162-6BA8-DD4C-99E3-00D116ED1F32}" destId="{40D87347-9633-DD4D-87B4-9AB2243CB615}" srcOrd="1" destOrd="0" presId="urn:microsoft.com/office/officeart/2005/8/layout/process5"/>
    <dgm:cxn modelId="{1E7626D7-1A57-2A4C-A900-41F11B0970AF}" type="presOf" srcId="{834D6162-6BA8-DD4C-99E3-00D116ED1F32}" destId="{4BFBDDEB-D054-604B-AC90-47E1E40798F9}" srcOrd="0" destOrd="0" presId="urn:microsoft.com/office/officeart/2005/8/layout/process5"/>
    <dgm:cxn modelId="{CE35E6DE-BA0C-1949-845D-24EBBE2A954E}" type="presOf" srcId="{E6D33713-A477-3340-9E36-E0CCF3A400E7}" destId="{505F1E98-DA3A-D944-B1FC-3F67850C0982}" srcOrd="0" destOrd="0" presId="urn:microsoft.com/office/officeart/2005/8/layout/process5"/>
    <dgm:cxn modelId="{5F211DFA-5FC0-3C46-BF64-4D67FA2BE3D7}" type="presOf" srcId="{2C6C35CB-1DB4-6E49-A6E2-96BE06DBD0DA}" destId="{BCDE70E0-8508-B548-A47F-2890ECB3486A}" srcOrd="0" destOrd="0" presId="urn:microsoft.com/office/officeart/2005/8/layout/process5"/>
    <dgm:cxn modelId="{BB5DBD11-D84F-304E-A2AE-9C1AAA9B6BB9}" type="presParOf" srcId="{FBE47C40-6FA6-C547-A4D7-BA07076EB22F}" destId="{FC874517-D98A-A04A-9883-655B868799C6}" srcOrd="0" destOrd="0" presId="urn:microsoft.com/office/officeart/2005/8/layout/process5"/>
    <dgm:cxn modelId="{39190822-A5EE-7747-AA5F-F120CED58D36}" type="presParOf" srcId="{FBE47C40-6FA6-C547-A4D7-BA07076EB22F}" destId="{3E1E47FC-15AA-6A46-8223-521686265A6E}" srcOrd="1" destOrd="0" presId="urn:microsoft.com/office/officeart/2005/8/layout/process5"/>
    <dgm:cxn modelId="{800271A5-D76E-094D-8E6A-6D045E9A10A2}" type="presParOf" srcId="{3E1E47FC-15AA-6A46-8223-521686265A6E}" destId="{F87989DD-0AC3-EA4C-9347-FCC974A363E4}" srcOrd="0" destOrd="0" presId="urn:microsoft.com/office/officeart/2005/8/layout/process5"/>
    <dgm:cxn modelId="{657A863D-B1C7-3842-AE14-72ECD4850F2C}" type="presParOf" srcId="{FBE47C40-6FA6-C547-A4D7-BA07076EB22F}" destId="{BCDE70E0-8508-B548-A47F-2890ECB3486A}" srcOrd="2" destOrd="0" presId="urn:microsoft.com/office/officeart/2005/8/layout/process5"/>
    <dgm:cxn modelId="{7620B9FD-DC93-8349-BED1-DA399645CDB7}" type="presParOf" srcId="{FBE47C40-6FA6-C547-A4D7-BA07076EB22F}" destId="{4BFBDDEB-D054-604B-AC90-47E1E40798F9}" srcOrd="3" destOrd="0" presId="urn:microsoft.com/office/officeart/2005/8/layout/process5"/>
    <dgm:cxn modelId="{DAAFA038-E4B0-C045-B470-3F5023939DC6}" type="presParOf" srcId="{4BFBDDEB-D054-604B-AC90-47E1E40798F9}" destId="{40D87347-9633-DD4D-87B4-9AB2243CB615}" srcOrd="0" destOrd="0" presId="urn:microsoft.com/office/officeart/2005/8/layout/process5"/>
    <dgm:cxn modelId="{57E55FBC-A7E6-3547-AB0D-B5D49C52DC18}" type="presParOf" srcId="{FBE47C40-6FA6-C547-A4D7-BA07076EB22F}" destId="{505F1E98-DA3A-D944-B1FC-3F67850C0982}" srcOrd="4" destOrd="0" presId="urn:microsoft.com/office/officeart/2005/8/layout/process5"/>
    <dgm:cxn modelId="{39AD3FE9-5D19-0E4A-9600-51468E271BDC}" type="presParOf" srcId="{FBE47C40-6FA6-C547-A4D7-BA07076EB22F}" destId="{16D0C987-8205-364D-A30A-3C2E2C4ADC74}" srcOrd="5" destOrd="0" presId="urn:microsoft.com/office/officeart/2005/8/layout/process5"/>
    <dgm:cxn modelId="{9A07ABBB-0F07-294F-9AF4-39E973823FA7}" type="presParOf" srcId="{16D0C987-8205-364D-A30A-3C2E2C4ADC74}" destId="{1D5B4F82-40B5-E249-A477-FDD8C5A4680C}" srcOrd="0" destOrd="0" presId="urn:microsoft.com/office/officeart/2005/8/layout/process5"/>
    <dgm:cxn modelId="{EC1C18F4-3124-104A-9347-14E34F468DB4}" type="presParOf" srcId="{FBE47C40-6FA6-C547-A4D7-BA07076EB22F}" destId="{DEBB652D-2642-3446-8CB1-04633142CF50}" srcOrd="6" destOrd="0" presId="urn:microsoft.com/office/officeart/2005/8/layout/process5"/>
    <dgm:cxn modelId="{0E61D665-6953-BE46-B312-6BF14F1B8A88}" type="presParOf" srcId="{FBE47C40-6FA6-C547-A4D7-BA07076EB22F}" destId="{9B05FE8C-B434-A843-A3EF-E6582BB5512E}" srcOrd="7" destOrd="0" presId="urn:microsoft.com/office/officeart/2005/8/layout/process5"/>
    <dgm:cxn modelId="{630AA8FD-E24B-AE40-AD66-FB861B4C0E3B}" type="presParOf" srcId="{9B05FE8C-B434-A843-A3EF-E6582BB5512E}" destId="{4EA56DF1-E8A0-D840-A755-7ED318AC485C}" srcOrd="0" destOrd="0" presId="urn:microsoft.com/office/officeart/2005/8/layout/process5"/>
    <dgm:cxn modelId="{41B7D927-AE05-3647-8050-1F3E632AE7F7}" type="presParOf" srcId="{FBE47C40-6FA6-C547-A4D7-BA07076EB22F}" destId="{9C34B1F2-6115-1B49-9BEA-0C0650083B4B}" srcOrd="8" destOrd="0" presId="urn:microsoft.com/office/officeart/2005/8/layout/process5"/>
    <dgm:cxn modelId="{78D8AFC5-8658-8D40-B637-99D20A0AF0F8}" type="presParOf" srcId="{FBE47C40-6FA6-C547-A4D7-BA07076EB22F}" destId="{37AC4F9F-F880-D843-8824-ABF18D8D491A}" srcOrd="9" destOrd="0" presId="urn:microsoft.com/office/officeart/2005/8/layout/process5"/>
    <dgm:cxn modelId="{58C9ED68-0758-8F44-9E1F-213E9392F1CA}" type="presParOf" srcId="{37AC4F9F-F880-D843-8824-ABF18D8D491A}" destId="{7D93BB6E-9D09-584C-BAC5-39F5C0489B0D}" srcOrd="0" destOrd="0" presId="urn:microsoft.com/office/officeart/2005/8/layout/process5"/>
    <dgm:cxn modelId="{57CDA69A-0E84-F340-B7EA-979D775D31BF}" type="presParOf" srcId="{FBE47C40-6FA6-C547-A4D7-BA07076EB22F}" destId="{01507AF5-2DCA-0B49-9ECD-7E11BABDD4A1}" srcOrd="10" destOrd="0" presId="urn:microsoft.com/office/officeart/2005/8/layout/process5"/>
  </dgm:cxnLst>
  <dgm:bg>
    <a:solidFill>
      <a:schemeClr val="bg1"/>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4FEB42F-B552-468F-AE1E-A187E0D7FDEB}" type="doc">
      <dgm:prSet loTypeId="urn:microsoft.com/office/officeart/2005/8/layout/equation2" loCatId="relationship" qsTypeId="urn:microsoft.com/office/officeart/2005/8/quickstyle/simple1" qsCatId="simple" csTypeId="urn:microsoft.com/office/officeart/2005/8/colors/accent1_2" csCatId="accent1" phldr="1"/>
      <dgm:spPr/>
    </dgm:pt>
    <dgm:pt modelId="{7B72807C-9C72-41BB-A3AE-1FFDC0F9D678}">
      <dgm:prSet phldrT="[Text]" custT="1"/>
      <dgm:spPr/>
      <dgm:t>
        <a:bodyPr/>
        <a:lstStyle/>
        <a:p>
          <a:r>
            <a:rPr lang="en-US" sz="900" b="1">
              <a:solidFill>
                <a:schemeClr val="bg1"/>
              </a:solidFill>
            </a:rPr>
            <a:t>APP 20 Day VWAP $294.86</a:t>
          </a:r>
        </a:p>
      </dgm:t>
    </dgm:pt>
    <dgm:pt modelId="{D6DDDBD1-BA6D-4306-9578-FE955574DFE4}" type="parTrans" cxnId="{33B26AAA-1377-495B-8608-C83D19846BCC}">
      <dgm:prSet/>
      <dgm:spPr/>
      <dgm:t>
        <a:bodyPr/>
        <a:lstStyle/>
        <a:p>
          <a:endParaRPr lang="en-CA"/>
        </a:p>
      </dgm:t>
    </dgm:pt>
    <dgm:pt modelId="{BE67720E-E49C-4152-8582-2B13DB240413}" type="sibTrans" cxnId="{33B26AAA-1377-495B-8608-C83D19846BCC}">
      <dgm:prSet/>
      <dgm:spPr>
        <a:noFill/>
      </dgm:spPr>
      <dgm:t>
        <a:bodyPr/>
        <a:lstStyle/>
        <a:p>
          <a:endParaRPr lang="en-US"/>
        </a:p>
      </dgm:t>
    </dgm:pt>
    <dgm:pt modelId="{70469A69-3F74-4607-A623-0C4597E055EE}">
      <dgm:prSet phldrT="[Text]" custT="1"/>
      <dgm:spPr/>
      <dgm:t>
        <a:bodyPr/>
        <a:lstStyle/>
        <a:p>
          <a:r>
            <a:rPr lang="en-US" sz="900" b="1">
              <a:solidFill>
                <a:schemeClr val="bg1"/>
              </a:solidFill>
            </a:rPr>
            <a:t>SHOP share price $97.64</a:t>
          </a:r>
        </a:p>
      </dgm:t>
    </dgm:pt>
    <dgm:pt modelId="{BD64E380-817B-4AB0-85F3-248E0BD8AFCE}" type="parTrans" cxnId="{0012659D-A0DD-4FED-8762-857C47643008}">
      <dgm:prSet/>
      <dgm:spPr/>
      <dgm:t>
        <a:bodyPr/>
        <a:lstStyle/>
        <a:p>
          <a:endParaRPr lang="en-CA"/>
        </a:p>
      </dgm:t>
    </dgm:pt>
    <dgm:pt modelId="{BA8F42C7-180F-4E0F-BF55-7F223B29B704}" type="sibTrans" cxnId="{0012659D-A0DD-4FED-8762-857C47643008}">
      <dgm:prSet/>
      <dgm:spPr>
        <a:solidFill>
          <a:schemeClr val="accent2"/>
        </a:solidFill>
      </dgm:spPr>
      <dgm:t>
        <a:bodyPr/>
        <a:lstStyle/>
        <a:p>
          <a:endParaRPr lang="en-US"/>
        </a:p>
      </dgm:t>
    </dgm:pt>
    <dgm:pt modelId="{0D2DD39F-C80D-4A43-A7BE-417DE7D2FAAB}">
      <dgm:prSet phldrT="[Text]" custT="1"/>
      <dgm:spPr/>
      <dgm:t>
        <a:bodyPr/>
        <a:lstStyle/>
        <a:p>
          <a:r>
            <a:rPr lang="en-US" sz="900" b="1">
              <a:solidFill>
                <a:schemeClr val="bg1"/>
              </a:solidFill>
            </a:rPr>
            <a:t>SER: 3.02x</a:t>
          </a:r>
        </a:p>
      </dgm:t>
    </dgm:pt>
    <dgm:pt modelId="{95977A01-42B8-4481-9A5B-B129222683D5}" type="parTrans" cxnId="{B8759AB2-BEE7-4CAA-82E1-45D5B704A731}">
      <dgm:prSet/>
      <dgm:spPr/>
      <dgm:t>
        <a:bodyPr/>
        <a:lstStyle/>
        <a:p>
          <a:endParaRPr lang="en-CA"/>
        </a:p>
      </dgm:t>
    </dgm:pt>
    <dgm:pt modelId="{E85527CB-B3E5-403E-AC63-5639EE0CBFC0}" type="sibTrans" cxnId="{B8759AB2-BEE7-4CAA-82E1-45D5B704A731}">
      <dgm:prSet/>
      <dgm:spPr/>
      <dgm:t>
        <a:bodyPr/>
        <a:lstStyle/>
        <a:p>
          <a:endParaRPr lang="en-CA"/>
        </a:p>
      </dgm:t>
    </dgm:pt>
    <dgm:pt modelId="{30B2329E-0896-44D6-829F-2380245534FE}" type="pres">
      <dgm:prSet presAssocID="{64FEB42F-B552-468F-AE1E-A187E0D7FDEB}" presName="Name0" presStyleCnt="0">
        <dgm:presLayoutVars>
          <dgm:dir/>
          <dgm:resizeHandles val="exact"/>
        </dgm:presLayoutVars>
      </dgm:prSet>
      <dgm:spPr/>
    </dgm:pt>
    <dgm:pt modelId="{2B7CFB2A-2EA0-40C4-807F-B3A0A2081925}" type="pres">
      <dgm:prSet presAssocID="{64FEB42F-B552-468F-AE1E-A187E0D7FDEB}" presName="vNodes" presStyleCnt="0"/>
      <dgm:spPr/>
    </dgm:pt>
    <dgm:pt modelId="{B1CB1291-19C3-421E-84F6-AEAE00F914A5}" type="pres">
      <dgm:prSet presAssocID="{7B72807C-9C72-41BB-A3AE-1FFDC0F9D678}" presName="node" presStyleLbl="node1" presStyleIdx="0" presStyleCnt="3" custScaleX="85043" custScaleY="85043" custLinFactY="13644" custLinFactNeighborX="-38316" custLinFactNeighborY="100000">
        <dgm:presLayoutVars>
          <dgm:bulletEnabled val="1"/>
        </dgm:presLayoutVars>
      </dgm:prSet>
      <dgm:spPr/>
    </dgm:pt>
    <dgm:pt modelId="{B998A569-E16D-44A6-9A50-CAAA947167DD}" type="pres">
      <dgm:prSet presAssocID="{BE67720E-E49C-4152-8582-2B13DB240413}" presName="spacerT" presStyleCnt="0"/>
      <dgm:spPr/>
    </dgm:pt>
    <dgm:pt modelId="{52FD21F7-77AD-42F1-A279-50E22CA20406}" type="pres">
      <dgm:prSet presAssocID="{BE67720E-E49C-4152-8582-2B13DB240413}" presName="sibTrans" presStyleLbl="sibTrans2D1" presStyleIdx="0" presStyleCnt="2"/>
      <dgm:spPr/>
    </dgm:pt>
    <dgm:pt modelId="{CAEEFE0C-9027-408B-97E8-EB827C759BFE}" type="pres">
      <dgm:prSet presAssocID="{BE67720E-E49C-4152-8582-2B13DB240413}" presName="spacerB" presStyleCnt="0"/>
      <dgm:spPr/>
    </dgm:pt>
    <dgm:pt modelId="{C4F68369-5155-4A4D-9029-569E7A2B0B33}" type="pres">
      <dgm:prSet presAssocID="{70469A69-3F74-4607-A623-0C4597E055EE}" presName="node" presStyleLbl="node1" presStyleIdx="1" presStyleCnt="3" custScaleX="83059" custScaleY="83059" custLinFactY="-21720" custLinFactNeighborX="25577" custLinFactNeighborY="-100000">
        <dgm:presLayoutVars>
          <dgm:bulletEnabled val="1"/>
        </dgm:presLayoutVars>
      </dgm:prSet>
      <dgm:spPr/>
    </dgm:pt>
    <dgm:pt modelId="{A9BE349F-D69E-4609-858E-2821715F0E61}" type="pres">
      <dgm:prSet presAssocID="{64FEB42F-B552-468F-AE1E-A187E0D7FDEB}" presName="sibTransLast" presStyleLbl="sibTrans2D1" presStyleIdx="1" presStyleCnt="2" custAng="173366" custScaleX="179359" custLinFactNeighborX="-9705" custLinFactNeighborY="-2416"/>
      <dgm:spPr/>
    </dgm:pt>
    <dgm:pt modelId="{3D071985-1490-4D2A-931D-AC9360BAFFD7}" type="pres">
      <dgm:prSet presAssocID="{64FEB42F-B552-468F-AE1E-A187E0D7FDEB}" presName="connectorText" presStyleLbl="sibTrans2D1" presStyleIdx="1" presStyleCnt="2"/>
      <dgm:spPr/>
    </dgm:pt>
    <dgm:pt modelId="{FCF4427F-DCC6-4556-807C-6530DD0C6CB2}" type="pres">
      <dgm:prSet presAssocID="{64FEB42F-B552-468F-AE1E-A187E0D7FDEB}" presName="lastNode" presStyleLbl="node1" presStyleIdx="2" presStyleCnt="3" custScaleX="37914" custScaleY="40475" custLinFactX="3212" custLinFactNeighborX="100000" custLinFactNeighborY="-6189">
        <dgm:presLayoutVars>
          <dgm:bulletEnabled val="1"/>
        </dgm:presLayoutVars>
      </dgm:prSet>
      <dgm:spPr/>
    </dgm:pt>
  </dgm:ptLst>
  <dgm:cxnLst>
    <dgm:cxn modelId="{50EF5D0F-567D-45CC-B7BB-9FF9CDDCA12C}" type="presOf" srcId="{64FEB42F-B552-468F-AE1E-A187E0D7FDEB}" destId="{30B2329E-0896-44D6-829F-2380245534FE}" srcOrd="0" destOrd="0" presId="urn:microsoft.com/office/officeart/2005/8/layout/equation2"/>
    <dgm:cxn modelId="{6B57614C-DFD1-4B7F-8C4F-E856E1B04DBF}" type="presOf" srcId="{7B72807C-9C72-41BB-A3AE-1FFDC0F9D678}" destId="{B1CB1291-19C3-421E-84F6-AEAE00F914A5}" srcOrd="0" destOrd="0" presId="urn:microsoft.com/office/officeart/2005/8/layout/equation2"/>
    <dgm:cxn modelId="{24D42D85-A5ED-4C37-8629-57ACC527C555}" type="presOf" srcId="{0D2DD39F-C80D-4A43-A7BE-417DE7D2FAAB}" destId="{FCF4427F-DCC6-4556-807C-6530DD0C6CB2}" srcOrd="0" destOrd="0" presId="urn:microsoft.com/office/officeart/2005/8/layout/equation2"/>
    <dgm:cxn modelId="{0012659D-A0DD-4FED-8762-857C47643008}" srcId="{64FEB42F-B552-468F-AE1E-A187E0D7FDEB}" destId="{70469A69-3F74-4607-A623-0C4597E055EE}" srcOrd="1" destOrd="0" parTransId="{BD64E380-817B-4AB0-85F3-248E0BD8AFCE}" sibTransId="{BA8F42C7-180F-4E0F-BF55-7F223B29B704}"/>
    <dgm:cxn modelId="{33B26AAA-1377-495B-8608-C83D19846BCC}" srcId="{64FEB42F-B552-468F-AE1E-A187E0D7FDEB}" destId="{7B72807C-9C72-41BB-A3AE-1FFDC0F9D678}" srcOrd="0" destOrd="0" parTransId="{D6DDDBD1-BA6D-4306-9578-FE955574DFE4}" sibTransId="{BE67720E-E49C-4152-8582-2B13DB240413}"/>
    <dgm:cxn modelId="{B8759AB2-BEE7-4CAA-82E1-45D5B704A731}" srcId="{64FEB42F-B552-468F-AE1E-A187E0D7FDEB}" destId="{0D2DD39F-C80D-4A43-A7BE-417DE7D2FAAB}" srcOrd="2" destOrd="0" parTransId="{95977A01-42B8-4481-9A5B-B129222683D5}" sibTransId="{E85527CB-B3E5-403E-AC63-5639EE0CBFC0}"/>
    <dgm:cxn modelId="{C33EBDE6-8B36-4022-8AFA-BB19C2289751}" type="presOf" srcId="{70469A69-3F74-4607-A623-0C4597E055EE}" destId="{C4F68369-5155-4A4D-9029-569E7A2B0B33}" srcOrd="0" destOrd="0" presId="urn:microsoft.com/office/officeart/2005/8/layout/equation2"/>
    <dgm:cxn modelId="{2CB26EEF-5370-45EC-BB5E-638F20C9BF1C}" type="presOf" srcId="{BA8F42C7-180F-4E0F-BF55-7F223B29B704}" destId="{3D071985-1490-4D2A-931D-AC9360BAFFD7}" srcOrd="1" destOrd="0" presId="urn:microsoft.com/office/officeart/2005/8/layout/equation2"/>
    <dgm:cxn modelId="{AEAE06FA-55A5-4BA7-B266-C7933C23A4C9}" type="presOf" srcId="{BE67720E-E49C-4152-8582-2B13DB240413}" destId="{52FD21F7-77AD-42F1-A279-50E22CA20406}" srcOrd="0" destOrd="0" presId="urn:microsoft.com/office/officeart/2005/8/layout/equation2"/>
    <dgm:cxn modelId="{85FB0DFC-D5BB-4CF6-9CEC-DB1247555CB9}" type="presOf" srcId="{BA8F42C7-180F-4E0F-BF55-7F223B29B704}" destId="{A9BE349F-D69E-4609-858E-2821715F0E61}" srcOrd="0" destOrd="0" presId="urn:microsoft.com/office/officeart/2005/8/layout/equation2"/>
    <dgm:cxn modelId="{D92F3CEB-A076-4E68-B220-88DAA52F6EDA}" type="presParOf" srcId="{30B2329E-0896-44D6-829F-2380245534FE}" destId="{2B7CFB2A-2EA0-40C4-807F-B3A0A2081925}" srcOrd="0" destOrd="0" presId="urn:microsoft.com/office/officeart/2005/8/layout/equation2"/>
    <dgm:cxn modelId="{EA252766-75C5-4C98-8A2C-B552E21609F8}" type="presParOf" srcId="{2B7CFB2A-2EA0-40C4-807F-B3A0A2081925}" destId="{B1CB1291-19C3-421E-84F6-AEAE00F914A5}" srcOrd="0" destOrd="0" presId="urn:microsoft.com/office/officeart/2005/8/layout/equation2"/>
    <dgm:cxn modelId="{C5B8165B-7E3F-46FD-A67D-691110BA42A0}" type="presParOf" srcId="{2B7CFB2A-2EA0-40C4-807F-B3A0A2081925}" destId="{B998A569-E16D-44A6-9A50-CAAA947167DD}" srcOrd="1" destOrd="0" presId="urn:microsoft.com/office/officeart/2005/8/layout/equation2"/>
    <dgm:cxn modelId="{24FD6B83-946A-4AE3-8337-C2E82D4D4987}" type="presParOf" srcId="{2B7CFB2A-2EA0-40C4-807F-B3A0A2081925}" destId="{52FD21F7-77AD-42F1-A279-50E22CA20406}" srcOrd="2" destOrd="0" presId="urn:microsoft.com/office/officeart/2005/8/layout/equation2"/>
    <dgm:cxn modelId="{5D21E574-2839-49F0-B2D9-02D9B4CC0D2D}" type="presParOf" srcId="{2B7CFB2A-2EA0-40C4-807F-B3A0A2081925}" destId="{CAEEFE0C-9027-408B-97E8-EB827C759BFE}" srcOrd="3" destOrd="0" presId="urn:microsoft.com/office/officeart/2005/8/layout/equation2"/>
    <dgm:cxn modelId="{5FE16180-14ED-43F9-88FD-ECA6C88923B3}" type="presParOf" srcId="{2B7CFB2A-2EA0-40C4-807F-B3A0A2081925}" destId="{C4F68369-5155-4A4D-9029-569E7A2B0B33}" srcOrd="4" destOrd="0" presId="urn:microsoft.com/office/officeart/2005/8/layout/equation2"/>
    <dgm:cxn modelId="{36A0B06E-4094-4671-91AA-C62FDFD67AC7}" type="presParOf" srcId="{30B2329E-0896-44D6-829F-2380245534FE}" destId="{A9BE349F-D69E-4609-858E-2821715F0E61}" srcOrd="1" destOrd="0" presId="urn:microsoft.com/office/officeart/2005/8/layout/equation2"/>
    <dgm:cxn modelId="{F4C989B5-4B7E-4A92-B5CB-2006FB24E4AE}" type="presParOf" srcId="{A9BE349F-D69E-4609-858E-2821715F0E61}" destId="{3D071985-1490-4D2A-931D-AC9360BAFFD7}" srcOrd="0" destOrd="0" presId="urn:microsoft.com/office/officeart/2005/8/layout/equation2"/>
    <dgm:cxn modelId="{B900116D-817D-4A95-9EA8-62728635573E}" type="presParOf" srcId="{30B2329E-0896-44D6-829F-2380245534FE}" destId="{FCF4427F-DCC6-4556-807C-6530DD0C6CB2}" srcOrd="2" destOrd="0" presId="urn:microsoft.com/office/officeart/2005/8/layout/equati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4FEB42F-B552-468F-AE1E-A187E0D7FDEB}" type="doc">
      <dgm:prSet loTypeId="urn:microsoft.com/office/officeart/2005/8/layout/equation2" loCatId="relationship" qsTypeId="urn:microsoft.com/office/officeart/2005/8/quickstyle/simple1" qsCatId="simple" csTypeId="urn:microsoft.com/office/officeart/2005/8/colors/accent1_2" csCatId="accent1" phldr="1"/>
      <dgm:spPr/>
    </dgm:pt>
    <dgm:pt modelId="{7B72807C-9C72-41BB-A3AE-1FFDC0F9D678}">
      <dgm:prSet phldrT="[Text]"/>
      <dgm:spPr/>
      <dgm:t>
        <a:bodyPr/>
        <a:lstStyle/>
        <a:p>
          <a:r>
            <a:rPr lang="en-US" b="1">
              <a:solidFill>
                <a:schemeClr val="bg1"/>
              </a:solidFill>
            </a:rPr>
            <a:t>51% of APP Shares Outstanding: 179m</a:t>
          </a:r>
        </a:p>
      </dgm:t>
    </dgm:pt>
    <dgm:pt modelId="{D6DDDBD1-BA6D-4306-9578-FE955574DFE4}" type="parTrans" cxnId="{33B26AAA-1377-495B-8608-C83D19846BCC}">
      <dgm:prSet/>
      <dgm:spPr/>
      <dgm:t>
        <a:bodyPr/>
        <a:lstStyle/>
        <a:p>
          <a:endParaRPr lang="en-CA"/>
        </a:p>
      </dgm:t>
    </dgm:pt>
    <dgm:pt modelId="{BE67720E-E49C-4152-8582-2B13DB240413}" type="sibTrans" cxnId="{33B26AAA-1377-495B-8608-C83D19846BCC}">
      <dgm:prSet/>
      <dgm:spPr>
        <a:noFill/>
      </dgm:spPr>
      <dgm:t>
        <a:bodyPr/>
        <a:lstStyle/>
        <a:p>
          <a:endParaRPr lang="en-US"/>
        </a:p>
      </dgm:t>
    </dgm:pt>
    <dgm:pt modelId="{70469A69-3F74-4607-A623-0C4597E055EE}">
      <dgm:prSet phldrT="[Text]"/>
      <dgm:spPr/>
      <dgm:t>
        <a:bodyPr/>
        <a:lstStyle/>
        <a:p>
          <a:r>
            <a:rPr lang="en-US" b="1">
              <a:solidFill>
                <a:schemeClr val="bg1"/>
              </a:solidFill>
            </a:rPr>
            <a:t>SER: 3.02x</a:t>
          </a:r>
        </a:p>
      </dgm:t>
    </dgm:pt>
    <dgm:pt modelId="{BD64E380-817B-4AB0-85F3-248E0BD8AFCE}" type="parTrans" cxnId="{0012659D-A0DD-4FED-8762-857C47643008}">
      <dgm:prSet/>
      <dgm:spPr/>
      <dgm:t>
        <a:bodyPr/>
        <a:lstStyle/>
        <a:p>
          <a:endParaRPr lang="en-CA"/>
        </a:p>
      </dgm:t>
    </dgm:pt>
    <dgm:pt modelId="{BA8F42C7-180F-4E0F-BF55-7F223B29B704}" type="sibTrans" cxnId="{0012659D-A0DD-4FED-8762-857C47643008}">
      <dgm:prSet/>
      <dgm:spPr>
        <a:solidFill>
          <a:schemeClr val="accent2"/>
        </a:solidFill>
      </dgm:spPr>
      <dgm:t>
        <a:bodyPr/>
        <a:lstStyle/>
        <a:p>
          <a:endParaRPr lang="en-US"/>
        </a:p>
      </dgm:t>
    </dgm:pt>
    <dgm:pt modelId="{D9C86D84-5E19-44C5-BA80-1492CA3F4B4E}">
      <dgm:prSet custT="1"/>
      <dgm:spPr/>
      <dgm:t>
        <a:bodyPr/>
        <a:lstStyle/>
        <a:p>
          <a:r>
            <a:rPr lang="en-US" sz="900" b="1"/>
            <a:t>540.4m Shares Issued at 97.64$ per share</a:t>
          </a:r>
          <a:endParaRPr lang="en-US" sz="900" b="1">
            <a:solidFill>
              <a:schemeClr val="bg1"/>
            </a:solidFill>
          </a:endParaRPr>
        </a:p>
      </dgm:t>
    </dgm:pt>
    <dgm:pt modelId="{E4519F77-F54D-454A-B099-B3FB506CD120}" type="parTrans" cxnId="{6E21C0AB-AB57-7647-8535-46174367F448}">
      <dgm:prSet/>
      <dgm:spPr/>
      <dgm:t>
        <a:bodyPr/>
        <a:lstStyle/>
        <a:p>
          <a:endParaRPr lang="en-CA"/>
        </a:p>
      </dgm:t>
    </dgm:pt>
    <dgm:pt modelId="{5431FBA4-27B4-4710-8C3A-051A1300FC0A}" type="sibTrans" cxnId="{6E21C0AB-AB57-7647-8535-46174367F448}">
      <dgm:prSet/>
      <dgm:spPr/>
      <dgm:t>
        <a:bodyPr/>
        <a:lstStyle/>
        <a:p>
          <a:endParaRPr lang="en-CA"/>
        </a:p>
      </dgm:t>
    </dgm:pt>
    <dgm:pt modelId="{30B2329E-0896-44D6-829F-2380245534FE}" type="pres">
      <dgm:prSet presAssocID="{64FEB42F-B552-468F-AE1E-A187E0D7FDEB}" presName="Name0" presStyleCnt="0">
        <dgm:presLayoutVars>
          <dgm:dir/>
          <dgm:resizeHandles val="exact"/>
        </dgm:presLayoutVars>
      </dgm:prSet>
      <dgm:spPr/>
    </dgm:pt>
    <dgm:pt modelId="{2B7CFB2A-2EA0-40C4-807F-B3A0A2081925}" type="pres">
      <dgm:prSet presAssocID="{64FEB42F-B552-468F-AE1E-A187E0D7FDEB}" presName="vNodes" presStyleCnt="0"/>
      <dgm:spPr/>
    </dgm:pt>
    <dgm:pt modelId="{B1CB1291-19C3-421E-84F6-AEAE00F914A5}" type="pres">
      <dgm:prSet presAssocID="{7B72807C-9C72-41BB-A3AE-1FFDC0F9D678}" presName="node" presStyleLbl="node1" presStyleIdx="0" presStyleCnt="3" custScaleX="720774" custScaleY="737376" custLinFactX="-400000" custLinFactY="70395" custLinFactNeighborX="-496625" custLinFactNeighborY="100000">
        <dgm:presLayoutVars>
          <dgm:bulletEnabled val="1"/>
        </dgm:presLayoutVars>
      </dgm:prSet>
      <dgm:spPr/>
    </dgm:pt>
    <dgm:pt modelId="{B998A569-E16D-44A6-9A50-CAAA947167DD}" type="pres">
      <dgm:prSet presAssocID="{BE67720E-E49C-4152-8582-2B13DB240413}" presName="spacerT" presStyleCnt="0"/>
      <dgm:spPr/>
    </dgm:pt>
    <dgm:pt modelId="{52FD21F7-77AD-42F1-A279-50E22CA20406}" type="pres">
      <dgm:prSet presAssocID="{BE67720E-E49C-4152-8582-2B13DB240413}" presName="sibTrans" presStyleLbl="sibTrans2D1" presStyleIdx="0" presStyleCnt="2"/>
      <dgm:spPr/>
    </dgm:pt>
    <dgm:pt modelId="{CAEEFE0C-9027-408B-97E8-EB827C759BFE}" type="pres">
      <dgm:prSet presAssocID="{BE67720E-E49C-4152-8582-2B13DB240413}" presName="spacerB" presStyleCnt="0"/>
      <dgm:spPr/>
    </dgm:pt>
    <dgm:pt modelId="{C4F68369-5155-4A4D-9029-569E7A2B0B33}" type="pres">
      <dgm:prSet presAssocID="{70469A69-3F74-4607-A623-0C4597E055EE}" presName="node" presStyleLbl="node1" presStyleIdx="1" presStyleCnt="3" custScaleX="736256" custScaleY="781170" custLinFactY="-22825" custLinFactNeighborX="-85273" custLinFactNeighborY="-100000">
        <dgm:presLayoutVars>
          <dgm:bulletEnabled val="1"/>
        </dgm:presLayoutVars>
      </dgm:prSet>
      <dgm:spPr/>
    </dgm:pt>
    <dgm:pt modelId="{A9BE349F-D69E-4609-858E-2821715F0E61}" type="pres">
      <dgm:prSet presAssocID="{64FEB42F-B552-468F-AE1E-A187E0D7FDEB}" presName="sibTransLast" presStyleLbl="sibTrans2D1" presStyleIdx="1" presStyleCnt="2" custAng="80116" custScaleX="175818" custScaleY="935396" custLinFactY="-4969" custLinFactNeighborX="-14313" custLinFactNeighborY="-100000"/>
      <dgm:spPr/>
    </dgm:pt>
    <dgm:pt modelId="{3D071985-1490-4D2A-931D-AC9360BAFFD7}" type="pres">
      <dgm:prSet presAssocID="{64FEB42F-B552-468F-AE1E-A187E0D7FDEB}" presName="connectorText" presStyleLbl="sibTrans2D1" presStyleIdx="1" presStyleCnt="2"/>
      <dgm:spPr/>
    </dgm:pt>
    <dgm:pt modelId="{FCF4427F-DCC6-4556-807C-6530DD0C6CB2}" type="pres">
      <dgm:prSet presAssocID="{64FEB42F-B552-468F-AE1E-A187E0D7FDEB}" presName="lastNode" presStyleLbl="node1" presStyleIdx="2" presStyleCnt="3" custScaleX="440065" custScaleY="453113" custLinFactX="205312" custLinFactNeighborX="300000" custLinFactNeighborY="-8976">
        <dgm:presLayoutVars>
          <dgm:bulletEnabled val="1"/>
        </dgm:presLayoutVars>
      </dgm:prSet>
      <dgm:spPr/>
    </dgm:pt>
  </dgm:ptLst>
  <dgm:cxnLst>
    <dgm:cxn modelId="{50EF5D0F-567D-45CC-B7BB-9FF9CDDCA12C}" type="presOf" srcId="{64FEB42F-B552-468F-AE1E-A187E0D7FDEB}" destId="{30B2329E-0896-44D6-829F-2380245534FE}" srcOrd="0" destOrd="0" presId="urn:microsoft.com/office/officeart/2005/8/layout/equation2"/>
    <dgm:cxn modelId="{EE8C5316-FDED-3A41-B47D-8EBA3E3ECE50}" type="presOf" srcId="{D9C86D84-5E19-44C5-BA80-1492CA3F4B4E}" destId="{FCF4427F-DCC6-4556-807C-6530DD0C6CB2}" srcOrd="0" destOrd="0" presId="urn:microsoft.com/office/officeart/2005/8/layout/equation2"/>
    <dgm:cxn modelId="{6B57614C-DFD1-4B7F-8C4F-E856E1B04DBF}" type="presOf" srcId="{7B72807C-9C72-41BB-A3AE-1FFDC0F9D678}" destId="{B1CB1291-19C3-421E-84F6-AEAE00F914A5}" srcOrd="0" destOrd="0" presId="urn:microsoft.com/office/officeart/2005/8/layout/equation2"/>
    <dgm:cxn modelId="{0012659D-A0DD-4FED-8762-857C47643008}" srcId="{64FEB42F-B552-468F-AE1E-A187E0D7FDEB}" destId="{70469A69-3F74-4607-A623-0C4597E055EE}" srcOrd="1" destOrd="0" parTransId="{BD64E380-817B-4AB0-85F3-248E0BD8AFCE}" sibTransId="{BA8F42C7-180F-4E0F-BF55-7F223B29B704}"/>
    <dgm:cxn modelId="{33B26AAA-1377-495B-8608-C83D19846BCC}" srcId="{64FEB42F-B552-468F-AE1E-A187E0D7FDEB}" destId="{7B72807C-9C72-41BB-A3AE-1FFDC0F9D678}" srcOrd="0" destOrd="0" parTransId="{D6DDDBD1-BA6D-4306-9578-FE955574DFE4}" sibTransId="{BE67720E-E49C-4152-8582-2B13DB240413}"/>
    <dgm:cxn modelId="{6E21C0AB-AB57-7647-8535-46174367F448}" srcId="{64FEB42F-B552-468F-AE1E-A187E0D7FDEB}" destId="{D9C86D84-5E19-44C5-BA80-1492CA3F4B4E}" srcOrd="2" destOrd="0" parTransId="{E4519F77-F54D-454A-B099-B3FB506CD120}" sibTransId="{5431FBA4-27B4-4710-8C3A-051A1300FC0A}"/>
    <dgm:cxn modelId="{C33EBDE6-8B36-4022-8AFA-BB19C2289751}" type="presOf" srcId="{70469A69-3F74-4607-A623-0C4597E055EE}" destId="{C4F68369-5155-4A4D-9029-569E7A2B0B33}" srcOrd="0" destOrd="0" presId="urn:microsoft.com/office/officeart/2005/8/layout/equation2"/>
    <dgm:cxn modelId="{2CB26EEF-5370-45EC-BB5E-638F20C9BF1C}" type="presOf" srcId="{BA8F42C7-180F-4E0F-BF55-7F223B29B704}" destId="{3D071985-1490-4D2A-931D-AC9360BAFFD7}" srcOrd="1" destOrd="0" presId="urn:microsoft.com/office/officeart/2005/8/layout/equation2"/>
    <dgm:cxn modelId="{AEAE06FA-55A5-4BA7-B266-C7933C23A4C9}" type="presOf" srcId="{BE67720E-E49C-4152-8582-2B13DB240413}" destId="{52FD21F7-77AD-42F1-A279-50E22CA20406}" srcOrd="0" destOrd="0" presId="urn:microsoft.com/office/officeart/2005/8/layout/equation2"/>
    <dgm:cxn modelId="{85FB0DFC-D5BB-4CF6-9CEC-DB1247555CB9}" type="presOf" srcId="{BA8F42C7-180F-4E0F-BF55-7F223B29B704}" destId="{A9BE349F-D69E-4609-858E-2821715F0E61}" srcOrd="0" destOrd="0" presId="urn:microsoft.com/office/officeart/2005/8/layout/equation2"/>
    <dgm:cxn modelId="{D92F3CEB-A076-4E68-B220-88DAA52F6EDA}" type="presParOf" srcId="{30B2329E-0896-44D6-829F-2380245534FE}" destId="{2B7CFB2A-2EA0-40C4-807F-B3A0A2081925}" srcOrd="0" destOrd="0" presId="urn:microsoft.com/office/officeart/2005/8/layout/equation2"/>
    <dgm:cxn modelId="{EA252766-75C5-4C98-8A2C-B552E21609F8}" type="presParOf" srcId="{2B7CFB2A-2EA0-40C4-807F-B3A0A2081925}" destId="{B1CB1291-19C3-421E-84F6-AEAE00F914A5}" srcOrd="0" destOrd="0" presId="urn:microsoft.com/office/officeart/2005/8/layout/equation2"/>
    <dgm:cxn modelId="{C5B8165B-7E3F-46FD-A67D-691110BA42A0}" type="presParOf" srcId="{2B7CFB2A-2EA0-40C4-807F-B3A0A2081925}" destId="{B998A569-E16D-44A6-9A50-CAAA947167DD}" srcOrd="1" destOrd="0" presId="urn:microsoft.com/office/officeart/2005/8/layout/equation2"/>
    <dgm:cxn modelId="{24FD6B83-946A-4AE3-8337-C2E82D4D4987}" type="presParOf" srcId="{2B7CFB2A-2EA0-40C4-807F-B3A0A2081925}" destId="{52FD21F7-77AD-42F1-A279-50E22CA20406}" srcOrd="2" destOrd="0" presId="urn:microsoft.com/office/officeart/2005/8/layout/equation2"/>
    <dgm:cxn modelId="{5D21E574-2839-49F0-B2D9-02D9B4CC0D2D}" type="presParOf" srcId="{2B7CFB2A-2EA0-40C4-807F-B3A0A2081925}" destId="{CAEEFE0C-9027-408B-97E8-EB827C759BFE}" srcOrd="3" destOrd="0" presId="urn:microsoft.com/office/officeart/2005/8/layout/equation2"/>
    <dgm:cxn modelId="{5FE16180-14ED-43F9-88FD-ECA6C88923B3}" type="presParOf" srcId="{2B7CFB2A-2EA0-40C4-807F-B3A0A2081925}" destId="{C4F68369-5155-4A4D-9029-569E7A2B0B33}" srcOrd="4" destOrd="0" presId="urn:microsoft.com/office/officeart/2005/8/layout/equation2"/>
    <dgm:cxn modelId="{36A0B06E-4094-4671-91AA-C62FDFD67AC7}" type="presParOf" srcId="{30B2329E-0896-44D6-829F-2380245534FE}" destId="{A9BE349F-D69E-4609-858E-2821715F0E61}" srcOrd="1" destOrd="0" presId="urn:microsoft.com/office/officeart/2005/8/layout/equation2"/>
    <dgm:cxn modelId="{F4C989B5-4B7E-4A92-B5CB-2006FB24E4AE}" type="presParOf" srcId="{A9BE349F-D69E-4609-858E-2821715F0E61}" destId="{3D071985-1490-4D2A-931D-AC9360BAFFD7}" srcOrd="0" destOrd="0" presId="urn:microsoft.com/office/officeart/2005/8/layout/equation2"/>
    <dgm:cxn modelId="{B900116D-817D-4A95-9EA8-62728635573E}" type="presParOf" srcId="{30B2329E-0896-44D6-829F-2380245534FE}" destId="{FCF4427F-DCC6-4556-807C-6530DD0C6CB2}" srcOrd="2" destOrd="0" presId="urn:microsoft.com/office/officeart/2005/8/layout/equation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874517-D98A-A04A-9883-655B868799C6}">
      <dsp:nvSpPr>
        <dsp:cNvPr id="0" name=""/>
        <dsp:cNvSpPr/>
      </dsp:nvSpPr>
      <dsp:spPr>
        <a:xfrm>
          <a:off x="3640" y="218602"/>
          <a:ext cx="1088028" cy="652816"/>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b="1" kern="1200"/>
            <a:t>App Development</a:t>
          </a:r>
        </a:p>
      </dsp:txBody>
      <dsp:txXfrm>
        <a:off x="22760" y="237722"/>
        <a:ext cx="1049788" cy="614576"/>
      </dsp:txXfrm>
    </dsp:sp>
    <dsp:sp modelId="{3E1E47FC-15AA-6A46-8223-521686265A6E}">
      <dsp:nvSpPr>
        <dsp:cNvPr id="0" name=""/>
        <dsp:cNvSpPr/>
      </dsp:nvSpPr>
      <dsp:spPr>
        <a:xfrm>
          <a:off x="1187414" y="410095"/>
          <a:ext cx="230661" cy="269830"/>
        </a:xfrm>
        <a:prstGeom prst="rightArrow">
          <a:avLst>
            <a:gd name="adj1" fmla="val 60000"/>
            <a:gd name="adj2" fmla="val 50000"/>
          </a:avLst>
        </a:prstGeom>
        <a:solidFill>
          <a:srgbClr val="A1A6A9"/>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b="1" kern="1200">
            <a:solidFill>
              <a:schemeClr val="tx1"/>
            </a:solidFill>
          </a:endParaRPr>
        </a:p>
      </dsp:txBody>
      <dsp:txXfrm>
        <a:off x="1187414" y="464061"/>
        <a:ext cx="161463" cy="161898"/>
      </dsp:txXfrm>
    </dsp:sp>
    <dsp:sp modelId="{BCDE70E0-8508-B548-A47F-2890ECB3486A}">
      <dsp:nvSpPr>
        <dsp:cNvPr id="0" name=""/>
        <dsp:cNvSpPr/>
      </dsp:nvSpPr>
      <dsp:spPr>
        <a:xfrm>
          <a:off x="1526879" y="218602"/>
          <a:ext cx="1088028" cy="652816"/>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b="1" kern="1200"/>
            <a:t>User Acquisition &amp; Marketing</a:t>
          </a:r>
        </a:p>
      </dsp:txBody>
      <dsp:txXfrm>
        <a:off x="1545999" y="237722"/>
        <a:ext cx="1049788" cy="614576"/>
      </dsp:txXfrm>
    </dsp:sp>
    <dsp:sp modelId="{4BFBDDEB-D054-604B-AC90-47E1E40798F9}">
      <dsp:nvSpPr>
        <dsp:cNvPr id="0" name=""/>
        <dsp:cNvSpPr/>
      </dsp:nvSpPr>
      <dsp:spPr>
        <a:xfrm>
          <a:off x="2710653" y="410095"/>
          <a:ext cx="230661" cy="269830"/>
        </a:xfrm>
        <a:prstGeom prst="rightArrow">
          <a:avLst>
            <a:gd name="adj1" fmla="val 60000"/>
            <a:gd name="adj2" fmla="val 50000"/>
          </a:avLst>
        </a:prstGeom>
        <a:solidFill>
          <a:srgbClr val="A1A6A9"/>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b="1" kern="1200">
            <a:solidFill>
              <a:schemeClr val="tx1"/>
            </a:solidFill>
          </a:endParaRPr>
        </a:p>
      </dsp:txBody>
      <dsp:txXfrm>
        <a:off x="2710653" y="464061"/>
        <a:ext cx="161463" cy="161898"/>
      </dsp:txXfrm>
    </dsp:sp>
    <dsp:sp modelId="{505F1E98-DA3A-D944-B1FC-3F67850C0982}">
      <dsp:nvSpPr>
        <dsp:cNvPr id="0" name=""/>
        <dsp:cNvSpPr/>
      </dsp:nvSpPr>
      <dsp:spPr>
        <a:xfrm>
          <a:off x="3050118" y="218602"/>
          <a:ext cx="1088028" cy="652816"/>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b="1" kern="1200"/>
            <a:t>Analytics &amp; Attribution</a:t>
          </a:r>
        </a:p>
      </dsp:txBody>
      <dsp:txXfrm>
        <a:off x="3069238" y="237722"/>
        <a:ext cx="1049788" cy="614576"/>
      </dsp:txXfrm>
    </dsp:sp>
    <dsp:sp modelId="{16D0C987-8205-364D-A30A-3C2E2C4ADC74}">
      <dsp:nvSpPr>
        <dsp:cNvPr id="0" name=""/>
        <dsp:cNvSpPr/>
      </dsp:nvSpPr>
      <dsp:spPr>
        <a:xfrm rot="5400000">
          <a:off x="3478801" y="947581"/>
          <a:ext cx="230661" cy="269830"/>
        </a:xfrm>
        <a:prstGeom prst="rightArrow">
          <a:avLst>
            <a:gd name="adj1" fmla="val 60000"/>
            <a:gd name="adj2" fmla="val 50000"/>
          </a:avLst>
        </a:prstGeom>
        <a:solidFill>
          <a:srgbClr val="A1A6A9"/>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b="1" kern="1200">
            <a:solidFill>
              <a:schemeClr val="tx1"/>
            </a:solidFill>
          </a:endParaRPr>
        </a:p>
      </dsp:txBody>
      <dsp:txXfrm rot="-5400000">
        <a:off x="3513183" y="967165"/>
        <a:ext cx="161898" cy="161463"/>
      </dsp:txXfrm>
    </dsp:sp>
    <dsp:sp modelId="{DEBB652D-2642-3446-8CB1-04633142CF50}">
      <dsp:nvSpPr>
        <dsp:cNvPr id="0" name=""/>
        <dsp:cNvSpPr/>
      </dsp:nvSpPr>
      <dsp:spPr>
        <a:xfrm>
          <a:off x="3050118" y="1306630"/>
          <a:ext cx="1088028" cy="652816"/>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b="1" kern="1200"/>
            <a:t>Monetization</a:t>
          </a:r>
        </a:p>
      </dsp:txBody>
      <dsp:txXfrm>
        <a:off x="3069238" y="1325750"/>
        <a:ext cx="1049788" cy="614576"/>
      </dsp:txXfrm>
    </dsp:sp>
    <dsp:sp modelId="{9B05FE8C-B434-A843-A3EF-E6582BB5512E}">
      <dsp:nvSpPr>
        <dsp:cNvPr id="0" name=""/>
        <dsp:cNvSpPr/>
      </dsp:nvSpPr>
      <dsp:spPr>
        <a:xfrm rot="10800000">
          <a:off x="2723710" y="1498123"/>
          <a:ext cx="230661" cy="269830"/>
        </a:xfrm>
        <a:prstGeom prst="rightArrow">
          <a:avLst>
            <a:gd name="adj1" fmla="val 60000"/>
            <a:gd name="adj2" fmla="val 50000"/>
          </a:avLst>
        </a:prstGeom>
        <a:solidFill>
          <a:srgbClr val="A1A6A9"/>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b="1" kern="1200">
            <a:solidFill>
              <a:schemeClr val="tx1"/>
            </a:solidFill>
          </a:endParaRPr>
        </a:p>
      </dsp:txBody>
      <dsp:txXfrm rot="10800000">
        <a:off x="2792908" y="1552089"/>
        <a:ext cx="161463" cy="161898"/>
      </dsp:txXfrm>
    </dsp:sp>
    <dsp:sp modelId="{9C34B1F2-6115-1B49-9BEA-0C0650083B4B}">
      <dsp:nvSpPr>
        <dsp:cNvPr id="0" name=""/>
        <dsp:cNvSpPr/>
      </dsp:nvSpPr>
      <dsp:spPr>
        <a:xfrm>
          <a:off x="1526879" y="1306630"/>
          <a:ext cx="1088028" cy="652816"/>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b="1" kern="1200"/>
            <a:t>Scalability &amp; Infrastructure</a:t>
          </a:r>
        </a:p>
      </dsp:txBody>
      <dsp:txXfrm>
        <a:off x="1545999" y="1325750"/>
        <a:ext cx="1049788" cy="614576"/>
      </dsp:txXfrm>
    </dsp:sp>
    <dsp:sp modelId="{37AC4F9F-F880-D843-8824-ABF18D8D491A}">
      <dsp:nvSpPr>
        <dsp:cNvPr id="0" name=""/>
        <dsp:cNvSpPr/>
      </dsp:nvSpPr>
      <dsp:spPr>
        <a:xfrm rot="10800000">
          <a:off x="1200471" y="1498123"/>
          <a:ext cx="230661" cy="269830"/>
        </a:xfrm>
        <a:prstGeom prst="rightArrow">
          <a:avLst>
            <a:gd name="adj1" fmla="val 60000"/>
            <a:gd name="adj2" fmla="val 50000"/>
          </a:avLst>
        </a:prstGeom>
        <a:solidFill>
          <a:srgbClr val="A1A6A9"/>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b="1" kern="1200">
            <a:solidFill>
              <a:schemeClr val="tx1"/>
            </a:solidFill>
          </a:endParaRPr>
        </a:p>
      </dsp:txBody>
      <dsp:txXfrm rot="10800000">
        <a:off x="1269669" y="1552089"/>
        <a:ext cx="161463" cy="161898"/>
      </dsp:txXfrm>
    </dsp:sp>
    <dsp:sp modelId="{01507AF5-2DCA-0B49-9ECD-7E11BABDD4A1}">
      <dsp:nvSpPr>
        <dsp:cNvPr id="0" name=""/>
        <dsp:cNvSpPr/>
      </dsp:nvSpPr>
      <dsp:spPr>
        <a:xfrm>
          <a:off x="3640" y="1306630"/>
          <a:ext cx="1088028" cy="652816"/>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b="1" kern="1200"/>
            <a:t>Data Insights &amp; Optimization (AI)</a:t>
          </a:r>
        </a:p>
      </dsp:txBody>
      <dsp:txXfrm>
        <a:off x="22760" y="1325750"/>
        <a:ext cx="1049788" cy="61457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CB1291-19C3-421E-84F6-AEAE00F914A5}">
      <dsp:nvSpPr>
        <dsp:cNvPr id="0" name=""/>
        <dsp:cNvSpPr/>
      </dsp:nvSpPr>
      <dsp:spPr>
        <a:xfrm>
          <a:off x="344112" y="252673"/>
          <a:ext cx="987134" cy="9871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b="1" kern="1200">
              <a:solidFill>
                <a:schemeClr val="bg1"/>
              </a:solidFill>
            </a:rPr>
            <a:t>APP 20 Day VWAP $294.86</a:t>
          </a:r>
        </a:p>
      </dsp:txBody>
      <dsp:txXfrm>
        <a:off x="488674" y="397235"/>
        <a:ext cx="698010" cy="698010"/>
      </dsp:txXfrm>
    </dsp:sp>
    <dsp:sp modelId="{52FD21F7-77AD-42F1-A279-50E22CA20406}">
      <dsp:nvSpPr>
        <dsp:cNvPr id="0" name=""/>
        <dsp:cNvSpPr/>
      </dsp:nvSpPr>
      <dsp:spPr>
        <a:xfrm>
          <a:off x="945814" y="1081436"/>
          <a:ext cx="673233" cy="673233"/>
        </a:xfrm>
        <a:prstGeom prst="mathPlus">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1035051" y="1338880"/>
        <a:ext cx="494759" cy="158345"/>
      </dsp:txXfrm>
    </dsp:sp>
    <dsp:sp modelId="{C4F68369-5155-4A4D-9029-569E7A2B0B33}">
      <dsp:nvSpPr>
        <dsp:cNvPr id="0" name=""/>
        <dsp:cNvSpPr/>
      </dsp:nvSpPr>
      <dsp:spPr>
        <a:xfrm>
          <a:off x="1097263" y="1502555"/>
          <a:ext cx="964105" cy="96410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b="1" kern="1200">
              <a:solidFill>
                <a:schemeClr val="bg1"/>
              </a:solidFill>
            </a:rPr>
            <a:t>SHOP share price $97.64</a:t>
          </a:r>
        </a:p>
      </dsp:txBody>
      <dsp:txXfrm>
        <a:off x="1238453" y="1643745"/>
        <a:ext cx="681725" cy="681725"/>
      </dsp:txXfrm>
    </dsp:sp>
    <dsp:sp modelId="{A9BE349F-D69E-4609-858E-2821715F0E61}">
      <dsp:nvSpPr>
        <dsp:cNvPr id="0" name=""/>
        <dsp:cNvSpPr/>
      </dsp:nvSpPr>
      <dsp:spPr>
        <a:xfrm rot="20293">
          <a:off x="2050649" y="1075015"/>
          <a:ext cx="831962" cy="431798"/>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US" sz="1900" kern="1200"/>
        </a:p>
      </dsp:txBody>
      <dsp:txXfrm>
        <a:off x="2050650" y="1160993"/>
        <a:ext cx="702423" cy="259078"/>
      </dsp:txXfrm>
    </dsp:sp>
    <dsp:sp modelId="{FCF4427F-DCC6-4556-807C-6530DD0C6CB2}">
      <dsp:nvSpPr>
        <dsp:cNvPr id="0" name=""/>
        <dsp:cNvSpPr/>
      </dsp:nvSpPr>
      <dsp:spPr>
        <a:xfrm>
          <a:off x="2935313" y="793048"/>
          <a:ext cx="880171" cy="93962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b="1" kern="1200">
              <a:solidFill>
                <a:schemeClr val="bg1"/>
              </a:solidFill>
            </a:rPr>
            <a:t>SER: 3.02x</a:t>
          </a:r>
        </a:p>
      </dsp:txBody>
      <dsp:txXfrm>
        <a:off x="3064211" y="930653"/>
        <a:ext cx="622375" cy="66441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CB1291-19C3-421E-84F6-AEAE00F914A5}">
      <dsp:nvSpPr>
        <dsp:cNvPr id="0" name=""/>
        <dsp:cNvSpPr/>
      </dsp:nvSpPr>
      <dsp:spPr>
        <a:xfrm>
          <a:off x="0" y="101939"/>
          <a:ext cx="931306" cy="95275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a:solidFill>
                <a:schemeClr val="bg1"/>
              </a:solidFill>
            </a:rPr>
            <a:t>51% of APP Shares Outstanding: 179m</a:t>
          </a:r>
        </a:p>
      </dsp:txBody>
      <dsp:txXfrm>
        <a:off x="136387" y="241467"/>
        <a:ext cx="658532" cy="673702"/>
      </dsp:txXfrm>
    </dsp:sp>
    <dsp:sp modelId="{52FD21F7-77AD-42F1-A279-50E22CA20406}">
      <dsp:nvSpPr>
        <dsp:cNvPr id="0" name=""/>
        <dsp:cNvSpPr/>
      </dsp:nvSpPr>
      <dsp:spPr>
        <a:xfrm>
          <a:off x="1424530" y="963740"/>
          <a:ext cx="74941" cy="74941"/>
        </a:xfrm>
        <a:prstGeom prst="mathPlus">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434463" y="992397"/>
        <a:ext cx="55075" cy="17627"/>
      </dsp:txXfrm>
    </dsp:sp>
    <dsp:sp modelId="{C4F68369-5155-4A4D-9029-569E7A2B0B33}">
      <dsp:nvSpPr>
        <dsp:cNvPr id="0" name=""/>
        <dsp:cNvSpPr/>
      </dsp:nvSpPr>
      <dsp:spPr>
        <a:xfrm>
          <a:off x="876165" y="1009189"/>
          <a:ext cx="951310" cy="100934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a:solidFill>
                <a:schemeClr val="bg1"/>
              </a:solidFill>
            </a:rPr>
            <a:t>SER: 3.02x</a:t>
          </a:r>
        </a:p>
      </dsp:txBody>
      <dsp:txXfrm>
        <a:off x="1015481" y="1157004"/>
        <a:ext cx="672678" cy="713713"/>
      </dsp:txXfrm>
    </dsp:sp>
    <dsp:sp modelId="{A9BE349F-D69E-4609-858E-2821715F0E61}">
      <dsp:nvSpPr>
        <dsp:cNvPr id="0" name=""/>
        <dsp:cNvSpPr/>
      </dsp:nvSpPr>
      <dsp:spPr>
        <a:xfrm rot="662">
          <a:off x="1804574" y="753729"/>
          <a:ext cx="792920" cy="449605"/>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1804574" y="843637"/>
        <a:ext cx="658039" cy="269763"/>
      </dsp:txXfrm>
    </dsp:sp>
    <dsp:sp modelId="{FCF4427F-DCC6-4556-807C-6530DD0C6CB2}">
      <dsp:nvSpPr>
        <dsp:cNvPr id="0" name=""/>
        <dsp:cNvSpPr/>
      </dsp:nvSpPr>
      <dsp:spPr>
        <a:xfrm>
          <a:off x="2678029" y="420844"/>
          <a:ext cx="1137209" cy="117092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b="1" kern="1200"/>
            <a:t>540.4m Shares Issued at 97.64$ per share</a:t>
          </a:r>
          <a:endParaRPr lang="en-US" sz="900" b="1" kern="1200">
            <a:solidFill>
              <a:schemeClr val="bg1"/>
            </a:solidFill>
          </a:endParaRPr>
        </a:p>
      </dsp:txBody>
      <dsp:txXfrm>
        <a:off x="2844569" y="592322"/>
        <a:ext cx="804129" cy="827971"/>
      </dsp:txXfrm>
    </dsp:sp>
  </dsp:spTree>
</dsp:drawing>
</file>

<file path=ppt/diagrams/layout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3.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80978</cdr:x>
      <cdr:y>0.59693</cdr:y>
    </cdr:from>
    <cdr:to>
      <cdr:x>0.95951</cdr:x>
      <cdr:y>0.7535</cdr:y>
    </cdr:to>
    <cdr:sp macro="" textlink="">
      <cdr:nvSpPr>
        <cdr:cNvPr id="2" name="TextBox 1">
          <a:extLst xmlns:a="http://schemas.openxmlformats.org/drawingml/2006/main">
            <a:ext uri="{FF2B5EF4-FFF2-40B4-BE49-F238E27FC236}">
              <a16:creationId xmlns:a16="http://schemas.microsoft.com/office/drawing/2014/main" id="{08D983F5-E931-FD3E-D14C-F0C922B58939}"/>
            </a:ext>
          </a:extLst>
        </cdr:cNvPr>
        <cdr:cNvSpPr txBox="1"/>
      </cdr:nvSpPr>
      <cdr:spPr>
        <a:xfrm xmlns:a="http://schemas.openxmlformats.org/drawingml/2006/main">
          <a:off x="6998390" y="3100649"/>
          <a:ext cx="1294019" cy="8132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kern="1200" dirty="0"/>
            <a:t>Short Report Release</a:t>
          </a:r>
        </a:p>
        <a:p xmlns:a="http://schemas.openxmlformats.org/drawingml/2006/main">
          <a:pPr algn="ctr"/>
          <a:r>
            <a:rPr lang="en-US" sz="1100" b="1" i="1" kern="1200" dirty="0"/>
            <a:t>2025/03/28</a:t>
          </a:r>
          <a:r>
            <a:rPr lang="en-US" sz="1100" kern="1200" dirty="0"/>
            <a:t> </a:t>
          </a:r>
        </a:p>
      </cdr:txBody>
    </cdr:sp>
  </cdr:relSizeAnchor>
  <cdr:relSizeAnchor xmlns:cdr="http://schemas.openxmlformats.org/drawingml/2006/chartDrawing">
    <cdr:from>
      <cdr:x>0.45916</cdr:x>
      <cdr:y>0.32699</cdr:y>
    </cdr:from>
    <cdr:to>
      <cdr:x>0.60889</cdr:x>
      <cdr:y>0.48356</cdr:y>
    </cdr:to>
    <cdr:sp macro="" textlink="">
      <cdr:nvSpPr>
        <cdr:cNvPr id="3" name="TextBox 1">
          <a:extLst xmlns:a="http://schemas.openxmlformats.org/drawingml/2006/main">
            <a:ext uri="{FF2B5EF4-FFF2-40B4-BE49-F238E27FC236}">
              <a16:creationId xmlns:a16="http://schemas.microsoft.com/office/drawing/2014/main" id="{5453689E-10F8-8118-C691-5B4915D1AB69}"/>
            </a:ext>
          </a:extLst>
        </cdr:cNvPr>
        <cdr:cNvSpPr txBox="1"/>
      </cdr:nvSpPr>
      <cdr:spPr>
        <a:xfrm xmlns:a="http://schemas.openxmlformats.org/drawingml/2006/main">
          <a:off x="3968186" y="1698482"/>
          <a:ext cx="1294018" cy="81327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100" kern="1200" dirty="0"/>
            <a:t>Q3 Earnings Report </a:t>
          </a:r>
        </a:p>
        <a:p xmlns:a="http://schemas.openxmlformats.org/drawingml/2006/main">
          <a:pPr algn="ctr"/>
          <a:r>
            <a:rPr lang="en-US" sz="1100" b="1" i="1" kern="1200" dirty="0"/>
            <a:t> 2024/11/26 </a:t>
          </a:r>
        </a:p>
      </cdr:txBody>
    </cdr:sp>
  </cdr:relSizeAnchor>
  <cdr:relSizeAnchor xmlns:cdr="http://schemas.openxmlformats.org/drawingml/2006/chartDrawing">
    <cdr:from>
      <cdr:x>0.82721</cdr:x>
      <cdr:y>0.01614</cdr:y>
    </cdr:from>
    <cdr:to>
      <cdr:x>0.97694</cdr:x>
      <cdr:y>0.17271</cdr:y>
    </cdr:to>
    <cdr:sp macro="" textlink="">
      <cdr:nvSpPr>
        <cdr:cNvPr id="5" name="TextBox 1">
          <a:extLst xmlns:a="http://schemas.openxmlformats.org/drawingml/2006/main">
            <a:ext uri="{FF2B5EF4-FFF2-40B4-BE49-F238E27FC236}">
              <a16:creationId xmlns:a16="http://schemas.microsoft.com/office/drawing/2014/main" id="{5453689E-10F8-8118-C691-5B4915D1AB69}"/>
            </a:ext>
          </a:extLst>
        </cdr:cNvPr>
        <cdr:cNvSpPr txBox="1"/>
      </cdr:nvSpPr>
      <cdr:spPr>
        <a:xfrm xmlns:a="http://schemas.openxmlformats.org/drawingml/2006/main">
          <a:off x="7149072" y="83848"/>
          <a:ext cx="1294019" cy="81327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100" kern="1200" dirty="0"/>
            <a:t>Q4 Earnings Report </a:t>
          </a:r>
        </a:p>
        <a:p xmlns:a="http://schemas.openxmlformats.org/drawingml/2006/main">
          <a:pPr algn="ctr"/>
          <a:r>
            <a:rPr lang="en-US" sz="1100" kern="1200" dirty="0"/>
            <a:t> </a:t>
          </a:r>
          <a:r>
            <a:rPr lang="en-US" sz="1100" b="1" i="1" kern="1200" dirty="0"/>
            <a:t>2025/02/12</a:t>
          </a:r>
          <a:r>
            <a:rPr lang="en-US" sz="1100" kern="1200" dirty="0"/>
            <a:t> </a:t>
          </a:r>
        </a:p>
      </cdr:txBody>
    </cdr:sp>
  </cdr:relSizeAnchor>
  <cdr:relSizeAnchor xmlns:cdr="http://schemas.openxmlformats.org/drawingml/2006/chartDrawing">
    <cdr:from>
      <cdr:x>0.66583</cdr:x>
      <cdr:y>0.14633</cdr:y>
    </cdr:from>
    <cdr:to>
      <cdr:x>0.81556</cdr:x>
      <cdr:y>0.3029</cdr:y>
    </cdr:to>
    <cdr:sp macro="" textlink="">
      <cdr:nvSpPr>
        <cdr:cNvPr id="6" name="TextBox 1">
          <a:extLst xmlns:a="http://schemas.openxmlformats.org/drawingml/2006/main">
            <a:ext uri="{FF2B5EF4-FFF2-40B4-BE49-F238E27FC236}">
              <a16:creationId xmlns:a16="http://schemas.microsoft.com/office/drawing/2014/main" id="{5453689E-10F8-8118-C691-5B4915D1AB69}"/>
            </a:ext>
          </a:extLst>
        </cdr:cNvPr>
        <cdr:cNvSpPr txBox="1"/>
      </cdr:nvSpPr>
      <cdr:spPr>
        <a:xfrm xmlns:a="http://schemas.openxmlformats.org/drawingml/2006/main">
          <a:off x="5754333" y="760096"/>
          <a:ext cx="1294019" cy="81327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kern="1200" dirty="0"/>
            <a:t>Not included in the S&amp;P 500</a:t>
          </a:r>
          <a:r>
            <a:rPr lang="en-US" sz="1100" kern="1200" dirty="0"/>
            <a:t> </a:t>
          </a:r>
        </a:p>
        <a:p xmlns:a="http://schemas.openxmlformats.org/drawingml/2006/main">
          <a:pPr algn="ctr"/>
          <a:r>
            <a:rPr lang="en-US" sz="1100" kern="1200" dirty="0"/>
            <a:t> </a:t>
          </a:r>
          <a:r>
            <a:rPr lang="en-US" sz="1100" b="1" i="1" kern="1200" dirty="0"/>
            <a:t>2024/12/09</a:t>
          </a:r>
          <a:r>
            <a:rPr lang="en-US" sz="1100" kern="1200" dirty="0"/>
            <a:t> </a:t>
          </a:r>
        </a:p>
      </cdr:txBody>
    </cdr:sp>
  </cdr:relSizeAnchor>
</c:userShapes>
</file>

<file path=ppt/drawings/drawing2.xml><?xml version="1.0" encoding="utf-8"?>
<c:userShapes xmlns:c="http://schemas.openxmlformats.org/drawingml/2006/chart">
  <cdr:relSizeAnchor xmlns:cdr="http://schemas.openxmlformats.org/drawingml/2006/chartDrawing">
    <cdr:from>
      <cdr:x>0.23144</cdr:x>
      <cdr:y>0</cdr:y>
    </cdr:from>
    <cdr:to>
      <cdr:x>0.76856</cdr:x>
      <cdr:y>0.06164</cdr:y>
    </cdr:to>
    <cdr:sp macro="" textlink="">
      <cdr:nvSpPr>
        <cdr:cNvPr id="2" name="Rectangle 1">
          <a:extLst xmlns:a="http://schemas.openxmlformats.org/drawingml/2006/main">
            <a:ext uri="{FF2B5EF4-FFF2-40B4-BE49-F238E27FC236}">
              <a16:creationId xmlns:a16="http://schemas.microsoft.com/office/drawing/2014/main" id="{FB60C434-25A3-5B00-7A80-86AF2629B2B1}"/>
            </a:ext>
          </a:extLst>
        </cdr:cNvPr>
        <cdr:cNvSpPr/>
      </cdr:nvSpPr>
      <cdr:spPr>
        <a:xfrm xmlns:a="http://schemas.openxmlformats.org/drawingml/2006/main">
          <a:off x="2000185" y="0"/>
          <a:ext cx="4641979" cy="289761"/>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r>
            <a:rPr lang="en-CA" sz="1200" b="1" dirty="0">
              <a:solidFill>
                <a:schemeClr val="tx1"/>
              </a:solidFill>
            </a:rPr>
            <a:t>Consolidated Revenue</a:t>
          </a:r>
        </a:p>
      </cdr:txBody>
    </cdr:sp>
  </cdr:relSizeAnchor>
  <cdr:relSizeAnchor xmlns:cdr="http://schemas.openxmlformats.org/drawingml/2006/chartDrawing">
    <cdr:from>
      <cdr:x>0.41384</cdr:x>
      <cdr:y>0.04232</cdr:y>
    </cdr:from>
    <cdr:to>
      <cdr:x>0.58616</cdr:x>
      <cdr:y>0.10397</cdr:y>
    </cdr:to>
    <cdr:sp macro="" textlink="">
      <cdr:nvSpPr>
        <cdr:cNvPr id="3" name="Rectangle 2">
          <a:extLst xmlns:a="http://schemas.openxmlformats.org/drawingml/2006/main">
            <a:ext uri="{FF2B5EF4-FFF2-40B4-BE49-F238E27FC236}">
              <a16:creationId xmlns:a16="http://schemas.microsoft.com/office/drawing/2014/main" id="{9B7C4CB8-8B21-5042-4C87-33B1487B7A36}"/>
            </a:ext>
          </a:extLst>
        </cdr:cNvPr>
        <cdr:cNvSpPr/>
      </cdr:nvSpPr>
      <cdr:spPr>
        <a:xfrm xmlns:a="http://schemas.openxmlformats.org/drawingml/2006/main">
          <a:off x="3576526" y="220482"/>
          <a:ext cx="1489239" cy="321207"/>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r>
            <a:rPr lang="en-CA" sz="1200" i="1">
              <a:solidFill>
                <a:schemeClr val="tx1"/>
              </a:solidFill>
            </a:rPr>
            <a:t>(USD mm)</a:t>
          </a:r>
          <a:endParaRPr lang="en-CA" sz="1200" i="1" dirty="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259B053-7477-4699-9DA7-B81FA927272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40C529F-0D61-4970-AB54-64C01783EA4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A2D7AA7-9A86-4D9A-9C38-8D845BC7B88F}" type="datetimeFigureOut">
              <a:rPr lang="en-US" smtClean="0"/>
              <a:t>4/2/2025</a:t>
            </a:fld>
            <a:endParaRPr lang="en-US"/>
          </a:p>
        </p:txBody>
      </p:sp>
      <p:sp>
        <p:nvSpPr>
          <p:cNvPr id="4" name="Footer Placeholder 3">
            <a:extLst>
              <a:ext uri="{FF2B5EF4-FFF2-40B4-BE49-F238E27FC236}">
                <a16:creationId xmlns:a16="http://schemas.microsoft.com/office/drawing/2014/main" id="{91E552FA-A4B4-485E-A87C-2CF3A4646CD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AB725F1-FA01-4E79-9E56-DBA9386D56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511262A-EC40-4F61-9518-B586EF783509}" type="slidenum">
              <a:rPr lang="en-US" smtClean="0"/>
              <a:t>‹#›</a:t>
            </a:fld>
            <a:endParaRPr lang="en-US"/>
          </a:p>
        </p:txBody>
      </p:sp>
    </p:spTree>
    <p:extLst>
      <p:ext uri="{BB962C8B-B14F-4D97-AF65-F5344CB8AC3E}">
        <p14:creationId xmlns:p14="http://schemas.microsoft.com/office/powerpoint/2010/main" val="2222970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353A59-B227-41D8-8D94-CD917939165D}" type="datetimeFigureOut">
              <a:rPr lang="en-US" smtClean="0"/>
              <a:t>4/2/202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C35494-8CBF-4C09-A4C0-5BE8C0257DEC}" type="slidenum">
              <a:rPr lang="en-US" smtClean="0"/>
              <a:t>‹#›</a:t>
            </a:fld>
            <a:endParaRPr lang="en-US"/>
          </a:p>
        </p:txBody>
      </p:sp>
    </p:spTree>
    <p:extLst>
      <p:ext uri="{BB962C8B-B14F-4D97-AF65-F5344CB8AC3E}">
        <p14:creationId xmlns:p14="http://schemas.microsoft.com/office/powerpoint/2010/main" val="22696821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2</a:t>
            </a:fld>
            <a:endParaRPr lang="en-US"/>
          </a:p>
        </p:txBody>
      </p:sp>
    </p:spTree>
    <p:extLst>
      <p:ext uri="{BB962C8B-B14F-4D97-AF65-F5344CB8AC3E}">
        <p14:creationId xmlns:p14="http://schemas.microsoft.com/office/powerpoint/2010/main" val="15251718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C35494-8CBF-4C09-A4C0-5BE8C0257DEC}" type="slidenum">
              <a:rPr lang="en-US" smtClean="0"/>
              <a:t>32</a:t>
            </a:fld>
            <a:endParaRPr lang="en-US"/>
          </a:p>
        </p:txBody>
      </p:sp>
    </p:spTree>
    <p:extLst>
      <p:ext uri="{BB962C8B-B14F-4D97-AF65-F5344CB8AC3E}">
        <p14:creationId xmlns:p14="http://schemas.microsoft.com/office/powerpoint/2010/main" val="22847049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C35494-8CBF-4C09-A4C0-5BE8C0257DEC}" type="slidenum">
              <a:rPr lang="en-US" smtClean="0"/>
              <a:t>33</a:t>
            </a:fld>
            <a:endParaRPr lang="en-US"/>
          </a:p>
        </p:txBody>
      </p:sp>
    </p:spTree>
    <p:extLst>
      <p:ext uri="{BB962C8B-B14F-4D97-AF65-F5344CB8AC3E}">
        <p14:creationId xmlns:p14="http://schemas.microsoft.com/office/powerpoint/2010/main" val="35104107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BB234E-4A3D-C0BA-2E3B-4C1568DE1F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21C815-78E3-7E08-543D-74F0B59CE9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DD7ED0-860B-CF8C-E6B3-E7B2653086F5}"/>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EE66215B-5E8A-0D14-4DD7-4BA86AE09098}"/>
              </a:ext>
            </a:extLst>
          </p:cNvPr>
          <p:cNvSpPr>
            <a:spLocks noGrp="1"/>
          </p:cNvSpPr>
          <p:nvPr>
            <p:ph type="sldNum" sz="quarter" idx="5"/>
          </p:nvPr>
        </p:nvSpPr>
        <p:spPr/>
        <p:txBody>
          <a:bodyPr/>
          <a:lstStyle/>
          <a:p>
            <a:fld id="{E2B80DB4-BAA5-7B43-9767-360B803435F5}" type="slidenum">
              <a:rPr lang="en-CA" smtClean="0"/>
              <a:t>34</a:t>
            </a:fld>
            <a:endParaRPr lang="en-CA"/>
          </a:p>
        </p:txBody>
      </p:sp>
    </p:spTree>
    <p:extLst>
      <p:ext uri="{BB962C8B-B14F-4D97-AF65-F5344CB8AC3E}">
        <p14:creationId xmlns:p14="http://schemas.microsoft.com/office/powerpoint/2010/main" val="152987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C35494-8CBF-4C09-A4C0-5BE8C0257DEC}" type="slidenum">
              <a:rPr lang="en-US" smtClean="0"/>
              <a:t>37</a:t>
            </a:fld>
            <a:endParaRPr lang="en-US"/>
          </a:p>
        </p:txBody>
      </p:sp>
    </p:spTree>
    <p:extLst>
      <p:ext uri="{BB962C8B-B14F-4D97-AF65-F5344CB8AC3E}">
        <p14:creationId xmlns:p14="http://schemas.microsoft.com/office/powerpoint/2010/main" val="24633572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C35494-8CBF-4C09-A4C0-5BE8C0257DEC}" type="slidenum">
              <a:rPr lang="en-US" smtClean="0"/>
              <a:t>40</a:t>
            </a:fld>
            <a:endParaRPr lang="en-US"/>
          </a:p>
        </p:txBody>
      </p:sp>
    </p:spTree>
    <p:extLst>
      <p:ext uri="{BB962C8B-B14F-4D97-AF65-F5344CB8AC3E}">
        <p14:creationId xmlns:p14="http://schemas.microsoft.com/office/powerpoint/2010/main" val="24536782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C35494-8CBF-4C09-A4C0-5BE8C0257DEC}" type="slidenum">
              <a:rPr lang="en-US" smtClean="0"/>
              <a:t>43</a:t>
            </a:fld>
            <a:endParaRPr lang="en-US"/>
          </a:p>
        </p:txBody>
      </p:sp>
    </p:spTree>
    <p:extLst>
      <p:ext uri="{BB962C8B-B14F-4D97-AF65-F5344CB8AC3E}">
        <p14:creationId xmlns:p14="http://schemas.microsoft.com/office/powerpoint/2010/main" val="15356050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C35494-8CBF-4C09-A4C0-5BE8C0257DEC}" type="slidenum">
              <a:rPr lang="en-US" smtClean="0"/>
              <a:t>53</a:t>
            </a:fld>
            <a:endParaRPr lang="en-US"/>
          </a:p>
        </p:txBody>
      </p:sp>
    </p:spTree>
    <p:extLst>
      <p:ext uri="{BB962C8B-B14F-4D97-AF65-F5344CB8AC3E}">
        <p14:creationId xmlns:p14="http://schemas.microsoft.com/office/powerpoint/2010/main" val="19695650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C35494-8CBF-4C09-A4C0-5BE8C0257DEC}" type="slidenum">
              <a:rPr lang="en-US" smtClean="0"/>
              <a:t>60</a:t>
            </a:fld>
            <a:endParaRPr lang="en-US"/>
          </a:p>
        </p:txBody>
      </p:sp>
    </p:spTree>
    <p:extLst>
      <p:ext uri="{BB962C8B-B14F-4D97-AF65-F5344CB8AC3E}">
        <p14:creationId xmlns:p14="http://schemas.microsoft.com/office/powerpoint/2010/main" val="32862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3</a:t>
            </a:fld>
            <a:endParaRPr lang="en-US"/>
          </a:p>
        </p:txBody>
      </p:sp>
    </p:spTree>
    <p:extLst>
      <p:ext uri="{BB962C8B-B14F-4D97-AF65-F5344CB8AC3E}">
        <p14:creationId xmlns:p14="http://schemas.microsoft.com/office/powerpoint/2010/main" val="3599814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7</a:t>
            </a:fld>
            <a:endParaRPr lang="en-US"/>
          </a:p>
        </p:txBody>
      </p:sp>
    </p:spTree>
    <p:extLst>
      <p:ext uri="{BB962C8B-B14F-4D97-AF65-F5344CB8AC3E}">
        <p14:creationId xmlns:p14="http://schemas.microsoft.com/office/powerpoint/2010/main" val="23486551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F3CF8-A9CE-1D24-AA0B-ABA0FCF056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4AB070-92F2-DDF9-A909-3D38289AFC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510FB0-6F0B-EB44-7604-04A8D308E7A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CEAC20E-9B37-4786-9606-E08AAD4D888E}"/>
              </a:ext>
            </a:extLst>
          </p:cNvPr>
          <p:cNvSpPr>
            <a:spLocks noGrp="1"/>
          </p:cNvSpPr>
          <p:nvPr>
            <p:ph type="sldNum" sz="quarter" idx="5"/>
          </p:nvPr>
        </p:nvSpPr>
        <p:spPr/>
        <p:txBody>
          <a:bodyPr/>
          <a:lstStyle/>
          <a:p>
            <a:fld id="{D8C35494-8CBF-4C09-A4C0-5BE8C0257DEC}" type="slidenum">
              <a:rPr lang="en-US" smtClean="0"/>
              <a:t>8</a:t>
            </a:fld>
            <a:endParaRPr lang="en-US"/>
          </a:p>
        </p:txBody>
      </p:sp>
    </p:spTree>
    <p:extLst>
      <p:ext uri="{BB962C8B-B14F-4D97-AF65-F5344CB8AC3E}">
        <p14:creationId xmlns:p14="http://schemas.microsoft.com/office/powerpoint/2010/main" val="17562250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C35494-8CBF-4C09-A4C0-5BE8C0257DEC}" type="slidenum">
              <a:rPr lang="en-US" smtClean="0"/>
              <a:t>12</a:t>
            </a:fld>
            <a:endParaRPr lang="en-US"/>
          </a:p>
        </p:txBody>
      </p:sp>
    </p:spTree>
    <p:extLst>
      <p:ext uri="{BB962C8B-B14F-4D97-AF65-F5344CB8AC3E}">
        <p14:creationId xmlns:p14="http://schemas.microsoft.com/office/powerpoint/2010/main" val="7927736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14</a:t>
            </a:fld>
            <a:endParaRPr lang="en-US"/>
          </a:p>
        </p:txBody>
      </p:sp>
    </p:spTree>
    <p:extLst>
      <p:ext uri="{BB962C8B-B14F-4D97-AF65-F5344CB8AC3E}">
        <p14:creationId xmlns:p14="http://schemas.microsoft.com/office/powerpoint/2010/main" val="14486405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C35494-8CBF-4C09-A4C0-5BE8C0257DEC}" type="slidenum">
              <a:rPr lang="en-US" smtClean="0"/>
              <a:t>15</a:t>
            </a:fld>
            <a:endParaRPr lang="en-US"/>
          </a:p>
        </p:txBody>
      </p:sp>
    </p:spTree>
    <p:extLst>
      <p:ext uri="{BB962C8B-B14F-4D97-AF65-F5344CB8AC3E}">
        <p14:creationId xmlns:p14="http://schemas.microsoft.com/office/powerpoint/2010/main" val="37131002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21</a:t>
            </a:fld>
            <a:endParaRPr lang="en-US"/>
          </a:p>
        </p:txBody>
      </p:sp>
    </p:spTree>
    <p:extLst>
      <p:ext uri="{BB962C8B-B14F-4D97-AF65-F5344CB8AC3E}">
        <p14:creationId xmlns:p14="http://schemas.microsoft.com/office/powerpoint/2010/main" val="229207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C35494-8CBF-4C09-A4C0-5BE8C0257DEC}" type="slidenum">
              <a:rPr lang="en-US" smtClean="0"/>
              <a:t>29</a:t>
            </a:fld>
            <a:endParaRPr lang="en-US"/>
          </a:p>
        </p:txBody>
      </p:sp>
    </p:spTree>
    <p:extLst>
      <p:ext uri="{BB962C8B-B14F-4D97-AF65-F5344CB8AC3E}">
        <p14:creationId xmlns:p14="http://schemas.microsoft.com/office/powerpoint/2010/main" val="40717851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vestment Banking Cover Page">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DA2F2BE8-A8DD-EC8A-879E-7F4E6438BE78}"/>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17" name="Title 1">
            <a:extLst>
              <a:ext uri="{FF2B5EF4-FFF2-40B4-BE49-F238E27FC236}">
                <a16:creationId xmlns:a16="http://schemas.microsoft.com/office/drawing/2014/main" id="{E128FFEA-E880-6CA2-1D4D-C144855AFD10}"/>
              </a:ext>
            </a:extLst>
          </p:cNvPr>
          <p:cNvSpPr>
            <a:spLocks noGrp="1"/>
          </p:cNvSpPr>
          <p:nvPr>
            <p:ph type="title" hasCustomPrompt="1"/>
          </p:nvPr>
        </p:nvSpPr>
        <p:spPr>
          <a:xfrm>
            <a:off x="250825" y="2972474"/>
            <a:ext cx="8636493" cy="361950"/>
          </a:xfrm>
        </p:spPr>
        <p:txBody>
          <a:bodyPr wrap="none" tIns="0" bIns="0" anchor="ctr">
            <a:noAutofit/>
          </a:bodyPr>
          <a:lstStyle>
            <a:lvl1pPr>
              <a:defRPr sz="2000" b="1">
                <a:latin typeface="+mj-lt"/>
                <a:cs typeface="Goldman Sans Bold" panose="020B0803020203020204" pitchFamily="34" charset="0"/>
              </a:defRPr>
            </a:lvl1pPr>
          </a:lstStyle>
          <a:p>
            <a:r>
              <a:rPr lang="en-US"/>
              <a:t>Presentation Title</a:t>
            </a:r>
          </a:p>
        </p:txBody>
      </p:sp>
      <p:cxnSp>
        <p:nvCxnSpPr>
          <p:cNvPr id="19" name="Straight Connector 18">
            <a:extLst>
              <a:ext uri="{FF2B5EF4-FFF2-40B4-BE49-F238E27FC236}">
                <a16:creationId xmlns:a16="http://schemas.microsoft.com/office/drawing/2014/main" id="{C8F22DAC-C43E-9639-88D1-72B260FEE987}"/>
              </a:ext>
            </a:extLst>
          </p:cNvPr>
          <p:cNvCxnSpPr>
            <a:cxnSpLocks/>
          </p:cNvCxnSpPr>
          <p:nvPr userDrawn="1"/>
        </p:nvCxnSpPr>
        <p:spPr>
          <a:xfrm>
            <a:off x="241558" y="3417683"/>
            <a:ext cx="866737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 Placeholder 28">
            <a:extLst>
              <a:ext uri="{FF2B5EF4-FFF2-40B4-BE49-F238E27FC236}">
                <a16:creationId xmlns:a16="http://schemas.microsoft.com/office/drawing/2014/main" id="{48DC0D97-29FD-3A24-BFCD-345CF4D822EF}"/>
              </a:ext>
            </a:extLst>
          </p:cNvPr>
          <p:cNvSpPr>
            <a:spLocks noGrp="1"/>
          </p:cNvSpPr>
          <p:nvPr>
            <p:ph type="body" sz="quarter" idx="18" hasCustomPrompt="1"/>
          </p:nvPr>
        </p:nvSpPr>
        <p:spPr>
          <a:xfrm>
            <a:off x="272639" y="3519252"/>
            <a:ext cx="8620536" cy="210807"/>
          </a:xfrm>
        </p:spPr>
        <p:txBody>
          <a:bodyPr wrap="none" tIns="0" bIns="0" anchor="ctr">
            <a:noAutofit/>
          </a:bodyPr>
          <a:lstStyle>
            <a:lvl1pPr marL="0" indent="0">
              <a:lnSpc>
                <a:spcPct val="100000"/>
              </a:lnSpc>
              <a:spcBef>
                <a:spcPts val="0"/>
              </a:spcBef>
              <a:buNone/>
              <a:defRPr sz="1400">
                <a:solidFill>
                  <a:schemeClr val="accent1"/>
                </a:solidFill>
                <a:latin typeface="+mj-lt"/>
                <a:cs typeface="Goldman Sans Light" panose="020B0503020203020204" pitchFamily="34" charset="0"/>
              </a:defRPr>
            </a:lvl1pPr>
          </a:lstStyle>
          <a:p>
            <a:pPr lvl="0"/>
            <a:r>
              <a:rPr lang="en-US"/>
              <a:t>Presentation Subtitle</a:t>
            </a:r>
          </a:p>
        </p:txBody>
      </p:sp>
      <p:sp>
        <p:nvSpPr>
          <p:cNvPr id="11" name="Text Placeholder 28">
            <a:extLst>
              <a:ext uri="{FF2B5EF4-FFF2-40B4-BE49-F238E27FC236}">
                <a16:creationId xmlns:a16="http://schemas.microsoft.com/office/drawing/2014/main" id="{F3EBCBE6-3575-60CC-D32D-EE5C9D4AED9C}"/>
              </a:ext>
            </a:extLst>
          </p:cNvPr>
          <p:cNvSpPr>
            <a:spLocks noGrp="1"/>
          </p:cNvSpPr>
          <p:nvPr>
            <p:ph type="body" sz="quarter" idx="19" hasCustomPrompt="1"/>
          </p:nvPr>
        </p:nvSpPr>
        <p:spPr>
          <a:xfrm>
            <a:off x="241558" y="6458281"/>
            <a:ext cx="8645760" cy="210807"/>
          </a:xfrm>
        </p:spPr>
        <p:txBody>
          <a:bodyPr wrap="none" tIns="0" bIns="0" anchor="ctr">
            <a:noAutofit/>
          </a:bodyPr>
          <a:lstStyle>
            <a:lvl1pPr marL="0" indent="0" algn="l">
              <a:lnSpc>
                <a:spcPct val="100000"/>
              </a:lnSpc>
              <a:spcBef>
                <a:spcPts val="0"/>
              </a:spcBef>
              <a:buNone/>
              <a:defRPr sz="900">
                <a:solidFill>
                  <a:schemeClr val="tx1"/>
                </a:solidFill>
                <a:latin typeface="+mj-lt"/>
                <a:cs typeface="Goldman Sans Light" panose="020B0503020203020204" pitchFamily="34" charset="0"/>
              </a:defRPr>
            </a:lvl1pPr>
          </a:lstStyle>
          <a:p>
            <a:pPr lvl="0"/>
            <a:r>
              <a:rPr lang="en-US"/>
              <a:t>Date</a:t>
            </a:r>
          </a:p>
        </p:txBody>
      </p:sp>
      <p:sp>
        <p:nvSpPr>
          <p:cNvPr id="3" name="TextBox 2">
            <a:extLst>
              <a:ext uri="{FF2B5EF4-FFF2-40B4-BE49-F238E27FC236}">
                <a16:creationId xmlns:a16="http://schemas.microsoft.com/office/drawing/2014/main" id="{38B34AEA-424E-E6F3-E238-8165C0C2D089}"/>
              </a:ext>
            </a:extLst>
          </p:cNvPr>
          <p:cNvSpPr txBox="1">
            <a:spLocks noChangeAspect="1"/>
          </p:cNvSpPr>
          <p:nvPr userDrawn="1"/>
        </p:nvSpPr>
        <p:spPr>
          <a:xfrm>
            <a:off x="4326901" y="6302745"/>
            <a:ext cx="256006" cy="521877"/>
          </a:xfrm>
          <a:prstGeom prst="rect">
            <a:avLst/>
          </a:prstGeom>
          <a:noFill/>
        </p:spPr>
        <p:txBody>
          <a:bodyPr wrap="square" rIns="0" rtlCol="0" anchor="ctr">
            <a:noAutofit/>
          </a:bodyPr>
          <a:lstStyle/>
          <a:p>
            <a:pPr algn="r"/>
            <a:fld id="{8A15F205-7D98-4B7A-8DEA-3CCCDE55FD6E}" type="slidenum">
              <a:rPr lang="en-US" sz="900" smtClean="0">
                <a:solidFill>
                  <a:schemeClr val="bg1"/>
                </a:solidFill>
                <a:latin typeface="+mj-lt"/>
                <a:cs typeface="Goldman Sans Regular" panose="020B0603020203020204" pitchFamily="34" charset="0"/>
              </a:rPr>
              <a:pPr algn="r"/>
              <a:t>‹#›</a:t>
            </a:fld>
            <a:endParaRPr lang="en-US" sz="1100">
              <a:solidFill>
                <a:schemeClr val="bg1"/>
              </a:solidFill>
              <a:latin typeface="+mj-lt"/>
              <a:cs typeface="Goldman Sans Regular" panose="020B0603020203020204" pitchFamily="34" charset="0"/>
            </a:endParaRPr>
          </a:p>
        </p:txBody>
      </p:sp>
    </p:spTree>
    <p:extLst>
      <p:ext uri="{BB962C8B-B14F-4D97-AF65-F5344CB8AC3E}">
        <p14:creationId xmlns:p14="http://schemas.microsoft.com/office/powerpoint/2010/main" val="3037225722"/>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x2 Content Slide (Vertical)">
    <p:spTree>
      <p:nvGrpSpPr>
        <p:cNvPr id="1" name=""/>
        <p:cNvGrpSpPr/>
        <p:nvPr/>
      </p:nvGrpSpPr>
      <p:grpSpPr>
        <a:xfrm>
          <a:off x="0" y="0"/>
          <a:ext cx="0" cy="0"/>
          <a:chOff x="0" y="0"/>
          <a:chExt cx="0" cy="0"/>
        </a:xfrm>
      </p:grpSpPr>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299"/>
            <a:ext cx="4141788" cy="480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6"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 name="Google Shape;53;p21">
            <a:extLst>
              <a:ext uri="{FF2B5EF4-FFF2-40B4-BE49-F238E27FC236}">
                <a16:creationId xmlns:a16="http://schemas.microsoft.com/office/drawing/2014/main" id="{10550B5A-EBB2-4ED7-AE01-276FB8EB559F}"/>
              </a:ext>
            </a:extLst>
          </p:cNvPr>
          <p:cNvSpPr txBox="1">
            <a:spLocks noGrp="1"/>
          </p:cNvSpPr>
          <p:nvPr>
            <p:ph type="body" idx="22"/>
          </p:nvPr>
        </p:nvSpPr>
        <p:spPr>
          <a:xfrm>
            <a:off x="4751389"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6" name="Straight Connector 5">
            <a:extLst>
              <a:ext uri="{FF2B5EF4-FFF2-40B4-BE49-F238E27FC236}">
                <a16:creationId xmlns:a16="http://schemas.microsoft.com/office/drawing/2014/main" id="{CE053653-BB11-23B5-A2BE-E385BA51B025}"/>
              </a:ext>
            </a:extLst>
          </p:cNvPr>
          <p:cNvCxnSpPr>
            <a:cxnSpLocks/>
          </p:cNvCxnSpPr>
          <p:nvPr userDrawn="1"/>
        </p:nvCxnSpPr>
        <p:spPr>
          <a:xfrm>
            <a:off x="475138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 name="Content Placeholder 4">
            <a:extLst>
              <a:ext uri="{FF2B5EF4-FFF2-40B4-BE49-F238E27FC236}">
                <a16:creationId xmlns:a16="http://schemas.microsoft.com/office/drawing/2014/main" id="{8850C138-787A-AA16-0EBE-E16C777B226A}"/>
              </a:ext>
            </a:extLst>
          </p:cNvPr>
          <p:cNvSpPr>
            <a:spLocks noGrp="1"/>
          </p:cNvSpPr>
          <p:nvPr>
            <p:ph sz="quarter" idx="28"/>
          </p:nvPr>
        </p:nvSpPr>
        <p:spPr>
          <a:xfrm>
            <a:off x="4751388" y="1384299"/>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0" name="Content Placeholder 4">
            <a:extLst>
              <a:ext uri="{FF2B5EF4-FFF2-40B4-BE49-F238E27FC236}">
                <a16:creationId xmlns:a16="http://schemas.microsoft.com/office/drawing/2014/main" id="{EDFF8629-AF17-3291-E716-E103B0688DC0}"/>
              </a:ext>
            </a:extLst>
          </p:cNvPr>
          <p:cNvSpPr>
            <a:spLocks noGrp="1"/>
          </p:cNvSpPr>
          <p:nvPr>
            <p:ph sz="quarter" idx="30"/>
          </p:nvPr>
        </p:nvSpPr>
        <p:spPr>
          <a:xfrm>
            <a:off x="4751388" y="4015454"/>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2" name="Google Shape;53;p21">
            <a:extLst>
              <a:ext uri="{FF2B5EF4-FFF2-40B4-BE49-F238E27FC236}">
                <a16:creationId xmlns:a16="http://schemas.microsoft.com/office/drawing/2014/main" id="{C61387F0-5599-92FD-B37D-CF984C8AD5C6}"/>
              </a:ext>
            </a:extLst>
          </p:cNvPr>
          <p:cNvSpPr txBox="1">
            <a:spLocks noGrp="1"/>
          </p:cNvSpPr>
          <p:nvPr>
            <p:ph type="body" idx="31"/>
          </p:nvPr>
        </p:nvSpPr>
        <p:spPr>
          <a:xfrm>
            <a:off x="4751389"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13" name="Straight Connector 12">
            <a:extLst>
              <a:ext uri="{FF2B5EF4-FFF2-40B4-BE49-F238E27FC236}">
                <a16:creationId xmlns:a16="http://schemas.microsoft.com/office/drawing/2014/main" id="{644C140B-1B48-E578-2F73-3878C4F62C82}"/>
              </a:ext>
            </a:extLst>
          </p:cNvPr>
          <p:cNvCxnSpPr>
            <a:cxnSpLocks/>
          </p:cNvCxnSpPr>
          <p:nvPr userDrawn="1"/>
        </p:nvCxnSpPr>
        <p:spPr>
          <a:xfrm>
            <a:off x="4751388"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FAC6D583-7FC3-E68C-516C-9C9466858415}"/>
              </a:ext>
            </a:extLst>
          </p:cNvPr>
          <p:cNvCxnSpPr>
            <a:cxnSpLocks/>
          </p:cNvCxnSpPr>
          <p:nvPr userDrawn="1"/>
        </p:nvCxnSpPr>
        <p:spPr>
          <a:xfrm>
            <a:off x="3883025" y="6280325"/>
            <a:ext cx="137795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9DF6BA8-AEF1-944F-C844-6D765A4AA614}"/>
              </a:ext>
            </a:extLst>
          </p:cNvPr>
          <p:cNvSpPr txBox="1">
            <a:spLocks noChangeAspect="1"/>
          </p:cNvSpPr>
          <p:nvPr userDrawn="1"/>
        </p:nvSpPr>
        <p:spPr>
          <a:xfrm>
            <a:off x="4306888" y="6296024"/>
            <a:ext cx="286576" cy="584195"/>
          </a:xfrm>
          <a:prstGeom prst="rect">
            <a:avLst/>
          </a:prstGeom>
          <a:noFill/>
        </p:spPr>
        <p:txBody>
          <a:bodyPr wrap="square" rIns="0" rtlCol="0" anchor="ctr">
            <a:noAutofit/>
          </a:bodyPr>
          <a:lstStyle/>
          <a:p>
            <a:pPr algn="r"/>
            <a:fld id="{8A15F205-7D98-4B7A-8DEA-3CCCDE55FD6E}" type="slidenum">
              <a:rPr lang="en-US" sz="900" smtClean="0">
                <a:solidFill>
                  <a:schemeClr val="bg1"/>
                </a:solidFill>
                <a:latin typeface="+mj-lt"/>
                <a:cs typeface="Goldman Sans Regular" panose="020B0603020203020204" pitchFamily="34" charset="0"/>
              </a:rPr>
              <a:pPr algn="r"/>
              <a:t>‹#›</a:t>
            </a:fld>
            <a:endParaRPr lang="en-US" sz="1100">
              <a:solidFill>
                <a:schemeClr val="bg1"/>
              </a:solidFill>
              <a:latin typeface="+mj-lt"/>
              <a:cs typeface="Goldman Sans Regular" panose="020B0603020203020204" pitchFamily="34" charset="0"/>
            </a:endParaRPr>
          </a:p>
        </p:txBody>
      </p:sp>
    </p:spTree>
    <p:extLst>
      <p:ext uri="{BB962C8B-B14F-4D97-AF65-F5344CB8AC3E}">
        <p14:creationId xmlns:p14="http://schemas.microsoft.com/office/powerpoint/2010/main" val="4155466815"/>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22" orient="horz" pos="867" userDrawn="1">
          <p15:clr>
            <a:srgbClr val="FBAE40"/>
          </p15:clr>
        </p15:guide>
        <p15:guide id="24" orient="horz" pos="3906" userDrawn="1">
          <p15:clr>
            <a:srgbClr val="FBAE40"/>
          </p15:clr>
        </p15:guide>
        <p15:guide id="25" orient="horz" pos="2523" userDrawn="1">
          <p15:clr>
            <a:srgbClr val="FBAE40"/>
          </p15:clr>
        </p15:guide>
        <p15:guide id="26" orient="horz" pos="225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4BCCB196-B957-33FA-EF59-C1647D90B6D1}"/>
              </a:ext>
            </a:extLst>
          </p:cNvPr>
          <p:cNvSpPr txBox="1"/>
          <p:nvPr userDrawn="1"/>
        </p:nvSpPr>
        <p:spPr>
          <a:xfrm>
            <a:off x="250825" y="1016000"/>
            <a:ext cx="8642350" cy="1754326"/>
          </a:xfrm>
          <a:prstGeom prst="rect">
            <a:avLst/>
          </a:prstGeom>
          <a:noFill/>
        </p:spPr>
        <p:txBody>
          <a:bodyPr wrap="square" rtlCol="0">
            <a:spAutoFit/>
          </a:bodyPr>
          <a:lstStyle/>
          <a:p>
            <a:r>
              <a:rPr lang="en-US" sz="1200"/>
              <a:t>The information in this document is for educational and non-commercial use only and is not intended to constitute specific legal, accounting, financial or tax advice for any individual. In no event will </a:t>
            </a:r>
            <a:r>
              <a:rPr lang="en-US" sz="1200" err="1"/>
              <a:t>TFSIG</a:t>
            </a:r>
            <a:r>
              <a:rPr lang="en-US" sz="1200"/>
              <a:t>, Telfer School of Management, University of Ottawa, its members, executives, or directors be liable to you or anyone else for any loss or damages whatsoever (including direct, indirect, special, incidental, consequential, exemplary or punitive damages) resulting from the use of this document, or reliance on the information or content found within this document. The information may not be reproduced or republished in any part without the prior written consent of </a:t>
            </a:r>
            <a:r>
              <a:rPr lang="en-US" sz="1200" err="1"/>
              <a:t>TFSIG</a:t>
            </a:r>
            <a:r>
              <a:rPr lang="en-US" sz="1200"/>
              <a:t>. </a:t>
            </a:r>
            <a:r>
              <a:rPr lang="en-US" sz="1200" err="1"/>
              <a:t>TFSIG</a:t>
            </a:r>
            <a:r>
              <a:rPr lang="en-US" sz="1200"/>
              <a:t> is not in the business of advising or holding themselves out as being in the business of advising. Many factors may affect the applicability of any statement or comment that appear in our documents to an individual's particular circumstances.</a:t>
            </a:r>
          </a:p>
          <a:p>
            <a:endParaRPr lang="en-CA" sz="1200"/>
          </a:p>
        </p:txBody>
      </p:sp>
      <p:cxnSp>
        <p:nvCxnSpPr>
          <p:cNvPr id="15" name="Straight Connector 14">
            <a:extLst>
              <a:ext uri="{FF2B5EF4-FFF2-40B4-BE49-F238E27FC236}">
                <a16:creationId xmlns:a16="http://schemas.microsoft.com/office/drawing/2014/main" id="{89E04521-DA73-1042-29C4-266454E72D46}"/>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Text Placeholder 6">
            <a:extLst>
              <a:ext uri="{FF2B5EF4-FFF2-40B4-BE49-F238E27FC236}">
                <a16:creationId xmlns:a16="http://schemas.microsoft.com/office/drawing/2014/main" id="{838F4171-7986-0ED2-E01A-B86AEFA95479}"/>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5" name="TextBox 4">
            <a:extLst>
              <a:ext uri="{FF2B5EF4-FFF2-40B4-BE49-F238E27FC236}">
                <a16:creationId xmlns:a16="http://schemas.microsoft.com/office/drawing/2014/main" id="{B3473FED-4DD3-68EA-9437-3172271BCBA1}"/>
              </a:ext>
            </a:extLst>
          </p:cNvPr>
          <p:cNvSpPr txBox="1"/>
          <p:nvPr userDrawn="1"/>
        </p:nvSpPr>
        <p:spPr>
          <a:xfrm>
            <a:off x="250824" y="188915"/>
            <a:ext cx="6625463" cy="400110"/>
          </a:xfrm>
          <a:prstGeom prst="rect">
            <a:avLst/>
          </a:prstGeom>
          <a:noFill/>
        </p:spPr>
        <p:txBody>
          <a:bodyPr wrap="square" rtlCol="0">
            <a:spAutoFit/>
          </a:bodyPr>
          <a:lstStyle/>
          <a:p>
            <a:r>
              <a:rPr lang="en-US" sz="2000" b="1">
                <a:solidFill>
                  <a:schemeClr val="tx2"/>
                </a:solidFill>
              </a:rPr>
              <a:t>Disclaimer</a:t>
            </a:r>
            <a:endParaRPr lang="en-CA" sz="2000" b="1">
              <a:solidFill>
                <a:schemeClr val="tx2"/>
              </a:solidFill>
            </a:endParaRPr>
          </a:p>
        </p:txBody>
      </p:sp>
      <p:sp>
        <p:nvSpPr>
          <p:cNvPr id="2" name="Text Placeholder 28">
            <a:extLst>
              <a:ext uri="{FF2B5EF4-FFF2-40B4-BE49-F238E27FC236}">
                <a16:creationId xmlns:a16="http://schemas.microsoft.com/office/drawing/2014/main" id="{FE027340-F06C-E4D0-1B3D-E07D7069C331}"/>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cxnSp>
        <p:nvCxnSpPr>
          <p:cNvPr id="3" name="Straight Connector 2">
            <a:extLst>
              <a:ext uri="{FF2B5EF4-FFF2-40B4-BE49-F238E27FC236}">
                <a16:creationId xmlns:a16="http://schemas.microsoft.com/office/drawing/2014/main" id="{FDDE79AC-E63E-470D-79FE-E5A6353DAAC8}"/>
              </a:ext>
            </a:extLst>
          </p:cNvPr>
          <p:cNvCxnSpPr>
            <a:cxnSpLocks/>
          </p:cNvCxnSpPr>
          <p:nvPr userDrawn="1"/>
        </p:nvCxnSpPr>
        <p:spPr>
          <a:xfrm>
            <a:off x="3883025" y="6280325"/>
            <a:ext cx="137795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7048E68-B804-33F4-B670-D42E99B446B6}"/>
              </a:ext>
            </a:extLst>
          </p:cNvPr>
          <p:cNvSpPr txBox="1">
            <a:spLocks noChangeAspect="1"/>
          </p:cNvSpPr>
          <p:nvPr userDrawn="1"/>
        </p:nvSpPr>
        <p:spPr>
          <a:xfrm>
            <a:off x="4306888" y="6296024"/>
            <a:ext cx="286576" cy="584195"/>
          </a:xfrm>
          <a:prstGeom prst="rect">
            <a:avLst/>
          </a:prstGeom>
          <a:noFill/>
        </p:spPr>
        <p:txBody>
          <a:bodyPr wrap="square" rIns="0" rtlCol="0" anchor="ctr">
            <a:noAutofit/>
          </a:bodyPr>
          <a:lstStyle/>
          <a:p>
            <a:pPr algn="r"/>
            <a:fld id="{8A15F205-7D98-4B7A-8DEA-3CCCDE55FD6E}" type="slidenum">
              <a:rPr lang="en-US" sz="900" smtClean="0">
                <a:solidFill>
                  <a:schemeClr val="bg1"/>
                </a:solidFill>
                <a:latin typeface="+mj-lt"/>
                <a:cs typeface="Goldman Sans Regular" panose="020B0603020203020204" pitchFamily="34" charset="0"/>
              </a:rPr>
              <a:pPr algn="r"/>
              <a:t>‹#›</a:t>
            </a:fld>
            <a:endParaRPr lang="en-US" sz="1100">
              <a:solidFill>
                <a:schemeClr val="bg1"/>
              </a:solidFill>
              <a:latin typeface="+mj-lt"/>
              <a:cs typeface="Goldman Sans Regular" panose="020B0603020203020204" pitchFamily="34" charset="0"/>
            </a:endParaRPr>
          </a:p>
        </p:txBody>
      </p:sp>
    </p:spTree>
    <p:extLst>
      <p:ext uri="{BB962C8B-B14F-4D97-AF65-F5344CB8AC3E}">
        <p14:creationId xmlns:p14="http://schemas.microsoft.com/office/powerpoint/2010/main" val="297341965"/>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3039" userDrawn="1">
          <p15:clr>
            <a:srgbClr val="F26B43"/>
          </p15:clr>
        </p15:guide>
        <p15:guide id="11" pos="2721" userDrawn="1">
          <p15:clr>
            <a:srgbClr val="F26B43"/>
          </p15:clr>
        </p15:guide>
        <p15:guide id="13" orient="horz" pos="3906"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87310EE2-4426-439C-A334-777263E6AE33}"/>
              </a:ext>
            </a:extLst>
          </p:cNvPr>
          <p:cNvSpPr txBox="1"/>
          <p:nvPr userDrawn="1"/>
        </p:nvSpPr>
        <p:spPr>
          <a:xfrm>
            <a:off x="0" y="0"/>
            <a:ext cx="9144000" cy="6858000"/>
          </a:xfrm>
          <a:prstGeom prst="rect">
            <a:avLst/>
          </a:prstGeom>
          <a:solidFill>
            <a:schemeClr val="tx2"/>
          </a:solidFill>
        </p:spPr>
        <p:txBody>
          <a:bodyPr wrap="square" rtlCol="0" anchor="ctr">
            <a:noAutofit/>
          </a:bodyPr>
          <a:lstStyle/>
          <a:p>
            <a:pPr algn="ctr"/>
            <a:r>
              <a:rPr lang="en-US" sz="2400">
                <a:solidFill>
                  <a:schemeClr val="bg1"/>
                </a:solidFill>
                <a:latin typeface="Cambria" panose="02040503050406030204" pitchFamily="18" charset="0"/>
                <a:ea typeface="Cambria" panose="02040503050406030204" pitchFamily="18" charset="0"/>
              </a:rPr>
              <a:t>TFS Investment Group</a:t>
            </a:r>
          </a:p>
        </p:txBody>
      </p:sp>
      <p:graphicFrame>
        <p:nvGraphicFramePr>
          <p:cNvPr id="45" name="Table 5">
            <a:extLst>
              <a:ext uri="{FF2B5EF4-FFF2-40B4-BE49-F238E27FC236}">
                <a16:creationId xmlns:a16="http://schemas.microsoft.com/office/drawing/2014/main" id="{99583612-6F77-4F85-8DB1-FCDF56831F89}"/>
              </a:ext>
            </a:extLst>
          </p:cNvPr>
          <p:cNvGraphicFramePr>
            <a:graphicFrameLocks noGrp="1"/>
          </p:cNvGraphicFramePr>
          <p:nvPr userDrawn="1">
            <p:extLst>
              <p:ext uri="{D42A27DB-BD31-4B8C-83A1-F6EECF244321}">
                <p14:modId xmlns:p14="http://schemas.microsoft.com/office/powerpoint/2010/main" val="84745475"/>
              </p:ext>
            </p:extLst>
          </p:nvPr>
        </p:nvGraphicFramePr>
        <p:xfrm>
          <a:off x="14990432" y="1410888"/>
          <a:ext cx="2449845" cy="289560"/>
        </p:xfrm>
        <a:graphic>
          <a:graphicData uri="http://schemas.openxmlformats.org/drawingml/2006/table">
            <a:tbl>
              <a:tblPr firstRow="1" bandRow="1">
                <a:tableStyleId>{5C22544A-7EE6-4342-B048-85BDC9FD1C3A}</a:tableStyleId>
              </a:tblPr>
              <a:tblGrid>
                <a:gridCol w="2449845">
                  <a:extLst>
                    <a:ext uri="{9D8B030D-6E8A-4147-A177-3AD203B41FA5}">
                      <a16:colId xmlns:a16="http://schemas.microsoft.com/office/drawing/2014/main" val="2780553580"/>
                    </a:ext>
                  </a:extLst>
                </a:gridCol>
              </a:tblGrid>
              <a:tr h="192951">
                <a:tc>
                  <a:txBody>
                    <a:bodyPr/>
                    <a:lstStyle/>
                    <a:p>
                      <a:pPr algn="ctr"/>
                      <a:r>
                        <a:rPr lang="en-US" sz="1300" b="0">
                          <a:solidFill>
                            <a:schemeClr val="accent1"/>
                          </a:solidFill>
                          <a:latin typeface="Goldman Sans Bold" panose="020B0803020203020204" pitchFamily="34" charset="0"/>
                          <a:cs typeface="Goldman Sans Bold" panose="020B0803020203020204" pitchFamily="34" charset="0"/>
                        </a:rPr>
                        <a:t>Copy from slide master</a:t>
                      </a:r>
                    </a:p>
                  </a:txBody>
                  <a:tcPr anchor="ctr">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887304422"/>
                  </a:ext>
                </a:extLst>
              </a:tr>
            </a:tbl>
          </a:graphicData>
        </a:graphic>
      </p:graphicFrame>
    </p:spTree>
    <p:extLst>
      <p:ext uri="{BB962C8B-B14F-4D97-AF65-F5344CB8AC3E}">
        <p14:creationId xmlns:p14="http://schemas.microsoft.com/office/powerpoint/2010/main" val="501812895"/>
      </p:ext>
    </p:extLst>
  </p:cSld>
  <p:clrMapOvr>
    <a:masterClrMapping/>
  </p:clrMapOvr>
  <p:extLst>
    <p:ext uri="{DCECCB84-F9BA-43D5-87BE-67443E8EF086}">
      <p15:sldGuideLst xmlns:p15="http://schemas.microsoft.com/office/powerpoint/2012/main">
        <p15:guide id="2" pos="5420" userDrawn="1">
          <p15:clr>
            <a:srgbClr val="F26B43"/>
          </p15:clr>
        </p15:guide>
        <p15:guide id="3" orient="horz" pos="346" userDrawn="1">
          <p15:clr>
            <a:srgbClr val="A4A3A4"/>
          </p15:clr>
        </p15:guide>
        <p15:guide id="4" orient="horz" pos="3974" userDrawn="1">
          <p15:clr>
            <a:srgbClr val="A4A3A4"/>
          </p15:clr>
        </p15:guide>
        <p15:guide id="5" pos="340" userDrawn="1">
          <p15:clr>
            <a:srgbClr val="F26B43"/>
          </p15:clr>
        </p15:guide>
        <p15:guide id="6" orient="horz" pos="799" userDrawn="1">
          <p15:clr>
            <a:srgbClr val="A4A3A4"/>
          </p15:clr>
        </p15:guide>
        <p15:guide id="8" orient="horz" pos="4269" userDrawn="1">
          <p15:clr>
            <a:srgbClr val="A4A3A4"/>
          </p15:clr>
        </p15:guide>
        <p15:guide id="9" orient="horz" pos="51" userDrawn="1">
          <p15:clr>
            <a:srgbClr val="A4A3A4"/>
          </p15:clr>
        </p15:guide>
        <p15:guide id="12" orient="horz" pos="845" userDrawn="1">
          <p15:clr>
            <a:srgbClr val="A4A3A4"/>
          </p15:clr>
        </p15:guide>
        <p15:guide id="13" orient="horz" pos="3929" userDrawn="1">
          <p15:clr>
            <a:srgbClr val="F26B43"/>
          </p15:clr>
        </p15:guide>
        <p15:guide id="15" orient="horz" pos="890" userDrawn="1">
          <p15:clr>
            <a:srgbClr val="547EBF"/>
          </p15:clr>
        </p15:guide>
        <p15:guide id="16" orient="horz" pos="1071"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C51E235-07B0-41D8-B948-9869A903C41C}"/>
              </a:ext>
            </a:extLst>
          </p:cNvPr>
          <p:cNvSpPr>
            <a:spLocks noGrp="1"/>
          </p:cNvSpPr>
          <p:nvPr>
            <p:ph type="pic" sz="quarter" idx="10" hasCustomPrompt="1"/>
          </p:nvPr>
        </p:nvSpPr>
        <p:spPr>
          <a:xfrm>
            <a:off x="0" y="0"/>
            <a:ext cx="9144000" cy="6858000"/>
          </a:xfrm>
          <a:solidFill>
            <a:schemeClr val="bg2">
              <a:lumMod val="20000"/>
              <a:lumOff val="80000"/>
            </a:schemeClr>
          </a:solidFill>
        </p:spPr>
        <p:txBody>
          <a:bodyPr/>
          <a:lstStyle>
            <a:lvl1pPr marL="0" indent="0">
              <a:buNone/>
              <a:defRPr>
                <a:latin typeface="+mj-lt"/>
              </a:defRPr>
            </a:lvl1pPr>
          </a:lstStyle>
          <a:p>
            <a:r>
              <a:rPr lang="en-US"/>
              <a:t>Picture Placeholder (click icon to add picture)</a:t>
            </a:r>
          </a:p>
        </p:txBody>
      </p:sp>
      <p:sp>
        <p:nvSpPr>
          <p:cNvPr id="7" name="Text Placeholder 4">
            <a:extLst>
              <a:ext uri="{FF2B5EF4-FFF2-40B4-BE49-F238E27FC236}">
                <a16:creationId xmlns:a16="http://schemas.microsoft.com/office/drawing/2014/main" id="{E4B6BC8C-D43C-4470-92CD-926ABB9C06A7}"/>
              </a:ext>
            </a:extLst>
          </p:cNvPr>
          <p:cNvSpPr>
            <a:spLocks noGrp="1"/>
          </p:cNvSpPr>
          <p:nvPr>
            <p:ph type="body" sz="quarter" idx="13" hasCustomPrompt="1"/>
          </p:nvPr>
        </p:nvSpPr>
        <p:spPr>
          <a:xfrm>
            <a:off x="0" y="5121275"/>
            <a:ext cx="9144000" cy="1736724"/>
          </a:xfrm>
          <a:solidFill>
            <a:srgbClr val="080808">
              <a:alpha val="74902"/>
            </a:srgbClr>
          </a:solidFill>
        </p:spPr>
        <p:txBody>
          <a:bodyPr/>
          <a:lstStyle>
            <a:lvl1pPr marL="0" indent="0">
              <a:buNone/>
              <a:defRPr>
                <a:solidFill>
                  <a:schemeClr val="bg1"/>
                </a:solidFill>
                <a:latin typeface="+mj-lt"/>
              </a:defRPr>
            </a:lvl1pPr>
          </a:lstStyle>
          <a:p>
            <a:pPr lvl="0"/>
            <a:r>
              <a:rPr lang="en-US"/>
              <a:t>Box1 (this text won’t show)</a:t>
            </a:r>
          </a:p>
        </p:txBody>
      </p:sp>
      <p:sp>
        <p:nvSpPr>
          <p:cNvPr id="2" name="Title 1"/>
          <p:cNvSpPr>
            <a:spLocks noGrp="1"/>
          </p:cNvSpPr>
          <p:nvPr>
            <p:ph type="ctrTitle" hasCustomPrompt="1"/>
          </p:nvPr>
        </p:nvSpPr>
        <p:spPr>
          <a:xfrm>
            <a:off x="250825" y="5339798"/>
            <a:ext cx="8642349" cy="810730"/>
          </a:xfrm>
        </p:spPr>
        <p:txBody>
          <a:bodyPr bIns="0" anchor="ctr">
            <a:normAutofit/>
          </a:bodyPr>
          <a:lstStyle>
            <a:lvl1pPr algn="l">
              <a:lnSpc>
                <a:spcPct val="100000"/>
              </a:lnSpc>
              <a:defRPr sz="6000">
                <a:solidFill>
                  <a:schemeClr val="bg1"/>
                </a:solidFill>
                <a:latin typeface="+mj-lt"/>
                <a:ea typeface="Cambria" panose="02040503050406030204" pitchFamily="18" charset="0"/>
                <a:cs typeface="Arial" panose="020B0604020202020204" pitchFamily="34" charset="0"/>
              </a:defRPr>
            </a:lvl1pPr>
          </a:lstStyle>
          <a:p>
            <a:r>
              <a:rPr lang="en-US"/>
              <a:t>Presentation Title</a:t>
            </a:r>
          </a:p>
        </p:txBody>
      </p:sp>
      <p:sp>
        <p:nvSpPr>
          <p:cNvPr id="3" name="Subtitle 2"/>
          <p:cNvSpPr>
            <a:spLocks noGrp="1"/>
          </p:cNvSpPr>
          <p:nvPr>
            <p:ph type="subTitle" idx="1" hasCustomPrompt="1"/>
          </p:nvPr>
        </p:nvSpPr>
        <p:spPr>
          <a:xfrm>
            <a:off x="250827" y="6237292"/>
            <a:ext cx="8642348" cy="395287"/>
          </a:xfrm>
        </p:spPr>
        <p:txBody>
          <a:bodyPr lIns="144000" anchor="b">
            <a:noAutofit/>
          </a:bodyPr>
          <a:lstStyle>
            <a:lvl1pPr marL="0" indent="0" algn="l">
              <a:lnSpc>
                <a:spcPct val="100000"/>
              </a:lnSpc>
              <a:spcBef>
                <a:spcPts val="0"/>
              </a:spcBef>
              <a:buNone/>
              <a:defRPr sz="1600">
                <a:solidFill>
                  <a:schemeClr val="bg1"/>
                </a:solidFill>
                <a:latin typeface="+mj-lt"/>
                <a:cs typeface="Goldman Sans Light" panose="020B05030202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a:t>
            </a:r>
          </a:p>
        </p:txBody>
      </p:sp>
      <p:sp>
        <p:nvSpPr>
          <p:cNvPr id="13" name="Content Placeholder 9">
            <a:extLst>
              <a:ext uri="{FF2B5EF4-FFF2-40B4-BE49-F238E27FC236}">
                <a16:creationId xmlns:a16="http://schemas.microsoft.com/office/drawing/2014/main" id="{35DC33CC-D6EE-433F-BDB4-3E0C0CC43770}"/>
              </a:ext>
            </a:extLst>
          </p:cNvPr>
          <p:cNvSpPr>
            <a:spLocks noGrp="1"/>
          </p:cNvSpPr>
          <p:nvPr>
            <p:ph sz="quarter" idx="12" hasCustomPrompt="1"/>
          </p:nvPr>
        </p:nvSpPr>
        <p:spPr>
          <a:xfrm>
            <a:off x="395399" y="6165850"/>
            <a:ext cx="1614097" cy="71438"/>
          </a:xfrm>
          <a:solidFill>
            <a:schemeClr val="accent2">
              <a:alpha val="75000"/>
            </a:schemeClr>
          </a:solidFill>
          <a:ln>
            <a:noFill/>
          </a:ln>
        </p:spPr>
        <p:txBody>
          <a:bodyPr anchor="ctr">
            <a:noAutofit/>
          </a:bodyPr>
          <a:lstStyle>
            <a:lvl1pPr marL="0" indent="0">
              <a:buNone/>
              <a:defRPr sz="800">
                <a:solidFill>
                  <a:schemeClr val="bg1"/>
                </a:solidFill>
                <a:latin typeface="+mj-lt"/>
              </a:defRPr>
            </a:lvl1pPr>
          </a:lstStyle>
          <a:p>
            <a:pPr lvl="0"/>
            <a:r>
              <a:rPr lang="en-US"/>
              <a:t>Box2 (this text won’t show)</a:t>
            </a:r>
          </a:p>
        </p:txBody>
      </p:sp>
      <p:pic>
        <p:nvPicPr>
          <p:cNvPr id="11" name="Picture 10" descr="A picture containing text, clipart&#10;&#10;Description automatically generated">
            <a:extLst>
              <a:ext uri="{FF2B5EF4-FFF2-40B4-BE49-F238E27FC236}">
                <a16:creationId xmlns:a16="http://schemas.microsoft.com/office/drawing/2014/main" id="{7E620609-1B6C-23B9-3720-41D388FD261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5161" y="191262"/>
            <a:ext cx="358014" cy="358014"/>
          </a:xfrm>
          <a:prstGeom prst="rect">
            <a:avLst/>
          </a:prstGeom>
        </p:spPr>
      </p:pic>
      <p:sp>
        <p:nvSpPr>
          <p:cNvPr id="12" name="TextBox 11">
            <a:extLst>
              <a:ext uri="{FF2B5EF4-FFF2-40B4-BE49-F238E27FC236}">
                <a16:creationId xmlns:a16="http://schemas.microsoft.com/office/drawing/2014/main" id="{3CA2DB5D-51D0-BCD4-255A-B4F1FAFD761F}"/>
              </a:ext>
            </a:extLst>
          </p:cNvPr>
          <p:cNvSpPr txBox="1"/>
          <p:nvPr userDrawn="1"/>
        </p:nvSpPr>
        <p:spPr>
          <a:xfrm>
            <a:off x="6893566" y="253830"/>
            <a:ext cx="1641595" cy="230832"/>
          </a:xfrm>
          <a:prstGeom prst="rect">
            <a:avLst/>
          </a:prstGeom>
          <a:noFill/>
        </p:spPr>
        <p:txBody>
          <a:bodyPr wrap="square" rtlCol="0" anchor="ctr">
            <a:spAutoFit/>
          </a:bodyPr>
          <a:lstStyle/>
          <a:p>
            <a:pPr algn="ctr"/>
            <a:r>
              <a:rPr lang="en-US" sz="900">
                <a:solidFill>
                  <a:schemeClr val="bg1"/>
                </a:solidFill>
              </a:rPr>
              <a:t>TFS INVESTMENT GROUP</a:t>
            </a:r>
            <a:endParaRPr lang="en-CA" sz="900">
              <a:solidFill>
                <a:schemeClr val="bg1"/>
              </a:solidFill>
            </a:endParaRPr>
          </a:p>
        </p:txBody>
      </p:sp>
    </p:spTree>
    <p:extLst>
      <p:ext uri="{BB962C8B-B14F-4D97-AF65-F5344CB8AC3E}">
        <p14:creationId xmlns:p14="http://schemas.microsoft.com/office/powerpoint/2010/main" val="1293672920"/>
      </p:ext>
    </p:extLst>
  </p:cSld>
  <p:clrMapOvr>
    <a:masterClrMapping/>
  </p:clrMapOvr>
  <p:extLst>
    <p:ext uri="{DCECCB84-F9BA-43D5-87BE-67443E8EF086}">
      <p15:sldGuideLst xmlns:p15="http://schemas.microsoft.com/office/powerpoint/2012/main">
        <p15:guide id="1" orient="horz" pos="3362" userDrawn="1">
          <p15:clr>
            <a:srgbClr val="A4A3A4"/>
          </p15:clr>
        </p15:guide>
        <p15:guide id="2" pos="249" userDrawn="1">
          <p15:clr>
            <a:srgbClr val="A4A3A4"/>
          </p15:clr>
        </p15:guide>
        <p15:guide id="3" pos="5602" userDrawn="1">
          <p15:clr>
            <a:srgbClr val="A4A3A4"/>
          </p15:clr>
        </p15:guide>
        <p15:guide id="4" orient="horz" pos="709" userDrawn="1">
          <p15:clr>
            <a:srgbClr val="A4A3A4"/>
          </p15:clr>
        </p15:guide>
        <p15:guide id="5" orient="horz" pos="4178" userDrawn="1">
          <p15:clr>
            <a:srgbClr val="A4A3A4"/>
          </p15:clr>
        </p15:guide>
        <p15:guide id="6" orient="horz" pos="3884" userDrawn="1">
          <p15:clr>
            <a:srgbClr val="A4A3A4"/>
          </p15:clr>
        </p15:guide>
        <p15:guide id="7" orient="horz" pos="3929" userDrawn="1">
          <p15:clr>
            <a:srgbClr val="A4A3A4"/>
          </p15:clr>
        </p15:guide>
        <p15:guide id="10" orient="horz" pos="3226"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remade 4x4 Content Slide">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599" y="6273800"/>
            <a:ext cx="286576" cy="584195"/>
          </a:xfrm>
          <a:prstGeom prst="rect">
            <a:avLst/>
          </a:prstGeom>
          <a:noFill/>
        </p:spPr>
        <p:txBody>
          <a:bodyPr wrap="square" rIns="0" rtlCol="0" anchor="ctr">
            <a:noAutofit/>
          </a:bodyPr>
          <a:lstStyle/>
          <a:p>
            <a:pPr algn="r"/>
            <a:fld id="{8A15F205-7D98-4B7A-8DEA-3CCCDE55FD6E}" type="slidenum">
              <a:rPr lang="en-US" sz="1000" smtClean="0">
                <a:latin typeface="+mj-lt"/>
                <a:cs typeface="Goldman Sans Regular" panose="020B0603020203020204" pitchFamily="34" charset="0"/>
              </a:rPr>
              <a:pPr algn="r"/>
              <a:t>‹#›</a:t>
            </a:fld>
            <a:endParaRPr lang="en-US" sz="1200">
              <a:latin typeface="+mj-lt"/>
              <a:cs typeface="Goldman Sans Regular" panose="020B0603020203020204" pitchFamily="34" charset="0"/>
            </a:endParaRPr>
          </a:p>
        </p:txBody>
      </p:sp>
      <p:sp>
        <p:nvSpPr>
          <p:cNvPr id="2" name="Title 1">
            <a:extLst>
              <a:ext uri="{FF2B5EF4-FFF2-40B4-BE49-F238E27FC236}">
                <a16:creationId xmlns:a16="http://schemas.microsoft.com/office/drawing/2014/main" id="{0491E02D-5263-4501-AD55-A08FB300B8BB}"/>
              </a:ext>
            </a:extLst>
          </p:cNvPr>
          <p:cNvSpPr>
            <a:spLocks noGrp="1"/>
          </p:cNvSpPr>
          <p:nvPr>
            <p:ph type="title" hasCustomPrompt="1"/>
          </p:nvPr>
        </p:nvSpPr>
        <p:spPr>
          <a:xfrm>
            <a:off x="250825" y="187582"/>
            <a:ext cx="6658698" cy="361950"/>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5"/>
            <a:ext cx="8355774" cy="288924"/>
          </a:xfrm>
        </p:spPr>
        <p:txBody>
          <a:bodyPr wrap="none" tIns="0" bIns="0" anchor="t">
            <a:noAutofit/>
          </a:bodyPr>
          <a:lstStyle>
            <a:lvl1pPr marL="0" indent="0">
              <a:lnSpc>
                <a:spcPct val="100000"/>
              </a:lnSpc>
              <a:spcBef>
                <a:spcPts val="0"/>
              </a:spcBef>
              <a:buNone/>
              <a:defRPr sz="800">
                <a:solidFill>
                  <a:schemeClr val="tx1"/>
                </a:solidFill>
                <a:latin typeface="+mj-lt"/>
                <a:cs typeface="Goldman Sans Light" panose="020B0503020203020204" pitchFamily="34" charset="0"/>
              </a:defRPr>
            </a:lvl1pPr>
          </a:lstStyle>
          <a:p>
            <a:pPr lvl="0"/>
            <a:r>
              <a:rPr lang="en-US"/>
              <a:t>Notes</a:t>
            </a:r>
          </a:p>
        </p:txBody>
      </p:sp>
      <p:cxnSp>
        <p:nvCxnSpPr>
          <p:cNvPr id="12" name="Straight Connector 11">
            <a:extLst>
              <a:ext uri="{FF2B5EF4-FFF2-40B4-BE49-F238E27FC236}">
                <a16:creationId xmlns:a16="http://schemas.microsoft.com/office/drawing/2014/main" id="{B66CF323-16E4-76FD-873D-5320E4540CCC}"/>
              </a:ext>
            </a:extLst>
          </p:cNvPr>
          <p:cNvCxnSpPr>
            <a:cxnSpLocks/>
          </p:cNvCxnSpPr>
          <p:nvPr userDrawn="1"/>
        </p:nvCxnSpPr>
        <p:spPr>
          <a:xfrm>
            <a:off x="250825" y="6274663"/>
            <a:ext cx="864235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7DEB5B7A-13BD-212F-FFD4-EC200A49DEC6}"/>
              </a:ext>
            </a:extLst>
          </p:cNvPr>
          <p:cNvSpPr>
            <a:spLocks noGrp="1"/>
          </p:cNvSpPr>
          <p:nvPr>
            <p:ph sz="quarter" idx="14"/>
          </p:nvPr>
        </p:nvSpPr>
        <p:spPr>
          <a:xfrm>
            <a:off x="256374" y="1304925"/>
            <a:ext cx="4136239" cy="2334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Content Placeholder 4">
            <a:extLst>
              <a:ext uri="{FF2B5EF4-FFF2-40B4-BE49-F238E27FC236}">
                <a16:creationId xmlns:a16="http://schemas.microsoft.com/office/drawing/2014/main" id="{7DF97499-BAFB-917C-DF1C-A1E6EF6DE479}"/>
              </a:ext>
            </a:extLst>
          </p:cNvPr>
          <p:cNvSpPr>
            <a:spLocks noGrp="1"/>
          </p:cNvSpPr>
          <p:nvPr>
            <p:ph sz="quarter" idx="15"/>
          </p:nvPr>
        </p:nvSpPr>
        <p:spPr>
          <a:xfrm>
            <a:off x="250825" y="3937706"/>
            <a:ext cx="4141788" cy="23305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nvGraphicFramePr>
        <p:xfrm>
          <a:off x="0" y="-769690"/>
          <a:ext cx="4213225" cy="274320"/>
        </p:xfrm>
        <a:graphic>
          <a:graphicData uri="http://schemas.openxmlformats.org/drawingml/2006/table">
            <a:tbl>
              <a:tblPr firstRow="1" bandRow="1">
                <a:tableStyleId>{5C22544A-7EE6-4342-B048-85BDC9FD1C3A}</a:tableStyleId>
              </a:tblPr>
              <a:tblGrid>
                <a:gridCol w="4213225">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15" name="Text Placeholder 28">
            <a:extLst>
              <a:ext uri="{FF2B5EF4-FFF2-40B4-BE49-F238E27FC236}">
                <a16:creationId xmlns:a16="http://schemas.microsoft.com/office/drawing/2014/main" id="{D42A5BFE-E18D-D477-B451-72F5609094C3}"/>
              </a:ext>
            </a:extLst>
          </p:cNvPr>
          <p:cNvSpPr>
            <a:spLocks noGrp="1"/>
          </p:cNvSpPr>
          <p:nvPr>
            <p:ph type="body" sz="quarter" idx="18" hasCustomPrompt="1"/>
          </p:nvPr>
        </p:nvSpPr>
        <p:spPr>
          <a:xfrm>
            <a:off x="256374" y="619835"/>
            <a:ext cx="8636801" cy="210807"/>
          </a:xfrm>
        </p:spPr>
        <p:txBody>
          <a:bodyPr wrap="none" tIns="0" bIns="0" anchor="ctr">
            <a:noAutofit/>
          </a:bodyPr>
          <a:lstStyle>
            <a:lvl1pPr marL="0" indent="0">
              <a:lnSpc>
                <a:spcPct val="100000"/>
              </a:lnSpc>
              <a:spcBef>
                <a:spcPts val="0"/>
              </a:spcBef>
              <a:buNone/>
              <a:defRPr sz="1400">
                <a:solidFill>
                  <a:schemeClr val="accent1"/>
                </a:solidFill>
                <a:latin typeface="+mj-lt"/>
                <a:cs typeface="Goldman Sans Light" panose="020B0503020203020204" pitchFamily="34" charset="0"/>
              </a:defRPr>
            </a:lvl1pPr>
          </a:lstStyle>
          <a:p>
            <a:pPr lvl="0"/>
            <a:r>
              <a:rPr lang="en-US"/>
              <a:t>Subtitle</a:t>
            </a:r>
          </a:p>
        </p:txBody>
      </p:sp>
      <p:pic>
        <p:nvPicPr>
          <p:cNvPr id="11" name="Picture 10" descr="A picture containing text, clipart&#10;&#10;Description automatically generated">
            <a:extLst>
              <a:ext uri="{FF2B5EF4-FFF2-40B4-BE49-F238E27FC236}">
                <a16:creationId xmlns:a16="http://schemas.microsoft.com/office/drawing/2014/main" id="{E36AA841-6871-B684-03F2-08431FC14A2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5161" y="191262"/>
            <a:ext cx="358014" cy="358014"/>
          </a:xfrm>
          <a:prstGeom prst="rect">
            <a:avLst/>
          </a:prstGeom>
        </p:spPr>
      </p:pic>
      <p:sp>
        <p:nvSpPr>
          <p:cNvPr id="13" name="TextBox 12">
            <a:extLst>
              <a:ext uri="{FF2B5EF4-FFF2-40B4-BE49-F238E27FC236}">
                <a16:creationId xmlns:a16="http://schemas.microsoft.com/office/drawing/2014/main" id="{50DABE71-AB47-88BC-868E-93A5A2D9998F}"/>
              </a:ext>
            </a:extLst>
          </p:cNvPr>
          <p:cNvSpPr txBox="1"/>
          <p:nvPr userDrawn="1"/>
        </p:nvSpPr>
        <p:spPr>
          <a:xfrm>
            <a:off x="6893566" y="253830"/>
            <a:ext cx="1641595" cy="230832"/>
          </a:xfrm>
          <a:prstGeom prst="rect">
            <a:avLst/>
          </a:prstGeom>
          <a:noFill/>
        </p:spPr>
        <p:txBody>
          <a:bodyPr wrap="square" rtlCol="0" anchor="ctr">
            <a:spAutoFit/>
          </a:bodyPr>
          <a:lstStyle/>
          <a:p>
            <a:pPr algn="ctr"/>
            <a:r>
              <a:rPr lang="en-US" sz="900">
                <a:solidFill>
                  <a:schemeClr val="bg2"/>
                </a:solidFill>
              </a:rPr>
              <a:t>TFS INVESTMENT GROUP</a:t>
            </a:r>
            <a:endParaRPr lang="en-CA" sz="900">
              <a:solidFill>
                <a:schemeClr val="bg2"/>
              </a:solidFill>
            </a:endParaRPr>
          </a:p>
        </p:txBody>
      </p:sp>
      <p:sp>
        <p:nvSpPr>
          <p:cNvPr id="18" name="Content Placeholder 4">
            <a:extLst>
              <a:ext uri="{FF2B5EF4-FFF2-40B4-BE49-F238E27FC236}">
                <a16:creationId xmlns:a16="http://schemas.microsoft.com/office/drawing/2014/main" id="{C83C728E-B25A-339A-42B2-C4C2AC3D951E}"/>
              </a:ext>
            </a:extLst>
          </p:cNvPr>
          <p:cNvSpPr>
            <a:spLocks noGrp="1"/>
          </p:cNvSpPr>
          <p:nvPr>
            <p:ph sz="quarter" idx="19"/>
          </p:nvPr>
        </p:nvSpPr>
        <p:spPr>
          <a:xfrm>
            <a:off x="4756938" y="1304925"/>
            <a:ext cx="4136239" cy="2334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9" name="Content Placeholder 4">
            <a:extLst>
              <a:ext uri="{FF2B5EF4-FFF2-40B4-BE49-F238E27FC236}">
                <a16:creationId xmlns:a16="http://schemas.microsoft.com/office/drawing/2014/main" id="{097C61F1-C8E7-C202-B14D-863127528D1B}"/>
              </a:ext>
            </a:extLst>
          </p:cNvPr>
          <p:cNvSpPr>
            <a:spLocks noGrp="1"/>
          </p:cNvSpPr>
          <p:nvPr>
            <p:ph sz="quarter" idx="20"/>
          </p:nvPr>
        </p:nvSpPr>
        <p:spPr>
          <a:xfrm>
            <a:off x="4751389" y="3937706"/>
            <a:ext cx="4141788" cy="23305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301649102"/>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156"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14" orient="horz" pos="640" userDrawn="1">
          <p15:clr>
            <a:srgbClr val="FBAE40"/>
          </p15:clr>
        </p15:guide>
        <p15:guide id="17" orient="horz" pos="3974" userDrawn="1">
          <p15:clr>
            <a:srgbClr val="F26B43"/>
          </p15:clr>
        </p15:guide>
        <p15:guide id="18" orient="horz" pos="2296" userDrawn="1">
          <p15:clr>
            <a:srgbClr val="FBAE40"/>
          </p15:clr>
        </p15:guide>
        <p15:guide id="19" orient="horz" pos="2478" userDrawn="1">
          <p15:clr>
            <a:srgbClr val="FBAE40"/>
          </p15:clr>
        </p15:guide>
        <p15:guide id="22" orient="horz" pos="822" userDrawn="1">
          <p15:clr>
            <a:srgbClr val="FBAE40"/>
          </p15:clr>
        </p15:guide>
        <p15:guide id="23" orient="horz" pos="368" userDrawn="1">
          <p15:clr>
            <a:srgbClr val="FBAE40"/>
          </p15:clr>
        </p15:guide>
        <p15:guide id="24" orient="horz" pos="395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ernative Slide Cov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C51E235-07B0-41D8-B948-9869A903C41C}"/>
              </a:ext>
            </a:extLst>
          </p:cNvPr>
          <p:cNvSpPr>
            <a:spLocks noGrp="1"/>
          </p:cNvSpPr>
          <p:nvPr>
            <p:ph type="pic" sz="quarter" idx="10" hasCustomPrompt="1"/>
          </p:nvPr>
        </p:nvSpPr>
        <p:spPr>
          <a:xfrm>
            <a:off x="0" y="0"/>
            <a:ext cx="9144000" cy="6858000"/>
          </a:xfrm>
          <a:solidFill>
            <a:schemeClr val="bg2">
              <a:lumMod val="20000"/>
              <a:lumOff val="80000"/>
            </a:schemeClr>
          </a:solidFill>
        </p:spPr>
        <p:txBody>
          <a:bodyPr/>
          <a:lstStyle>
            <a:lvl1pPr marL="0" indent="0">
              <a:buNone/>
              <a:defRPr>
                <a:latin typeface="+mj-lt"/>
              </a:defRPr>
            </a:lvl1pPr>
          </a:lstStyle>
          <a:p>
            <a:r>
              <a:rPr lang="en-US"/>
              <a:t>Picture Placeholder (click icon to add picture)</a:t>
            </a:r>
          </a:p>
        </p:txBody>
      </p:sp>
      <p:sp>
        <p:nvSpPr>
          <p:cNvPr id="7" name="Text Placeholder 4">
            <a:extLst>
              <a:ext uri="{FF2B5EF4-FFF2-40B4-BE49-F238E27FC236}">
                <a16:creationId xmlns:a16="http://schemas.microsoft.com/office/drawing/2014/main" id="{E4B6BC8C-D43C-4470-92CD-926ABB9C06A7}"/>
              </a:ext>
            </a:extLst>
          </p:cNvPr>
          <p:cNvSpPr>
            <a:spLocks noGrp="1"/>
          </p:cNvSpPr>
          <p:nvPr>
            <p:ph type="body" sz="quarter" idx="13" hasCustomPrompt="1"/>
          </p:nvPr>
        </p:nvSpPr>
        <p:spPr>
          <a:xfrm>
            <a:off x="0" y="5121275"/>
            <a:ext cx="9144000" cy="1736724"/>
          </a:xfrm>
          <a:solidFill>
            <a:srgbClr val="080808">
              <a:alpha val="74902"/>
            </a:srgbClr>
          </a:solidFill>
        </p:spPr>
        <p:txBody>
          <a:bodyPr/>
          <a:lstStyle>
            <a:lvl1pPr marL="0" indent="0">
              <a:buNone/>
              <a:defRPr>
                <a:solidFill>
                  <a:schemeClr val="bg1"/>
                </a:solidFill>
                <a:latin typeface="+mj-lt"/>
              </a:defRPr>
            </a:lvl1pPr>
          </a:lstStyle>
          <a:p>
            <a:pPr lvl="0"/>
            <a:r>
              <a:rPr lang="en-US"/>
              <a:t>Box1 (this text won’t show)</a:t>
            </a:r>
          </a:p>
        </p:txBody>
      </p:sp>
      <p:sp>
        <p:nvSpPr>
          <p:cNvPr id="2" name="Title 1"/>
          <p:cNvSpPr>
            <a:spLocks noGrp="1"/>
          </p:cNvSpPr>
          <p:nvPr>
            <p:ph type="ctrTitle" hasCustomPrompt="1"/>
          </p:nvPr>
        </p:nvSpPr>
        <p:spPr>
          <a:xfrm>
            <a:off x="250825" y="5339798"/>
            <a:ext cx="8642349" cy="810730"/>
          </a:xfrm>
        </p:spPr>
        <p:txBody>
          <a:bodyPr bIns="0" anchor="ctr">
            <a:normAutofit/>
          </a:bodyPr>
          <a:lstStyle>
            <a:lvl1pPr algn="l">
              <a:lnSpc>
                <a:spcPct val="100000"/>
              </a:lnSpc>
              <a:defRPr sz="6000">
                <a:solidFill>
                  <a:schemeClr val="bg1"/>
                </a:solidFill>
                <a:latin typeface="+mj-lt"/>
                <a:ea typeface="Cambria" panose="02040503050406030204" pitchFamily="18" charset="0"/>
                <a:cs typeface="Arial" panose="020B0604020202020204" pitchFamily="34" charset="0"/>
              </a:defRPr>
            </a:lvl1pPr>
          </a:lstStyle>
          <a:p>
            <a:r>
              <a:rPr lang="en-US"/>
              <a:t>Presentation Title</a:t>
            </a:r>
          </a:p>
        </p:txBody>
      </p:sp>
      <p:sp>
        <p:nvSpPr>
          <p:cNvPr id="3" name="Subtitle 2"/>
          <p:cNvSpPr>
            <a:spLocks noGrp="1"/>
          </p:cNvSpPr>
          <p:nvPr>
            <p:ph type="subTitle" idx="1" hasCustomPrompt="1"/>
          </p:nvPr>
        </p:nvSpPr>
        <p:spPr>
          <a:xfrm>
            <a:off x="250827" y="6237292"/>
            <a:ext cx="8642348" cy="395287"/>
          </a:xfrm>
        </p:spPr>
        <p:txBody>
          <a:bodyPr lIns="144000" anchor="b">
            <a:noAutofit/>
          </a:bodyPr>
          <a:lstStyle>
            <a:lvl1pPr marL="0" indent="0" algn="l">
              <a:lnSpc>
                <a:spcPct val="100000"/>
              </a:lnSpc>
              <a:spcBef>
                <a:spcPts val="0"/>
              </a:spcBef>
              <a:buNone/>
              <a:defRPr sz="1600">
                <a:solidFill>
                  <a:schemeClr val="bg1"/>
                </a:solidFill>
                <a:latin typeface="+mj-lt"/>
                <a:cs typeface="Goldman Sans Light" panose="020B05030202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a:t>
            </a:r>
          </a:p>
        </p:txBody>
      </p:sp>
      <p:sp>
        <p:nvSpPr>
          <p:cNvPr id="13" name="Content Placeholder 9">
            <a:extLst>
              <a:ext uri="{FF2B5EF4-FFF2-40B4-BE49-F238E27FC236}">
                <a16:creationId xmlns:a16="http://schemas.microsoft.com/office/drawing/2014/main" id="{35DC33CC-D6EE-433F-BDB4-3E0C0CC43770}"/>
              </a:ext>
            </a:extLst>
          </p:cNvPr>
          <p:cNvSpPr>
            <a:spLocks noGrp="1"/>
          </p:cNvSpPr>
          <p:nvPr>
            <p:ph sz="quarter" idx="12" hasCustomPrompt="1"/>
          </p:nvPr>
        </p:nvSpPr>
        <p:spPr>
          <a:xfrm>
            <a:off x="395399" y="6165850"/>
            <a:ext cx="1614097" cy="71438"/>
          </a:xfrm>
          <a:solidFill>
            <a:schemeClr val="accent2">
              <a:alpha val="75000"/>
            </a:schemeClr>
          </a:solidFill>
          <a:ln>
            <a:noFill/>
          </a:ln>
        </p:spPr>
        <p:txBody>
          <a:bodyPr anchor="ctr">
            <a:noAutofit/>
          </a:bodyPr>
          <a:lstStyle>
            <a:lvl1pPr marL="0" indent="0">
              <a:buNone/>
              <a:defRPr sz="800">
                <a:solidFill>
                  <a:schemeClr val="bg1"/>
                </a:solidFill>
                <a:latin typeface="+mj-lt"/>
              </a:defRPr>
            </a:lvl1pPr>
          </a:lstStyle>
          <a:p>
            <a:pPr lvl="0"/>
            <a:r>
              <a:rPr lang="en-US"/>
              <a:t>Box2 (this text won’t show)</a:t>
            </a:r>
          </a:p>
        </p:txBody>
      </p:sp>
      <p:pic>
        <p:nvPicPr>
          <p:cNvPr id="11" name="Picture 10" descr="A picture containing text, clipart&#10;&#10;Description automatically generated">
            <a:extLst>
              <a:ext uri="{FF2B5EF4-FFF2-40B4-BE49-F238E27FC236}">
                <a16:creationId xmlns:a16="http://schemas.microsoft.com/office/drawing/2014/main" id="{7E620609-1B6C-23B9-3720-41D388FD261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5161" y="191262"/>
            <a:ext cx="358014" cy="358014"/>
          </a:xfrm>
          <a:prstGeom prst="rect">
            <a:avLst/>
          </a:prstGeom>
        </p:spPr>
      </p:pic>
    </p:spTree>
    <p:extLst>
      <p:ext uri="{BB962C8B-B14F-4D97-AF65-F5344CB8AC3E}">
        <p14:creationId xmlns:p14="http://schemas.microsoft.com/office/powerpoint/2010/main" val="622187772"/>
      </p:ext>
    </p:extLst>
  </p:cSld>
  <p:clrMapOvr>
    <a:masterClrMapping/>
  </p:clrMapOvr>
  <p:extLst>
    <p:ext uri="{DCECCB84-F9BA-43D5-87BE-67443E8EF086}">
      <p15:sldGuideLst xmlns:p15="http://schemas.microsoft.com/office/powerpoint/2012/main">
        <p15:guide id="1" orient="horz" pos="3362" userDrawn="1">
          <p15:clr>
            <a:srgbClr val="A4A3A4"/>
          </p15:clr>
        </p15:guide>
        <p15:guide id="2" pos="249" userDrawn="1">
          <p15:clr>
            <a:srgbClr val="A4A3A4"/>
          </p15:clr>
        </p15:guide>
        <p15:guide id="3" pos="5602" userDrawn="1">
          <p15:clr>
            <a:srgbClr val="A4A3A4"/>
          </p15:clr>
        </p15:guide>
        <p15:guide id="4" orient="horz" pos="709" userDrawn="1">
          <p15:clr>
            <a:srgbClr val="A4A3A4"/>
          </p15:clr>
        </p15:guide>
        <p15:guide id="5" orient="horz" pos="4178" userDrawn="1">
          <p15:clr>
            <a:srgbClr val="A4A3A4"/>
          </p15:clr>
        </p15:guide>
        <p15:guide id="6" orient="horz" pos="3884" userDrawn="1">
          <p15:clr>
            <a:srgbClr val="A4A3A4"/>
          </p15:clr>
        </p15:guide>
        <p15:guide id="7" orient="horz" pos="3929" userDrawn="1">
          <p15:clr>
            <a:srgbClr val="A4A3A4"/>
          </p15:clr>
        </p15:guide>
        <p15:guide id="10" orient="horz" pos="3226"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955D981C-AB7B-3A72-2B31-CB9CAACFCA25}"/>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able Placeholder 3">
            <a:extLst>
              <a:ext uri="{FF2B5EF4-FFF2-40B4-BE49-F238E27FC236}">
                <a16:creationId xmlns:a16="http://schemas.microsoft.com/office/drawing/2014/main" id="{2CC5451C-476F-473A-A288-FD83A2033519}"/>
              </a:ext>
            </a:extLst>
          </p:cNvPr>
          <p:cNvSpPr>
            <a:spLocks noGrp="1"/>
          </p:cNvSpPr>
          <p:nvPr>
            <p:ph type="tbl" sz="quarter" idx="14"/>
          </p:nvPr>
        </p:nvSpPr>
        <p:spPr>
          <a:xfrm>
            <a:off x="250825" y="1006475"/>
            <a:ext cx="8642293" cy="5194298"/>
          </a:xfrm>
        </p:spPr>
        <p:txBody>
          <a:bodyPr/>
          <a:lstStyle>
            <a:lvl1pPr>
              <a:defRPr>
                <a:latin typeface="+mj-lt"/>
              </a:defRPr>
            </a:lvl1pPr>
          </a:lstStyle>
          <a:p>
            <a:endParaRPr lang="en-US"/>
          </a:p>
        </p:txBody>
      </p:sp>
      <p:sp>
        <p:nvSpPr>
          <p:cNvPr id="2" name="Title 1">
            <a:extLst>
              <a:ext uri="{FF2B5EF4-FFF2-40B4-BE49-F238E27FC236}">
                <a16:creationId xmlns:a16="http://schemas.microsoft.com/office/drawing/2014/main" id="{92B416A2-0B1F-F997-F81F-B76F221003E8}"/>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sp>
        <p:nvSpPr>
          <p:cNvPr id="9" name="Text Placeholder 28">
            <a:extLst>
              <a:ext uri="{FF2B5EF4-FFF2-40B4-BE49-F238E27FC236}">
                <a16:creationId xmlns:a16="http://schemas.microsoft.com/office/drawing/2014/main" id="{4DF1139E-20AE-3AFC-B1A0-9EB723844B95}"/>
              </a:ext>
            </a:extLst>
          </p:cNvPr>
          <p:cNvSpPr>
            <a:spLocks noGrp="1"/>
          </p:cNvSpPr>
          <p:nvPr>
            <p:ph type="body" sz="quarter" idx="13" hasCustomPrompt="1"/>
          </p:nvPr>
        </p:nvSpPr>
        <p:spPr>
          <a:xfrm>
            <a:off x="250825" y="6308724"/>
            <a:ext cx="7645400" cy="360359"/>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cxnSp>
        <p:nvCxnSpPr>
          <p:cNvPr id="23" name="Straight Connector 22">
            <a:extLst>
              <a:ext uri="{FF2B5EF4-FFF2-40B4-BE49-F238E27FC236}">
                <a16:creationId xmlns:a16="http://schemas.microsoft.com/office/drawing/2014/main" id="{0DD4A9D0-249F-62A1-44CD-E79E08784FD9}"/>
              </a:ext>
            </a:extLst>
          </p:cNvPr>
          <p:cNvCxnSpPr>
            <a:cxnSpLocks/>
          </p:cNvCxnSpPr>
          <p:nvPr userDrawn="1"/>
        </p:nvCxnSpPr>
        <p:spPr>
          <a:xfrm>
            <a:off x="250825" y="584200"/>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3" name="Table 8">
            <a:extLst>
              <a:ext uri="{FF2B5EF4-FFF2-40B4-BE49-F238E27FC236}">
                <a16:creationId xmlns:a16="http://schemas.microsoft.com/office/drawing/2014/main" id="{CF429F5C-D75C-6FD0-12CB-BBD6FFAD0CF5}"/>
              </a:ext>
            </a:extLst>
          </p:cNvPr>
          <p:cNvGraphicFramePr>
            <a:graphicFrameLocks/>
          </p:cNvGraphicFramePr>
          <p:nvPr userDrawn="1">
            <p:extLst>
              <p:ext uri="{D42A27DB-BD31-4B8C-83A1-F6EECF244321}">
                <p14:modId xmlns:p14="http://schemas.microsoft.com/office/powerpoint/2010/main" val="3043552226"/>
              </p:ext>
            </p:extLst>
          </p:nvPr>
        </p:nvGraphicFramePr>
        <p:xfrm>
          <a:off x="256375" y="-434857"/>
          <a:ext cx="4136238" cy="274320"/>
        </p:xfrm>
        <a:graphic>
          <a:graphicData uri="http://schemas.openxmlformats.org/drawingml/2006/table">
            <a:tbl>
              <a:tblPr firstRow="1" bandRow="1">
                <a:tableStyleId>{5C22544A-7EE6-4342-B048-85BDC9FD1C3A}</a:tableStyleId>
              </a:tblPr>
              <a:tblGrid>
                <a:gridCol w="4136238">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cxnSp>
        <p:nvCxnSpPr>
          <p:cNvPr id="7" name="Straight Connector 6">
            <a:extLst>
              <a:ext uri="{FF2B5EF4-FFF2-40B4-BE49-F238E27FC236}">
                <a16:creationId xmlns:a16="http://schemas.microsoft.com/office/drawing/2014/main" id="{6B8CDC80-B872-625A-1796-62B38E9E4722}"/>
              </a:ext>
            </a:extLst>
          </p:cNvPr>
          <p:cNvCxnSpPr>
            <a:cxnSpLocks/>
          </p:cNvCxnSpPr>
          <p:nvPr userDrawn="1"/>
        </p:nvCxnSpPr>
        <p:spPr>
          <a:xfrm>
            <a:off x="3883025" y="6280325"/>
            <a:ext cx="137795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0EA874D-CBEA-0C45-51CC-F68AA6DA05CD}"/>
              </a:ext>
            </a:extLst>
          </p:cNvPr>
          <p:cNvSpPr txBox="1">
            <a:spLocks noChangeAspect="1"/>
          </p:cNvSpPr>
          <p:nvPr userDrawn="1"/>
        </p:nvSpPr>
        <p:spPr>
          <a:xfrm>
            <a:off x="4285395" y="6297786"/>
            <a:ext cx="286576" cy="584195"/>
          </a:xfrm>
          <a:prstGeom prst="rect">
            <a:avLst/>
          </a:prstGeom>
          <a:noFill/>
        </p:spPr>
        <p:txBody>
          <a:bodyPr wrap="square" rIns="0" rtlCol="0" anchor="ctr">
            <a:noAutofit/>
          </a:bodyPr>
          <a:lstStyle/>
          <a:p>
            <a:pPr algn="r"/>
            <a:fld id="{8A15F205-7D98-4B7A-8DEA-3CCCDE55FD6E}" type="slidenum">
              <a:rPr lang="en-US" sz="900" i="1" smtClean="0">
                <a:solidFill>
                  <a:schemeClr val="bg1"/>
                </a:solidFill>
                <a:latin typeface="+mj-lt"/>
                <a:cs typeface="Goldman Sans Regular" panose="020B0603020203020204" pitchFamily="34" charset="0"/>
              </a:rPr>
              <a:pPr algn="r"/>
              <a:t>‹#›</a:t>
            </a:fld>
            <a:endParaRPr lang="en-US" sz="1100" i="1">
              <a:solidFill>
                <a:schemeClr val="bg1"/>
              </a:solidFill>
              <a:latin typeface="+mj-lt"/>
              <a:cs typeface="Goldman Sans Regular" panose="020B0603020203020204" pitchFamily="34" charset="0"/>
            </a:endParaRPr>
          </a:p>
        </p:txBody>
      </p:sp>
    </p:spTree>
    <p:extLst>
      <p:ext uri="{BB962C8B-B14F-4D97-AF65-F5344CB8AC3E}">
        <p14:creationId xmlns:p14="http://schemas.microsoft.com/office/powerpoint/2010/main" val="3428732608"/>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14" orient="horz" pos="624" userDrawn="1">
          <p15:clr>
            <a:srgbClr val="FBAE40"/>
          </p15:clr>
        </p15:guide>
        <p15:guide id="15" orient="horz" pos="390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x4 Content Slide">
    <p:spTree>
      <p:nvGrpSpPr>
        <p:cNvPr id="1" name=""/>
        <p:cNvGrpSpPr/>
        <p:nvPr/>
      </p:nvGrpSpPr>
      <p:grpSpPr>
        <a:xfrm>
          <a:off x="0" y="0"/>
          <a:ext cx="0" cy="0"/>
          <a:chOff x="0" y="0"/>
          <a:chExt cx="0" cy="0"/>
        </a:xfrm>
      </p:grpSpPr>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sp>
        <p:nvSpPr>
          <p:cNvPr id="2" name="Google Shape;53;p21">
            <a:extLst>
              <a:ext uri="{FF2B5EF4-FFF2-40B4-BE49-F238E27FC236}">
                <a16:creationId xmlns:a16="http://schemas.microsoft.com/office/drawing/2014/main" id="{138331F1-8119-510F-30BA-1F8EC1B71C66}"/>
              </a:ext>
            </a:extLst>
          </p:cNvPr>
          <p:cNvSpPr txBox="1">
            <a:spLocks noGrp="1"/>
          </p:cNvSpPr>
          <p:nvPr>
            <p:ph type="body" idx="22"/>
          </p:nvPr>
        </p:nvSpPr>
        <p:spPr>
          <a:xfrm>
            <a:off x="4751389"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299"/>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16" name="Straight Connector 15">
            <a:extLst>
              <a:ext uri="{FF2B5EF4-FFF2-40B4-BE49-F238E27FC236}">
                <a16:creationId xmlns:a16="http://schemas.microsoft.com/office/drawing/2014/main" id="{3C49D8AA-92E3-7D31-5CFC-96C532E57D61}"/>
              </a:ext>
            </a:extLst>
          </p:cNvPr>
          <p:cNvCxnSpPr>
            <a:cxnSpLocks/>
          </p:cNvCxnSpPr>
          <p:nvPr userDrawn="1"/>
        </p:nvCxnSpPr>
        <p:spPr>
          <a:xfrm>
            <a:off x="475138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6"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7"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6"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Content Placeholder 4">
            <a:extLst>
              <a:ext uri="{FF2B5EF4-FFF2-40B4-BE49-F238E27FC236}">
                <a16:creationId xmlns:a16="http://schemas.microsoft.com/office/drawing/2014/main" id="{4CB83F76-5048-8D2B-40DA-DFD423E49FF5}"/>
              </a:ext>
            </a:extLst>
          </p:cNvPr>
          <p:cNvSpPr>
            <a:spLocks noGrp="1"/>
          </p:cNvSpPr>
          <p:nvPr>
            <p:ph sz="quarter" idx="28"/>
          </p:nvPr>
        </p:nvSpPr>
        <p:spPr>
          <a:xfrm>
            <a:off x="4751388" y="1384299"/>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5" y="4015454"/>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5" name="Content Placeholder 4">
            <a:extLst>
              <a:ext uri="{FF2B5EF4-FFF2-40B4-BE49-F238E27FC236}">
                <a16:creationId xmlns:a16="http://schemas.microsoft.com/office/drawing/2014/main" id="{67473D30-D304-DC63-643D-824F5B4A2F77}"/>
              </a:ext>
            </a:extLst>
          </p:cNvPr>
          <p:cNvSpPr>
            <a:spLocks noGrp="1"/>
          </p:cNvSpPr>
          <p:nvPr>
            <p:ph sz="quarter" idx="30"/>
          </p:nvPr>
        </p:nvSpPr>
        <p:spPr>
          <a:xfrm>
            <a:off x="4751388" y="4015454"/>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7" name="Google Shape;53;p21">
            <a:extLst>
              <a:ext uri="{FF2B5EF4-FFF2-40B4-BE49-F238E27FC236}">
                <a16:creationId xmlns:a16="http://schemas.microsoft.com/office/drawing/2014/main" id="{16066008-2BE6-0C46-C911-28D9B559BC17}"/>
              </a:ext>
            </a:extLst>
          </p:cNvPr>
          <p:cNvSpPr txBox="1">
            <a:spLocks noGrp="1"/>
          </p:cNvSpPr>
          <p:nvPr>
            <p:ph type="body" idx="31"/>
          </p:nvPr>
        </p:nvSpPr>
        <p:spPr>
          <a:xfrm>
            <a:off x="4751389"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8" name="Straight Connector 27">
            <a:extLst>
              <a:ext uri="{FF2B5EF4-FFF2-40B4-BE49-F238E27FC236}">
                <a16:creationId xmlns:a16="http://schemas.microsoft.com/office/drawing/2014/main" id="{F1F99845-067D-05A9-24EA-9D86C4AD5958}"/>
              </a:ext>
            </a:extLst>
          </p:cNvPr>
          <p:cNvCxnSpPr>
            <a:cxnSpLocks/>
          </p:cNvCxnSpPr>
          <p:nvPr userDrawn="1"/>
        </p:nvCxnSpPr>
        <p:spPr>
          <a:xfrm>
            <a:off x="4751388"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8F788B8-8FF6-06D9-2AC8-76D6F0E95005}"/>
              </a:ext>
            </a:extLst>
          </p:cNvPr>
          <p:cNvCxnSpPr>
            <a:cxnSpLocks/>
          </p:cNvCxnSpPr>
          <p:nvPr userDrawn="1"/>
        </p:nvCxnSpPr>
        <p:spPr>
          <a:xfrm>
            <a:off x="3883025" y="6280325"/>
            <a:ext cx="137795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D60EB77-47E2-579E-F4CE-6999E5D7C5F2}"/>
              </a:ext>
            </a:extLst>
          </p:cNvPr>
          <p:cNvSpPr txBox="1">
            <a:spLocks noChangeAspect="1"/>
          </p:cNvSpPr>
          <p:nvPr userDrawn="1"/>
        </p:nvSpPr>
        <p:spPr>
          <a:xfrm>
            <a:off x="4306888" y="6296024"/>
            <a:ext cx="286576" cy="584195"/>
          </a:xfrm>
          <a:prstGeom prst="rect">
            <a:avLst/>
          </a:prstGeom>
          <a:noFill/>
        </p:spPr>
        <p:txBody>
          <a:bodyPr wrap="square" rIns="0" rtlCol="0" anchor="ctr">
            <a:noAutofit/>
          </a:bodyPr>
          <a:lstStyle/>
          <a:p>
            <a:pPr algn="r"/>
            <a:fld id="{8A15F205-7D98-4B7A-8DEA-3CCCDE55FD6E}" type="slidenum">
              <a:rPr lang="en-US" sz="900" smtClean="0">
                <a:solidFill>
                  <a:schemeClr val="bg1"/>
                </a:solidFill>
                <a:latin typeface="+mj-lt"/>
                <a:cs typeface="Goldman Sans Regular" panose="020B0603020203020204" pitchFamily="34" charset="0"/>
              </a:rPr>
              <a:pPr algn="r"/>
              <a:t>‹#›</a:t>
            </a:fld>
            <a:endParaRPr lang="en-US" sz="1100">
              <a:solidFill>
                <a:schemeClr val="bg1"/>
              </a:solidFill>
              <a:latin typeface="+mj-lt"/>
              <a:cs typeface="Goldman Sans Regular" panose="020B0603020203020204" pitchFamily="34" charset="0"/>
            </a:endParaRPr>
          </a:p>
        </p:txBody>
      </p:sp>
    </p:spTree>
    <p:extLst>
      <p:ext uri="{BB962C8B-B14F-4D97-AF65-F5344CB8AC3E}">
        <p14:creationId xmlns:p14="http://schemas.microsoft.com/office/powerpoint/2010/main" val="2977562269"/>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24" orient="horz" pos="3906" userDrawn="1">
          <p15:clr>
            <a:srgbClr val="FBAE40"/>
          </p15:clr>
        </p15:guide>
        <p15:guide id="25" orient="horz" pos="867" userDrawn="1">
          <p15:clr>
            <a:srgbClr val="FBAE40"/>
          </p15:clr>
        </p15:guide>
        <p15:guide id="26" orient="horz" pos="2251" userDrawn="1">
          <p15:clr>
            <a:srgbClr val="FBAE40"/>
          </p15:clr>
        </p15:guide>
        <p15:guide id="27" orient="horz" pos="252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x1 Content Slide">
    <p:spTree>
      <p:nvGrpSpPr>
        <p:cNvPr id="1" name=""/>
        <p:cNvGrpSpPr/>
        <p:nvPr/>
      </p:nvGrpSpPr>
      <p:grpSpPr>
        <a:xfrm>
          <a:off x="0" y="0"/>
          <a:ext cx="0" cy="0"/>
          <a:chOff x="0" y="0"/>
          <a:chExt cx="0" cy="0"/>
        </a:xfrm>
      </p:grpSpPr>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sp>
        <p:nvSpPr>
          <p:cNvPr id="2" name="Google Shape;53;p21">
            <a:extLst>
              <a:ext uri="{FF2B5EF4-FFF2-40B4-BE49-F238E27FC236}">
                <a16:creationId xmlns:a16="http://schemas.microsoft.com/office/drawing/2014/main" id="{138331F1-8119-510F-30BA-1F8EC1B71C66}"/>
              </a:ext>
            </a:extLst>
          </p:cNvPr>
          <p:cNvSpPr txBox="1">
            <a:spLocks noGrp="1"/>
          </p:cNvSpPr>
          <p:nvPr>
            <p:ph type="body" idx="22"/>
          </p:nvPr>
        </p:nvSpPr>
        <p:spPr>
          <a:xfrm>
            <a:off x="4751389"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299"/>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16" name="Straight Connector 15">
            <a:extLst>
              <a:ext uri="{FF2B5EF4-FFF2-40B4-BE49-F238E27FC236}">
                <a16:creationId xmlns:a16="http://schemas.microsoft.com/office/drawing/2014/main" id="{3C49D8AA-92E3-7D31-5CFC-96C532E57D61}"/>
              </a:ext>
            </a:extLst>
          </p:cNvPr>
          <p:cNvCxnSpPr>
            <a:cxnSpLocks/>
          </p:cNvCxnSpPr>
          <p:nvPr userDrawn="1"/>
        </p:nvCxnSpPr>
        <p:spPr>
          <a:xfrm>
            <a:off x="475138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6"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7" y="3646218"/>
            <a:ext cx="864234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6" y="3935143"/>
            <a:ext cx="864234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Content Placeholder 4">
            <a:extLst>
              <a:ext uri="{FF2B5EF4-FFF2-40B4-BE49-F238E27FC236}">
                <a16:creationId xmlns:a16="http://schemas.microsoft.com/office/drawing/2014/main" id="{4CB83F76-5048-8D2B-40DA-DFD423E49FF5}"/>
              </a:ext>
            </a:extLst>
          </p:cNvPr>
          <p:cNvSpPr>
            <a:spLocks noGrp="1"/>
          </p:cNvSpPr>
          <p:nvPr>
            <p:ph sz="quarter" idx="28"/>
          </p:nvPr>
        </p:nvSpPr>
        <p:spPr>
          <a:xfrm>
            <a:off x="4751388" y="1384299"/>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5" y="4015454"/>
            <a:ext cx="8642350"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5" name="Straight Connector 4">
            <a:extLst>
              <a:ext uri="{FF2B5EF4-FFF2-40B4-BE49-F238E27FC236}">
                <a16:creationId xmlns:a16="http://schemas.microsoft.com/office/drawing/2014/main" id="{3904E688-3A94-8DCC-520B-DCDA220A59C5}"/>
              </a:ext>
            </a:extLst>
          </p:cNvPr>
          <p:cNvCxnSpPr>
            <a:cxnSpLocks/>
          </p:cNvCxnSpPr>
          <p:nvPr userDrawn="1"/>
        </p:nvCxnSpPr>
        <p:spPr>
          <a:xfrm>
            <a:off x="3883025" y="6280325"/>
            <a:ext cx="137795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7A90963-F014-310C-094A-7ED3D9479049}"/>
              </a:ext>
            </a:extLst>
          </p:cNvPr>
          <p:cNvSpPr txBox="1">
            <a:spLocks noChangeAspect="1"/>
          </p:cNvSpPr>
          <p:nvPr userDrawn="1"/>
        </p:nvSpPr>
        <p:spPr>
          <a:xfrm>
            <a:off x="4306888" y="6296024"/>
            <a:ext cx="286576" cy="584195"/>
          </a:xfrm>
          <a:prstGeom prst="rect">
            <a:avLst/>
          </a:prstGeom>
          <a:noFill/>
        </p:spPr>
        <p:txBody>
          <a:bodyPr wrap="square" rIns="0" rtlCol="0" anchor="ctr">
            <a:noAutofit/>
          </a:bodyPr>
          <a:lstStyle/>
          <a:p>
            <a:pPr algn="r"/>
            <a:fld id="{8A15F205-7D98-4B7A-8DEA-3CCCDE55FD6E}" type="slidenum">
              <a:rPr lang="en-US" sz="900" smtClean="0">
                <a:solidFill>
                  <a:schemeClr val="bg1"/>
                </a:solidFill>
                <a:latin typeface="+mj-lt"/>
                <a:cs typeface="Goldman Sans Regular" panose="020B0603020203020204" pitchFamily="34" charset="0"/>
              </a:rPr>
              <a:pPr algn="r"/>
              <a:t>‹#›</a:t>
            </a:fld>
            <a:endParaRPr lang="en-US" sz="1100">
              <a:solidFill>
                <a:schemeClr val="bg1"/>
              </a:solidFill>
              <a:latin typeface="+mj-lt"/>
              <a:cs typeface="Goldman Sans Regular" panose="020B0603020203020204" pitchFamily="34" charset="0"/>
            </a:endParaRPr>
          </a:p>
        </p:txBody>
      </p:sp>
    </p:spTree>
    <p:extLst>
      <p:ext uri="{BB962C8B-B14F-4D97-AF65-F5344CB8AC3E}">
        <p14:creationId xmlns:p14="http://schemas.microsoft.com/office/powerpoint/2010/main" val="843728401"/>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19" orient="horz" pos="2523" userDrawn="1">
          <p15:clr>
            <a:srgbClr val="FBAE40"/>
          </p15:clr>
        </p15:guide>
        <p15:guide id="22" orient="horz" pos="867" userDrawn="1">
          <p15:clr>
            <a:srgbClr val="FBAE40"/>
          </p15:clr>
        </p15:guide>
        <p15:guide id="24" orient="horz" pos="390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x2 Content Slide">
    <p:spTree>
      <p:nvGrpSpPr>
        <p:cNvPr id="1" name=""/>
        <p:cNvGrpSpPr/>
        <p:nvPr/>
      </p:nvGrpSpPr>
      <p:grpSpPr>
        <a:xfrm>
          <a:off x="0" y="0"/>
          <a:ext cx="0" cy="0"/>
          <a:chOff x="0" y="0"/>
          <a:chExt cx="0" cy="0"/>
        </a:xfrm>
      </p:grpSpPr>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4" y="1384299"/>
            <a:ext cx="8642349"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6" y="1016000"/>
            <a:ext cx="8642345"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6" y="1304925"/>
            <a:ext cx="864234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7"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6"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5" y="4015454"/>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5" name="Content Placeholder 4">
            <a:extLst>
              <a:ext uri="{FF2B5EF4-FFF2-40B4-BE49-F238E27FC236}">
                <a16:creationId xmlns:a16="http://schemas.microsoft.com/office/drawing/2014/main" id="{67473D30-D304-DC63-643D-824F5B4A2F77}"/>
              </a:ext>
            </a:extLst>
          </p:cNvPr>
          <p:cNvSpPr>
            <a:spLocks noGrp="1"/>
          </p:cNvSpPr>
          <p:nvPr>
            <p:ph sz="quarter" idx="30"/>
          </p:nvPr>
        </p:nvSpPr>
        <p:spPr>
          <a:xfrm>
            <a:off x="4751388" y="4015454"/>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7" name="Google Shape;53;p21">
            <a:extLst>
              <a:ext uri="{FF2B5EF4-FFF2-40B4-BE49-F238E27FC236}">
                <a16:creationId xmlns:a16="http://schemas.microsoft.com/office/drawing/2014/main" id="{16066008-2BE6-0C46-C911-28D9B559BC17}"/>
              </a:ext>
            </a:extLst>
          </p:cNvPr>
          <p:cNvSpPr txBox="1">
            <a:spLocks noGrp="1"/>
          </p:cNvSpPr>
          <p:nvPr>
            <p:ph type="body" idx="31"/>
          </p:nvPr>
        </p:nvSpPr>
        <p:spPr>
          <a:xfrm>
            <a:off x="4751389"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8" name="Straight Connector 27">
            <a:extLst>
              <a:ext uri="{FF2B5EF4-FFF2-40B4-BE49-F238E27FC236}">
                <a16:creationId xmlns:a16="http://schemas.microsoft.com/office/drawing/2014/main" id="{F1F99845-067D-05A9-24EA-9D86C4AD5958}"/>
              </a:ext>
            </a:extLst>
          </p:cNvPr>
          <p:cNvCxnSpPr>
            <a:cxnSpLocks/>
          </p:cNvCxnSpPr>
          <p:nvPr userDrawn="1"/>
        </p:nvCxnSpPr>
        <p:spPr>
          <a:xfrm>
            <a:off x="4751388"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9435E3A5-D281-9597-14C0-3AF3152DDE0B}"/>
              </a:ext>
            </a:extLst>
          </p:cNvPr>
          <p:cNvCxnSpPr>
            <a:cxnSpLocks/>
          </p:cNvCxnSpPr>
          <p:nvPr userDrawn="1"/>
        </p:nvCxnSpPr>
        <p:spPr>
          <a:xfrm>
            <a:off x="3883025" y="6280325"/>
            <a:ext cx="137795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0451119-49D8-5808-CAED-7F810A62BE75}"/>
              </a:ext>
            </a:extLst>
          </p:cNvPr>
          <p:cNvSpPr txBox="1">
            <a:spLocks noChangeAspect="1"/>
          </p:cNvSpPr>
          <p:nvPr userDrawn="1"/>
        </p:nvSpPr>
        <p:spPr>
          <a:xfrm>
            <a:off x="4306888" y="6296024"/>
            <a:ext cx="286576" cy="584195"/>
          </a:xfrm>
          <a:prstGeom prst="rect">
            <a:avLst/>
          </a:prstGeom>
          <a:noFill/>
        </p:spPr>
        <p:txBody>
          <a:bodyPr wrap="square" rIns="0" rtlCol="0" anchor="ctr">
            <a:noAutofit/>
          </a:bodyPr>
          <a:lstStyle/>
          <a:p>
            <a:pPr algn="r"/>
            <a:fld id="{8A15F205-7D98-4B7A-8DEA-3CCCDE55FD6E}" type="slidenum">
              <a:rPr lang="en-US" sz="900" smtClean="0">
                <a:solidFill>
                  <a:schemeClr val="bg1"/>
                </a:solidFill>
                <a:latin typeface="+mj-lt"/>
                <a:cs typeface="Goldman Sans Regular" panose="020B0603020203020204" pitchFamily="34" charset="0"/>
              </a:rPr>
              <a:pPr algn="r"/>
              <a:t>‹#›</a:t>
            </a:fld>
            <a:endParaRPr lang="en-US" sz="1100">
              <a:solidFill>
                <a:schemeClr val="bg1"/>
              </a:solidFill>
              <a:latin typeface="+mj-lt"/>
              <a:cs typeface="Goldman Sans Regular" panose="020B0603020203020204" pitchFamily="34" charset="0"/>
            </a:endParaRPr>
          </a:p>
        </p:txBody>
      </p:sp>
    </p:spTree>
    <p:extLst>
      <p:ext uri="{BB962C8B-B14F-4D97-AF65-F5344CB8AC3E}">
        <p14:creationId xmlns:p14="http://schemas.microsoft.com/office/powerpoint/2010/main" val="3495220734"/>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19" orient="horz" pos="2523" userDrawn="1">
          <p15:clr>
            <a:srgbClr val="FBAE40"/>
          </p15:clr>
        </p15:guide>
        <p15:guide id="22" orient="horz" pos="867" userDrawn="1">
          <p15:clr>
            <a:srgbClr val="FBAE40"/>
          </p15:clr>
        </p15:guide>
        <p15:guide id="24" orient="horz" pos="3906" userDrawn="1">
          <p15:clr>
            <a:srgbClr val="FBAE40"/>
          </p15:clr>
        </p15:guide>
        <p15:guide id="25" orient="horz" pos="225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x1 Content Slide (Horizontal)">
    <p:spTree>
      <p:nvGrpSpPr>
        <p:cNvPr id="1" name=""/>
        <p:cNvGrpSpPr/>
        <p:nvPr/>
      </p:nvGrpSpPr>
      <p:grpSpPr>
        <a:xfrm>
          <a:off x="0" y="0"/>
          <a:ext cx="0" cy="0"/>
          <a:chOff x="0" y="0"/>
          <a:chExt cx="0" cy="0"/>
        </a:xfrm>
      </p:grpSpPr>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4" y="1384299"/>
            <a:ext cx="8642349"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6" y="1016000"/>
            <a:ext cx="8642345"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6" y="1304925"/>
            <a:ext cx="864234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6" y="3646218"/>
            <a:ext cx="8642345"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6" y="3935143"/>
            <a:ext cx="864234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4" y="4015454"/>
            <a:ext cx="8642349"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2" name="Straight Connector 1">
            <a:extLst>
              <a:ext uri="{FF2B5EF4-FFF2-40B4-BE49-F238E27FC236}">
                <a16:creationId xmlns:a16="http://schemas.microsoft.com/office/drawing/2014/main" id="{5C830122-DE53-A350-9680-A572C14E4A46}"/>
              </a:ext>
            </a:extLst>
          </p:cNvPr>
          <p:cNvCxnSpPr>
            <a:cxnSpLocks/>
          </p:cNvCxnSpPr>
          <p:nvPr userDrawn="1"/>
        </p:nvCxnSpPr>
        <p:spPr>
          <a:xfrm>
            <a:off x="3883025" y="6280325"/>
            <a:ext cx="137795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F77AE70-0F63-9879-EC89-7FC78D6E99AC}"/>
              </a:ext>
            </a:extLst>
          </p:cNvPr>
          <p:cNvSpPr txBox="1">
            <a:spLocks noChangeAspect="1"/>
          </p:cNvSpPr>
          <p:nvPr userDrawn="1"/>
        </p:nvSpPr>
        <p:spPr>
          <a:xfrm>
            <a:off x="4306888" y="6296024"/>
            <a:ext cx="286576" cy="584195"/>
          </a:xfrm>
          <a:prstGeom prst="rect">
            <a:avLst/>
          </a:prstGeom>
          <a:noFill/>
        </p:spPr>
        <p:txBody>
          <a:bodyPr wrap="square" rIns="0" rtlCol="0" anchor="ctr">
            <a:noAutofit/>
          </a:bodyPr>
          <a:lstStyle/>
          <a:p>
            <a:pPr algn="r"/>
            <a:fld id="{8A15F205-7D98-4B7A-8DEA-3CCCDE55FD6E}" type="slidenum">
              <a:rPr lang="en-US" sz="900" smtClean="0">
                <a:solidFill>
                  <a:schemeClr val="bg1"/>
                </a:solidFill>
                <a:latin typeface="+mj-lt"/>
                <a:cs typeface="Goldman Sans Regular" panose="020B0603020203020204" pitchFamily="34" charset="0"/>
              </a:rPr>
              <a:pPr algn="r"/>
              <a:t>‹#›</a:t>
            </a:fld>
            <a:endParaRPr lang="en-US" sz="1100">
              <a:solidFill>
                <a:schemeClr val="bg1"/>
              </a:solidFill>
              <a:latin typeface="+mj-lt"/>
              <a:cs typeface="Goldman Sans Regular" panose="020B0603020203020204" pitchFamily="34" charset="0"/>
            </a:endParaRPr>
          </a:p>
        </p:txBody>
      </p:sp>
    </p:spTree>
    <p:extLst>
      <p:ext uri="{BB962C8B-B14F-4D97-AF65-F5344CB8AC3E}">
        <p14:creationId xmlns:p14="http://schemas.microsoft.com/office/powerpoint/2010/main" val="1516031984"/>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8" orient="horz" pos="2251" userDrawn="1">
          <p15:clr>
            <a:srgbClr val="FBAE40"/>
          </p15:clr>
        </p15:guide>
        <p15:guide id="19" orient="horz" pos="2523" userDrawn="1">
          <p15:clr>
            <a:srgbClr val="FBAE40"/>
          </p15:clr>
        </p15:guide>
        <p15:guide id="22" orient="horz" pos="867" userDrawn="1">
          <p15:clr>
            <a:srgbClr val="FBAE40"/>
          </p15:clr>
        </p15:guide>
        <p15:guide id="24" orient="horz" pos="390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1x1 Content Slide (Horizontal)">
    <p:spTree>
      <p:nvGrpSpPr>
        <p:cNvPr id="1" name=""/>
        <p:cNvGrpSpPr/>
        <p:nvPr/>
      </p:nvGrpSpPr>
      <p:grpSpPr>
        <a:xfrm>
          <a:off x="0" y="0"/>
          <a:ext cx="0" cy="0"/>
          <a:chOff x="0" y="0"/>
          <a:chExt cx="0" cy="0"/>
        </a:xfrm>
      </p:grpSpPr>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6" y="3646218"/>
            <a:ext cx="8642345"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6" y="3935143"/>
            <a:ext cx="864234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4" y="4015454"/>
            <a:ext cx="8642349"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2" name="Straight Connector 1">
            <a:extLst>
              <a:ext uri="{FF2B5EF4-FFF2-40B4-BE49-F238E27FC236}">
                <a16:creationId xmlns:a16="http://schemas.microsoft.com/office/drawing/2014/main" id="{5C830122-DE53-A350-9680-A572C14E4A46}"/>
              </a:ext>
            </a:extLst>
          </p:cNvPr>
          <p:cNvCxnSpPr>
            <a:cxnSpLocks/>
          </p:cNvCxnSpPr>
          <p:nvPr userDrawn="1"/>
        </p:nvCxnSpPr>
        <p:spPr>
          <a:xfrm>
            <a:off x="3883025" y="6280325"/>
            <a:ext cx="137795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F77AE70-0F63-9879-EC89-7FC78D6E99AC}"/>
              </a:ext>
            </a:extLst>
          </p:cNvPr>
          <p:cNvSpPr txBox="1">
            <a:spLocks noChangeAspect="1"/>
          </p:cNvSpPr>
          <p:nvPr userDrawn="1"/>
        </p:nvSpPr>
        <p:spPr>
          <a:xfrm>
            <a:off x="4306888" y="6296024"/>
            <a:ext cx="286576" cy="584195"/>
          </a:xfrm>
          <a:prstGeom prst="rect">
            <a:avLst/>
          </a:prstGeom>
          <a:noFill/>
        </p:spPr>
        <p:txBody>
          <a:bodyPr wrap="square" rIns="0" rtlCol="0" anchor="ctr">
            <a:noAutofit/>
          </a:bodyPr>
          <a:lstStyle/>
          <a:p>
            <a:pPr algn="r"/>
            <a:fld id="{8A15F205-7D98-4B7A-8DEA-3CCCDE55FD6E}" type="slidenum">
              <a:rPr lang="en-US" sz="900" smtClean="0">
                <a:solidFill>
                  <a:schemeClr val="bg1"/>
                </a:solidFill>
                <a:latin typeface="+mj-lt"/>
                <a:cs typeface="Goldman Sans Regular" panose="020B0603020203020204" pitchFamily="34" charset="0"/>
              </a:rPr>
              <a:pPr algn="r"/>
              <a:t>‹#›</a:t>
            </a:fld>
            <a:endParaRPr lang="en-US" sz="1100">
              <a:solidFill>
                <a:schemeClr val="bg1"/>
              </a:solidFill>
              <a:latin typeface="+mj-lt"/>
              <a:cs typeface="Goldman Sans Regular" panose="020B0603020203020204" pitchFamily="34" charset="0"/>
            </a:endParaRPr>
          </a:p>
        </p:txBody>
      </p:sp>
    </p:spTree>
    <p:extLst>
      <p:ext uri="{BB962C8B-B14F-4D97-AF65-F5344CB8AC3E}">
        <p14:creationId xmlns:p14="http://schemas.microsoft.com/office/powerpoint/2010/main" val="1573005759"/>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8" orient="horz" pos="2251" userDrawn="1">
          <p15:clr>
            <a:srgbClr val="FBAE40"/>
          </p15:clr>
        </p15:guide>
        <p15:guide id="19" orient="horz" pos="2523" userDrawn="1">
          <p15:clr>
            <a:srgbClr val="FBAE40"/>
          </p15:clr>
        </p15:guide>
        <p15:guide id="22" orient="horz" pos="867" userDrawn="1">
          <p15:clr>
            <a:srgbClr val="FBAE40"/>
          </p15:clr>
        </p15:guide>
        <p15:guide id="24" orient="horz" pos="390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x1 Content Slide (Vertical)">
    <p:spTree>
      <p:nvGrpSpPr>
        <p:cNvPr id="1" name=""/>
        <p:cNvGrpSpPr/>
        <p:nvPr/>
      </p:nvGrpSpPr>
      <p:grpSpPr>
        <a:xfrm>
          <a:off x="0" y="0"/>
          <a:ext cx="0" cy="0"/>
          <a:chOff x="0" y="0"/>
          <a:chExt cx="0" cy="0"/>
        </a:xfrm>
      </p:grpSpPr>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sp>
        <p:nvSpPr>
          <p:cNvPr id="2" name="Google Shape;53;p21">
            <a:extLst>
              <a:ext uri="{FF2B5EF4-FFF2-40B4-BE49-F238E27FC236}">
                <a16:creationId xmlns:a16="http://schemas.microsoft.com/office/drawing/2014/main" id="{138331F1-8119-510F-30BA-1F8EC1B71C66}"/>
              </a:ext>
            </a:extLst>
          </p:cNvPr>
          <p:cNvSpPr txBox="1">
            <a:spLocks noGrp="1"/>
          </p:cNvSpPr>
          <p:nvPr>
            <p:ph type="body" idx="22"/>
          </p:nvPr>
        </p:nvSpPr>
        <p:spPr>
          <a:xfrm>
            <a:off x="4751389"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299"/>
            <a:ext cx="4141788" cy="480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16" name="Straight Connector 15">
            <a:extLst>
              <a:ext uri="{FF2B5EF4-FFF2-40B4-BE49-F238E27FC236}">
                <a16:creationId xmlns:a16="http://schemas.microsoft.com/office/drawing/2014/main" id="{3C49D8AA-92E3-7D31-5CFC-96C532E57D61}"/>
              </a:ext>
            </a:extLst>
          </p:cNvPr>
          <p:cNvCxnSpPr>
            <a:cxnSpLocks/>
          </p:cNvCxnSpPr>
          <p:nvPr userDrawn="1"/>
        </p:nvCxnSpPr>
        <p:spPr>
          <a:xfrm>
            <a:off x="475138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6"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Content Placeholder 4">
            <a:extLst>
              <a:ext uri="{FF2B5EF4-FFF2-40B4-BE49-F238E27FC236}">
                <a16:creationId xmlns:a16="http://schemas.microsoft.com/office/drawing/2014/main" id="{4CB83F76-5048-8D2B-40DA-DFD423E49FF5}"/>
              </a:ext>
            </a:extLst>
          </p:cNvPr>
          <p:cNvSpPr>
            <a:spLocks noGrp="1"/>
          </p:cNvSpPr>
          <p:nvPr>
            <p:ph sz="quarter" idx="28"/>
          </p:nvPr>
        </p:nvSpPr>
        <p:spPr>
          <a:xfrm>
            <a:off x="4751388" y="1384299"/>
            <a:ext cx="4141788" cy="480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5" name="Straight Connector 4">
            <a:extLst>
              <a:ext uri="{FF2B5EF4-FFF2-40B4-BE49-F238E27FC236}">
                <a16:creationId xmlns:a16="http://schemas.microsoft.com/office/drawing/2014/main" id="{6FB2FC43-8BEC-E22A-8755-20A7508AA201}"/>
              </a:ext>
            </a:extLst>
          </p:cNvPr>
          <p:cNvCxnSpPr>
            <a:cxnSpLocks/>
          </p:cNvCxnSpPr>
          <p:nvPr userDrawn="1"/>
        </p:nvCxnSpPr>
        <p:spPr>
          <a:xfrm>
            <a:off x="3883025" y="6280325"/>
            <a:ext cx="137795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38F725F-2049-3633-F8CD-6590650F101D}"/>
              </a:ext>
            </a:extLst>
          </p:cNvPr>
          <p:cNvSpPr txBox="1">
            <a:spLocks noChangeAspect="1"/>
          </p:cNvSpPr>
          <p:nvPr userDrawn="1"/>
        </p:nvSpPr>
        <p:spPr>
          <a:xfrm>
            <a:off x="4306888" y="6296024"/>
            <a:ext cx="286576" cy="584195"/>
          </a:xfrm>
          <a:prstGeom prst="rect">
            <a:avLst/>
          </a:prstGeom>
          <a:noFill/>
        </p:spPr>
        <p:txBody>
          <a:bodyPr wrap="square" rIns="0" rtlCol="0" anchor="ctr">
            <a:noAutofit/>
          </a:bodyPr>
          <a:lstStyle/>
          <a:p>
            <a:pPr algn="r"/>
            <a:fld id="{8A15F205-7D98-4B7A-8DEA-3CCCDE55FD6E}" type="slidenum">
              <a:rPr lang="en-US" sz="900" smtClean="0">
                <a:solidFill>
                  <a:schemeClr val="bg1"/>
                </a:solidFill>
                <a:latin typeface="+mj-lt"/>
                <a:cs typeface="Goldman Sans Regular" panose="020B0603020203020204" pitchFamily="34" charset="0"/>
              </a:rPr>
              <a:pPr algn="r"/>
              <a:t>‹#›</a:t>
            </a:fld>
            <a:endParaRPr lang="en-US" sz="1100">
              <a:solidFill>
                <a:schemeClr val="bg1"/>
              </a:solidFill>
              <a:latin typeface="+mj-lt"/>
              <a:cs typeface="Goldman Sans Regular" panose="020B0603020203020204" pitchFamily="34" charset="0"/>
            </a:endParaRPr>
          </a:p>
        </p:txBody>
      </p:sp>
    </p:spTree>
    <p:extLst>
      <p:ext uri="{BB962C8B-B14F-4D97-AF65-F5344CB8AC3E}">
        <p14:creationId xmlns:p14="http://schemas.microsoft.com/office/powerpoint/2010/main" val="1221552074"/>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22" orient="horz" pos="867" userDrawn="1">
          <p15:clr>
            <a:srgbClr val="FBAE40"/>
          </p15:clr>
        </p15:guide>
        <p15:guide id="24" orient="horz" pos="390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3" name="Picture 22" descr="A green bag with handles&#10;&#10;AI-generated content may be incorrect.">
            <a:extLst>
              <a:ext uri="{FF2B5EF4-FFF2-40B4-BE49-F238E27FC236}">
                <a16:creationId xmlns:a16="http://schemas.microsoft.com/office/drawing/2014/main" id="{9C722079-65A3-F3A5-3451-03AB86AB537E}"/>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338571" y="6311896"/>
            <a:ext cx="466858" cy="501439"/>
          </a:xfrm>
          <a:prstGeom prst="rect">
            <a:avLst/>
          </a:prstGeom>
        </p:spPr>
      </p:pic>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a:t>Master Tit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Level 1</a:t>
            </a:r>
          </a:p>
          <a:p>
            <a:pPr lvl="1"/>
            <a:r>
              <a:rPr lang="en-US"/>
              <a:t>Level 2</a:t>
            </a:r>
          </a:p>
          <a:p>
            <a:pPr lvl="2"/>
            <a:r>
              <a:rPr lang="en-US"/>
              <a:t>Level 3</a:t>
            </a:r>
          </a:p>
          <a:p>
            <a:pPr lvl="3"/>
            <a:r>
              <a:rPr lang="en-US"/>
              <a:t>Level 4</a:t>
            </a:r>
          </a:p>
          <a:p>
            <a:pPr lvl="4"/>
            <a:r>
              <a:rPr lang="en-US"/>
              <a:t>Level 5</a:t>
            </a:r>
          </a:p>
        </p:txBody>
      </p:sp>
      <p:sp>
        <p:nvSpPr>
          <p:cNvPr id="8" name="Date Placeholder 7">
            <a:extLst>
              <a:ext uri="{FF2B5EF4-FFF2-40B4-BE49-F238E27FC236}">
                <a16:creationId xmlns:a16="http://schemas.microsoft.com/office/drawing/2014/main" id="{D812E4C5-967F-4468-9D64-7C21F0F98D40}"/>
              </a:ext>
            </a:extLst>
          </p:cNvPr>
          <p:cNvSpPr>
            <a:spLocks noGrp="1"/>
          </p:cNvSpPr>
          <p:nvPr>
            <p:ph type="dt" sz="half" idx="2"/>
          </p:nvPr>
        </p:nvSpPr>
        <p:spPr>
          <a:xfrm>
            <a:off x="628650" y="6356354"/>
            <a:ext cx="20574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fld id="{368A9EC3-EB35-4F5D-A481-D043DD8BAC84}" type="datetimeFigureOut">
              <a:rPr lang="en-US" smtClean="0"/>
              <a:pPr/>
              <a:t>4/2/2025</a:t>
            </a:fld>
            <a:endParaRPr lang="en-US"/>
          </a:p>
        </p:txBody>
      </p:sp>
      <p:sp>
        <p:nvSpPr>
          <p:cNvPr id="9" name="Footer Placeholder 8">
            <a:extLst>
              <a:ext uri="{FF2B5EF4-FFF2-40B4-BE49-F238E27FC236}">
                <a16:creationId xmlns:a16="http://schemas.microsoft.com/office/drawing/2014/main" id="{CC3C1695-E68D-41C7-86C7-181E28280176}"/>
              </a:ext>
            </a:extLst>
          </p:cNvPr>
          <p:cNvSpPr>
            <a:spLocks noGrp="1"/>
          </p:cNvSpPr>
          <p:nvPr>
            <p:ph type="ftr" sz="quarter" idx="3"/>
          </p:nvPr>
        </p:nvSpPr>
        <p:spPr>
          <a:xfrm>
            <a:off x="3028950" y="6356354"/>
            <a:ext cx="3086100" cy="365125"/>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endParaRPr lang="en-US"/>
          </a:p>
        </p:txBody>
      </p:sp>
      <p:sp>
        <p:nvSpPr>
          <p:cNvPr id="10" name="Slide Number Placeholder 9">
            <a:extLst>
              <a:ext uri="{FF2B5EF4-FFF2-40B4-BE49-F238E27FC236}">
                <a16:creationId xmlns:a16="http://schemas.microsoft.com/office/drawing/2014/main" id="{5C547560-5BA1-421D-911E-18D76B3441D6}"/>
              </a:ext>
            </a:extLst>
          </p:cNvPr>
          <p:cNvSpPr>
            <a:spLocks noGrp="1"/>
          </p:cNvSpPr>
          <p:nvPr>
            <p:ph type="sldNum" sz="quarter" idx="4"/>
          </p:nvPr>
        </p:nvSpPr>
        <p:spPr>
          <a:xfrm>
            <a:off x="6457950" y="6356354"/>
            <a:ext cx="2057400" cy="365125"/>
          </a:xfrm>
          <a:prstGeom prst="rect">
            <a:avLst/>
          </a:prstGeom>
        </p:spPr>
        <p:txBody>
          <a:bodyPr vert="horz" lIns="91440" tIns="45720" rIns="91440" bIns="45720" rtlCol="0" anchor="ctr"/>
          <a:lstStyle>
            <a:lvl1pPr algn="r">
              <a:defRPr sz="1200">
                <a:solidFill>
                  <a:schemeClr val="tx1">
                    <a:tint val="75000"/>
                  </a:schemeClr>
                </a:solidFill>
                <a:latin typeface="+mj-lt"/>
                <a:cs typeface="Goldman Sans Thin" panose="020B0303020203020204" pitchFamily="34" charset="0"/>
              </a:defRPr>
            </a:lvl1pPr>
          </a:lstStyle>
          <a:p>
            <a:fld id="{1B80B332-6B81-4811-A13B-2B89943A5333}" type="slidenum">
              <a:rPr lang="en-US" smtClean="0"/>
              <a:pPr/>
              <a:t>‹#›</a:t>
            </a:fld>
            <a:endParaRPr lang="en-US"/>
          </a:p>
        </p:txBody>
      </p:sp>
      <p:sp>
        <p:nvSpPr>
          <p:cNvPr id="4" name="Rectangle 3">
            <a:extLst>
              <a:ext uri="{FF2B5EF4-FFF2-40B4-BE49-F238E27FC236}">
                <a16:creationId xmlns:a16="http://schemas.microsoft.com/office/drawing/2014/main" id="{A3E98B7F-4DAA-1283-5D39-68D4AEAFC324}"/>
              </a:ext>
            </a:extLst>
          </p:cNvPr>
          <p:cNvSpPr/>
          <p:nvPr userDrawn="1"/>
        </p:nvSpPr>
        <p:spPr>
          <a:xfrm>
            <a:off x="-1963480" y="0"/>
            <a:ext cx="1842977" cy="5341120"/>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900">
              <a:solidFill>
                <a:schemeClr val="tx1"/>
              </a:solidFill>
              <a:latin typeface="+mj-lt"/>
            </a:endParaRPr>
          </a:p>
        </p:txBody>
      </p:sp>
      <p:graphicFrame>
        <p:nvGraphicFramePr>
          <p:cNvPr id="6" name="Table 8">
            <a:extLst>
              <a:ext uri="{FF2B5EF4-FFF2-40B4-BE49-F238E27FC236}">
                <a16:creationId xmlns:a16="http://schemas.microsoft.com/office/drawing/2014/main" id="{AC2C8BEE-05CE-E164-CC60-9DCF360E0523}"/>
              </a:ext>
            </a:extLst>
          </p:cNvPr>
          <p:cNvGraphicFramePr>
            <a:graphicFrameLocks/>
          </p:cNvGraphicFramePr>
          <p:nvPr userDrawn="1">
            <p:extLst>
              <p:ext uri="{D42A27DB-BD31-4B8C-83A1-F6EECF244321}">
                <p14:modId xmlns:p14="http://schemas.microsoft.com/office/powerpoint/2010/main" val="244758716"/>
              </p:ext>
            </p:extLst>
          </p:nvPr>
        </p:nvGraphicFramePr>
        <p:xfrm>
          <a:off x="-1757915" y="141441"/>
          <a:ext cx="1500518" cy="251460"/>
        </p:xfrm>
        <a:graphic>
          <a:graphicData uri="http://schemas.openxmlformats.org/drawingml/2006/table">
            <a:tbl>
              <a:tblPr firstRow="1" bandRow="1">
                <a:tableStyleId>{5C22544A-7EE6-4342-B048-85BDC9FD1C3A}</a:tableStyleId>
              </a:tblPr>
              <a:tblGrid>
                <a:gridCol w="1500518">
                  <a:extLst>
                    <a:ext uri="{9D8B030D-6E8A-4147-A177-3AD203B41FA5}">
                      <a16:colId xmlns:a16="http://schemas.microsoft.com/office/drawing/2014/main" val="3437084154"/>
                    </a:ext>
                  </a:extLst>
                </a:gridCol>
              </a:tblGrid>
              <a:tr h="0">
                <a:tc>
                  <a:txBody>
                    <a:bodyPr/>
                    <a:lstStyle/>
                    <a:p>
                      <a:r>
                        <a:rPr lang="en-US" sz="1050" b="1">
                          <a:solidFill>
                            <a:schemeClr val="tx2"/>
                          </a:solidFill>
                          <a:latin typeface="+mj-lt"/>
                        </a:rPr>
                        <a:t>Font </a:t>
                      </a:r>
                      <a:r>
                        <a:rPr lang="en-US" sz="1050" b="1" err="1">
                          <a:solidFill>
                            <a:schemeClr val="tx2"/>
                          </a:solidFill>
                          <a:latin typeface="+mj-lt"/>
                        </a:rPr>
                        <a:t>Colours</a:t>
                      </a:r>
                      <a:endParaRPr lang="en-CA" sz="105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Rectangle 6">
            <a:extLst>
              <a:ext uri="{FF2B5EF4-FFF2-40B4-BE49-F238E27FC236}">
                <a16:creationId xmlns:a16="http://schemas.microsoft.com/office/drawing/2014/main" id="{35AEC9A5-A30E-99DB-F0F9-CC2A83CEBFB0}"/>
              </a:ext>
            </a:extLst>
          </p:cNvPr>
          <p:cNvSpPr/>
          <p:nvPr userDrawn="1"/>
        </p:nvSpPr>
        <p:spPr>
          <a:xfrm>
            <a:off x="-1757916" y="484662"/>
            <a:ext cx="623775" cy="6237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0</a:t>
            </a:r>
          </a:p>
          <a:p>
            <a:pPr algn="ctr"/>
            <a:r>
              <a:rPr lang="en-US" sz="1050"/>
              <a:t>0</a:t>
            </a:r>
          </a:p>
          <a:p>
            <a:pPr algn="ctr"/>
            <a:r>
              <a:rPr lang="en-US" sz="1050"/>
              <a:t>0</a:t>
            </a:r>
          </a:p>
        </p:txBody>
      </p:sp>
      <p:sp>
        <p:nvSpPr>
          <p:cNvPr id="12" name="TextBox 11">
            <a:extLst>
              <a:ext uri="{FF2B5EF4-FFF2-40B4-BE49-F238E27FC236}">
                <a16:creationId xmlns:a16="http://schemas.microsoft.com/office/drawing/2014/main" id="{44718FC3-D108-23F3-F8EC-696452B21295}"/>
              </a:ext>
            </a:extLst>
          </p:cNvPr>
          <p:cNvSpPr txBox="1"/>
          <p:nvPr userDrawn="1"/>
        </p:nvSpPr>
        <p:spPr>
          <a:xfrm>
            <a:off x="-1793360" y="1156213"/>
            <a:ext cx="694661" cy="253916"/>
          </a:xfrm>
          <a:prstGeom prst="rect">
            <a:avLst/>
          </a:prstGeom>
          <a:noFill/>
        </p:spPr>
        <p:txBody>
          <a:bodyPr wrap="square" rtlCol="0">
            <a:spAutoFit/>
          </a:bodyPr>
          <a:lstStyle/>
          <a:p>
            <a:pPr algn="ctr"/>
            <a:r>
              <a:rPr lang="en-US" sz="1050"/>
              <a:t>General</a:t>
            </a:r>
            <a:endParaRPr lang="en-CA" sz="1050"/>
          </a:p>
        </p:txBody>
      </p:sp>
      <p:sp>
        <p:nvSpPr>
          <p:cNvPr id="13" name="Rectangle 12">
            <a:extLst>
              <a:ext uri="{FF2B5EF4-FFF2-40B4-BE49-F238E27FC236}">
                <a16:creationId xmlns:a16="http://schemas.microsoft.com/office/drawing/2014/main" id="{D14F1B15-4C5A-BD8F-A30A-BD19EEDF4B53}"/>
              </a:ext>
            </a:extLst>
          </p:cNvPr>
          <p:cNvSpPr/>
          <p:nvPr userDrawn="1"/>
        </p:nvSpPr>
        <p:spPr>
          <a:xfrm>
            <a:off x="-881172" y="484662"/>
            <a:ext cx="623775" cy="623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16</a:t>
            </a:r>
          </a:p>
          <a:p>
            <a:pPr algn="ctr"/>
            <a:r>
              <a:rPr lang="en-US" sz="1050"/>
              <a:t>44</a:t>
            </a:r>
          </a:p>
          <a:p>
            <a:pPr algn="ctr"/>
            <a:r>
              <a:rPr lang="en-US" sz="1050"/>
              <a:t>35</a:t>
            </a:r>
          </a:p>
        </p:txBody>
      </p:sp>
      <p:sp>
        <p:nvSpPr>
          <p:cNvPr id="14" name="TextBox 13">
            <a:extLst>
              <a:ext uri="{FF2B5EF4-FFF2-40B4-BE49-F238E27FC236}">
                <a16:creationId xmlns:a16="http://schemas.microsoft.com/office/drawing/2014/main" id="{50A98D96-C95C-34D5-0119-DA7D722BF98C}"/>
              </a:ext>
            </a:extLst>
          </p:cNvPr>
          <p:cNvSpPr txBox="1"/>
          <p:nvPr userDrawn="1"/>
        </p:nvSpPr>
        <p:spPr>
          <a:xfrm>
            <a:off x="-916616" y="1156213"/>
            <a:ext cx="694661" cy="253916"/>
          </a:xfrm>
          <a:prstGeom prst="rect">
            <a:avLst/>
          </a:prstGeom>
          <a:noFill/>
        </p:spPr>
        <p:txBody>
          <a:bodyPr wrap="square" rtlCol="0">
            <a:spAutoFit/>
          </a:bodyPr>
          <a:lstStyle/>
          <a:p>
            <a:pPr algn="ctr"/>
            <a:r>
              <a:rPr lang="en-US" sz="1050" err="1"/>
              <a:t>Colour</a:t>
            </a:r>
            <a:endParaRPr lang="en-CA" sz="1050"/>
          </a:p>
        </p:txBody>
      </p:sp>
      <p:graphicFrame>
        <p:nvGraphicFramePr>
          <p:cNvPr id="15" name="Table 8">
            <a:extLst>
              <a:ext uri="{FF2B5EF4-FFF2-40B4-BE49-F238E27FC236}">
                <a16:creationId xmlns:a16="http://schemas.microsoft.com/office/drawing/2014/main" id="{670A8C97-741E-2B82-1217-8F2BC954A4DD}"/>
              </a:ext>
            </a:extLst>
          </p:cNvPr>
          <p:cNvGraphicFramePr>
            <a:graphicFrameLocks/>
          </p:cNvGraphicFramePr>
          <p:nvPr userDrawn="1">
            <p:extLst>
              <p:ext uri="{D42A27DB-BD31-4B8C-83A1-F6EECF244321}">
                <p14:modId xmlns:p14="http://schemas.microsoft.com/office/powerpoint/2010/main" val="3776632960"/>
              </p:ext>
            </p:extLst>
          </p:nvPr>
        </p:nvGraphicFramePr>
        <p:xfrm>
          <a:off x="-1757915" y="1500662"/>
          <a:ext cx="1500518" cy="251460"/>
        </p:xfrm>
        <a:graphic>
          <a:graphicData uri="http://schemas.openxmlformats.org/drawingml/2006/table">
            <a:tbl>
              <a:tblPr firstRow="1" bandRow="1">
                <a:tableStyleId>{5C22544A-7EE6-4342-B048-85BDC9FD1C3A}</a:tableStyleId>
              </a:tblPr>
              <a:tblGrid>
                <a:gridCol w="1500518">
                  <a:extLst>
                    <a:ext uri="{9D8B030D-6E8A-4147-A177-3AD203B41FA5}">
                      <a16:colId xmlns:a16="http://schemas.microsoft.com/office/drawing/2014/main" val="3437084154"/>
                    </a:ext>
                  </a:extLst>
                </a:gridCol>
              </a:tblGrid>
              <a:tr h="0">
                <a:tc>
                  <a:txBody>
                    <a:bodyPr/>
                    <a:lstStyle/>
                    <a:p>
                      <a:r>
                        <a:rPr lang="en-US" sz="1050" b="1" err="1">
                          <a:solidFill>
                            <a:schemeClr val="tx2"/>
                          </a:solidFill>
                          <a:latin typeface="+mj-lt"/>
                        </a:rPr>
                        <a:t>Colours</a:t>
                      </a:r>
                      <a:endParaRPr lang="en-CA" sz="105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17" name="TextBox 16">
            <a:extLst>
              <a:ext uri="{FF2B5EF4-FFF2-40B4-BE49-F238E27FC236}">
                <a16:creationId xmlns:a16="http://schemas.microsoft.com/office/drawing/2014/main" id="{686F4546-CD9C-FAF7-D157-367198FCCFC5}"/>
              </a:ext>
            </a:extLst>
          </p:cNvPr>
          <p:cNvSpPr txBox="1"/>
          <p:nvPr userDrawn="1"/>
        </p:nvSpPr>
        <p:spPr>
          <a:xfrm>
            <a:off x="-1793360" y="2514206"/>
            <a:ext cx="694661" cy="253916"/>
          </a:xfrm>
          <a:prstGeom prst="rect">
            <a:avLst/>
          </a:prstGeom>
          <a:noFill/>
        </p:spPr>
        <p:txBody>
          <a:bodyPr wrap="square" rtlCol="0">
            <a:spAutoFit/>
          </a:bodyPr>
          <a:lstStyle/>
          <a:p>
            <a:pPr algn="ctr"/>
            <a:r>
              <a:rPr lang="en-US" sz="1050"/>
              <a:t>Primary</a:t>
            </a:r>
            <a:endParaRPr lang="en-CA" sz="1050"/>
          </a:p>
        </p:txBody>
      </p:sp>
      <p:sp>
        <p:nvSpPr>
          <p:cNvPr id="18" name="Rectangle 17">
            <a:extLst>
              <a:ext uri="{FF2B5EF4-FFF2-40B4-BE49-F238E27FC236}">
                <a16:creationId xmlns:a16="http://schemas.microsoft.com/office/drawing/2014/main" id="{5ED42EC4-8947-9721-80D1-EE1CA1F5A265}"/>
              </a:ext>
            </a:extLst>
          </p:cNvPr>
          <p:cNvSpPr/>
          <p:nvPr userDrawn="1"/>
        </p:nvSpPr>
        <p:spPr>
          <a:xfrm>
            <a:off x="-1757918" y="1842655"/>
            <a:ext cx="623775" cy="623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16</a:t>
            </a:r>
          </a:p>
          <a:p>
            <a:pPr algn="ctr"/>
            <a:r>
              <a:rPr lang="en-US" sz="1050"/>
              <a:t>44</a:t>
            </a:r>
          </a:p>
          <a:p>
            <a:pPr algn="ctr"/>
            <a:r>
              <a:rPr lang="en-US" sz="1050"/>
              <a:t>35</a:t>
            </a:r>
          </a:p>
        </p:txBody>
      </p:sp>
      <p:sp>
        <p:nvSpPr>
          <p:cNvPr id="19" name="TextBox 18">
            <a:extLst>
              <a:ext uri="{FF2B5EF4-FFF2-40B4-BE49-F238E27FC236}">
                <a16:creationId xmlns:a16="http://schemas.microsoft.com/office/drawing/2014/main" id="{AED6A09F-12BA-D7F4-2ABC-B96450364D82}"/>
              </a:ext>
            </a:extLst>
          </p:cNvPr>
          <p:cNvSpPr txBox="1"/>
          <p:nvPr userDrawn="1"/>
        </p:nvSpPr>
        <p:spPr>
          <a:xfrm>
            <a:off x="-989556" y="2514206"/>
            <a:ext cx="840540" cy="415498"/>
          </a:xfrm>
          <a:prstGeom prst="rect">
            <a:avLst/>
          </a:prstGeom>
          <a:noFill/>
        </p:spPr>
        <p:txBody>
          <a:bodyPr wrap="square" rtlCol="0">
            <a:spAutoFit/>
          </a:bodyPr>
          <a:lstStyle/>
          <a:p>
            <a:pPr algn="ctr"/>
            <a:r>
              <a:rPr lang="en-US" sz="1050"/>
              <a:t>Secondary</a:t>
            </a:r>
            <a:endParaRPr lang="en-CA" sz="1050"/>
          </a:p>
        </p:txBody>
      </p:sp>
      <p:sp>
        <p:nvSpPr>
          <p:cNvPr id="20" name="Rectangle 19">
            <a:extLst>
              <a:ext uri="{FF2B5EF4-FFF2-40B4-BE49-F238E27FC236}">
                <a16:creationId xmlns:a16="http://schemas.microsoft.com/office/drawing/2014/main" id="{5EC362E1-6B32-9857-8DA7-1B92BF9B60D5}"/>
              </a:ext>
            </a:extLst>
          </p:cNvPr>
          <p:cNvSpPr/>
          <p:nvPr userDrawn="1"/>
        </p:nvSpPr>
        <p:spPr>
          <a:xfrm>
            <a:off x="-881172" y="1842655"/>
            <a:ext cx="623775" cy="6237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63</a:t>
            </a:r>
          </a:p>
          <a:p>
            <a:pPr algn="ctr"/>
            <a:r>
              <a:rPr lang="en-US" sz="1050"/>
              <a:t>104</a:t>
            </a:r>
          </a:p>
          <a:p>
            <a:pPr algn="ctr"/>
            <a:r>
              <a:rPr lang="en-US" sz="1050"/>
              <a:t>94</a:t>
            </a:r>
          </a:p>
        </p:txBody>
      </p:sp>
      <p:sp>
        <p:nvSpPr>
          <p:cNvPr id="22" name="TextBox 21">
            <a:extLst>
              <a:ext uri="{FF2B5EF4-FFF2-40B4-BE49-F238E27FC236}">
                <a16:creationId xmlns:a16="http://schemas.microsoft.com/office/drawing/2014/main" id="{C4206984-2D8C-7BE3-8259-EE4E72C938F5}"/>
              </a:ext>
            </a:extLst>
          </p:cNvPr>
          <p:cNvSpPr txBox="1"/>
          <p:nvPr userDrawn="1"/>
        </p:nvSpPr>
        <p:spPr>
          <a:xfrm>
            <a:off x="-1828093" y="3530206"/>
            <a:ext cx="764127" cy="415498"/>
          </a:xfrm>
          <a:prstGeom prst="rect">
            <a:avLst/>
          </a:prstGeom>
          <a:noFill/>
        </p:spPr>
        <p:txBody>
          <a:bodyPr wrap="square" rtlCol="0">
            <a:spAutoFit/>
          </a:bodyPr>
          <a:lstStyle/>
          <a:p>
            <a:pPr algn="ctr"/>
            <a:r>
              <a:rPr lang="en-US" sz="1050"/>
              <a:t>Accent 1</a:t>
            </a:r>
            <a:endParaRPr lang="en-CA" sz="1050"/>
          </a:p>
        </p:txBody>
      </p:sp>
      <p:sp>
        <p:nvSpPr>
          <p:cNvPr id="28" name="Rectangle 27">
            <a:extLst>
              <a:ext uri="{FF2B5EF4-FFF2-40B4-BE49-F238E27FC236}">
                <a16:creationId xmlns:a16="http://schemas.microsoft.com/office/drawing/2014/main" id="{10FBCB18-432E-6447-D0DF-A685A45E862C}"/>
              </a:ext>
            </a:extLst>
          </p:cNvPr>
          <p:cNvSpPr/>
          <p:nvPr userDrawn="1"/>
        </p:nvSpPr>
        <p:spPr>
          <a:xfrm>
            <a:off x="-1757918" y="2858655"/>
            <a:ext cx="623775" cy="623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0</a:t>
            </a:r>
          </a:p>
          <a:p>
            <a:pPr algn="ctr"/>
            <a:r>
              <a:rPr lang="en-US" sz="1050"/>
              <a:t>136</a:t>
            </a:r>
          </a:p>
          <a:p>
            <a:pPr algn="ctr"/>
            <a:r>
              <a:rPr lang="en-US" sz="1050"/>
              <a:t>100</a:t>
            </a:r>
          </a:p>
        </p:txBody>
      </p:sp>
      <p:sp>
        <p:nvSpPr>
          <p:cNvPr id="31" name="TextBox 30">
            <a:extLst>
              <a:ext uri="{FF2B5EF4-FFF2-40B4-BE49-F238E27FC236}">
                <a16:creationId xmlns:a16="http://schemas.microsoft.com/office/drawing/2014/main" id="{9E1036D1-AFFE-5FD0-7969-CB77700AAA22}"/>
              </a:ext>
            </a:extLst>
          </p:cNvPr>
          <p:cNvSpPr txBox="1"/>
          <p:nvPr userDrawn="1"/>
        </p:nvSpPr>
        <p:spPr>
          <a:xfrm>
            <a:off x="-989556" y="3530206"/>
            <a:ext cx="840540" cy="253916"/>
          </a:xfrm>
          <a:prstGeom prst="rect">
            <a:avLst/>
          </a:prstGeom>
          <a:noFill/>
        </p:spPr>
        <p:txBody>
          <a:bodyPr wrap="square" rtlCol="0">
            <a:spAutoFit/>
          </a:bodyPr>
          <a:lstStyle/>
          <a:p>
            <a:pPr algn="ctr"/>
            <a:r>
              <a:rPr lang="en-US" sz="1050"/>
              <a:t>Accent 2</a:t>
            </a:r>
            <a:endParaRPr lang="en-CA" sz="1050"/>
          </a:p>
        </p:txBody>
      </p:sp>
      <p:sp>
        <p:nvSpPr>
          <p:cNvPr id="32" name="Rectangle 31">
            <a:extLst>
              <a:ext uri="{FF2B5EF4-FFF2-40B4-BE49-F238E27FC236}">
                <a16:creationId xmlns:a16="http://schemas.microsoft.com/office/drawing/2014/main" id="{88B76CD8-7FE4-058C-6212-5BC94606E49D}"/>
              </a:ext>
            </a:extLst>
          </p:cNvPr>
          <p:cNvSpPr/>
          <p:nvPr userDrawn="1"/>
        </p:nvSpPr>
        <p:spPr>
          <a:xfrm>
            <a:off x="-881172" y="2858655"/>
            <a:ext cx="623775" cy="623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tx2"/>
                </a:solidFill>
              </a:rPr>
              <a:t>216</a:t>
            </a:r>
          </a:p>
          <a:p>
            <a:pPr algn="ctr"/>
            <a:r>
              <a:rPr lang="en-US" sz="1050">
                <a:solidFill>
                  <a:schemeClr val="tx2"/>
                </a:solidFill>
              </a:rPr>
              <a:t>250</a:t>
            </a:r>
          </a:p>
          <a:p>
            <a:pPr algn="ctr"/>
            <a:r>
              <a:rPr lang="en-US" sz="1050">
                <a:solidFill>
                  <a:schemeClr val="tx2"/>
                </a:solidFill>
              </a:rPr>
              <a:t>229</a:t>
            </a:r>
          </a:p>
        </p:txBody>
      </p:sp>
      <p:sp>
        <p:nvSpPr>
          <p:cNvPr id="33" name="TextBox 32">
            <a:extLst>
              <a:ext uri="{FF2B5EF4-FFF2-40B4-BE49-F238E27FC236}">
                <a16:creationId xmlns:a16="http://schemas.microsoft.com/office/drawing/2014/main" id="{A3D5112E-70E4-8B13-A206-1E9D20426DF9}"/>
              </a:ext>
            </a:extLst>
          </p:cNvPr>
          <p:cNvSpPr txBox="1"/>
          <p:nvPr userDrawn="1"/>
        </p:nvSpPr>
        <p:spPr>
          <a:xfrm>
            <a:off x="-1828093" y="4546297"/>
            <a:ext cx="764127" cy="253916"/>
          </a:xfrm>
          <a:prstGeom prst="rect">
            <a:avLst/>
          </a:prstGeom>
          <a:noFill/>
        </p:spPr>
        <p:txBody>
          <a:bodyPr wrap="square" rtlCol="0">
            <a:spAutoFit/>
          </a:bodyPr>
          <a:lstStyle/>
          <a:p>
            <a:pPr algn="ctr"/>
            <a:r>
              <a:rPr lang="en-US" sz="1050"/>
              <a:t>Accent 3</a:t>
            </a:r>
            <a:endParaRPr lang="en-CA" sz="1050"/>
          </a:p>
        </p:txBody>
      </p:sp>
      <p:sp>
        <p:nvSpPr>
          <p:cNvPr id="34" name="Rectangle 33">
            <a:extLst>
              <a:ext uri="{FF2B5EF4-FFF2-40B4-BE49-F238E27FC236}">
                <a16:creationId xmlns:a16="http://schemas.microsoft.com/office/drawing/2014/main" id="{D998FE6F-7093-107D-AFC0-A9052EBF2A19}"/>
              </a:ext>
            </a:extLst>
          </p:cNvPr>
          <p:cNvSpPr/>
          <p:nvPr userDrawn="1"/>
        </p:nvSpPr>
        <p:spPr>
          <a:xfrm>
            <a:off x="-1757918" y="3874746"/>
            <a:ext cx="623775" cy="6237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102</a:t>
            </a:r>
          </a:p>
          <a:p>
            <a:pPr algn="ctr"/>
            <a:r>
              <a:rPr lang="en-US" sz="1050"/>
              <a:t>117</a:t>
            </a:r>
          </a:p>
          <a:p>
            <a:pPr algn="ctr"/>
            <a:r>
              <a:rPr lang="en-US" sz="1050"/>
              <a:t>122</a:t>
            </a:r>
          </a:p>
        </p:txBody>
      </p:sp>
      <p:sp>
        <p:nvSpPr>
          <p:cNvPr id="35" name="TextBox 34">
            <a:extLst>
              <a:ext uri="{FF2B5EF4-FFF2-40B4-BE49-F238E27FC236}">
                <a16:creationId xmlns:a16="http://schemas.microsoft.com/office/drawing/2014/main" id="{15B44773-9FF7-8443-845B-14EC81EC1A1D}"/>
              </a:ext>
            </a:extLst>
          </p:cNvPr>
          <p:cNvSpPr txBox="1"/>
          <p:nvPr userDrawn="1"/>
        </p:nvSpPr>
        <p:spPr>
          <a:xfrm>
            <a:off x="-989556" y="4546297"/>
            <a:ext cx="840540" cy="253916"/>
          </a:xfrm>
          <a:prstGeom prst="rect">
            <a:avLst/>
          </a:prstGeom>
          <a:noFill/>
        </p:spPr>
        <p:txBody>
          <a:bodyPr wrap="square" rtlCol="0">
            <a:spAutoFit/>
          </a:bodyPr>
          <a:lstStyle/>
          <a:p>
            <a:pPr algn="ctr"/>
            <a:r>
              <a:rPr lang="en-US" sz="1050"/>
              <a:t>Accent 4</a:t>
            </a:r>
            <a:endParaRPr lang="en-CA" sz="1050"/>
          </a:p>
        </p:txBody>
      </p:sp>
      <p:sp>
        <p:nvSpPr>
          <p:cNvPr id="36" name="Rectangle 35">
            <a:extLst>
              <a:ext uri="{FF2B5EF4-FFF2-40B4-BE49-F238E27FC236}">
                <a16:creationId xmlns:a16="http://schemas.microsoft.com/office/drawing/2014/main" id="{CD384A26-DAD0-C2F5-6F6D-1E99E089B400}"/>
              </a:ext>
            </a:extLst>
          </p:cNvPr>
          <p:cNvSpPr/>
          <p:nvPr userDrawn="1"/>
        </p:nvSpPr>
        <p:spPr>
          <a:xfrm>
            <a:off x="-881172" y="3874746"/>
            <a:ext cx="623775" cy="62377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161</a:t>
            </a:r>
          </a:p>
          <a:p>
            <a:pPr algn="ctr"/>
            <a:r>
              <a:rPr lang="en-US" sz="1050"/>
              <a:t>166</a:t>
            </a:r>
          </a:p>
          <a:p>
            <a:pPr algn="ctr"/>
            <a:r>
              <a:rPr lang="en-US" sz="1050"/>
              <a:t>169</a:t>
            </a:r>
          </a:p>
        </p:txBody>
      </p:sp>
      <p:pic>
        <p:nvPicPr>
          <p:cNvPr id="5" name="Picture 4" descr="A picture containing text, clipart&#10;&#10;Description automatically generated">
            <a:extLst>
              <a:ext uri="{FF2B5EF4-FFF2-40B4-BE49-F238E27FC236}">
                <a16:creationId xmlns:a16="http://schemas.microsoft.com/office/drawing/2014/main" id="{A39148CD-CDE5-CD71-E05F-D413E892AC49}"/>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535161" y="191262"/>
            <a:ext cx="358014" cy="358014"/>
          </a:xfrm>
          <a:prstGeom prst="rect">
            <a:avLst/>
          </a:prstGeom>
        </p:spPr>
      </p:pic>
      <p:sp>
        <p:nvSpPr>
          <p:cNvPr id="16" name="Rectangle 15">
            <a:extLst>
              <a:ext uri="{FF2B5EF4-FFF2-40B4-BE49-F238E27FC236}">
                <a16:creationId xmlns:a16="http://schemas.microsoft.com/office/drawing/2014/main" id="{DE43BD0D-B9C9-2DD7-9533-304F10702F23}"/>
              </a:ext>
            </a:extLst>
          </p:cNvPr>
          <p:cNvSpPr/>
          <p:nvPr userDrawn="1"/>
        </p:nvSpPr>
        <p:spPr>
          <a:xfrm>
            <a:off x="9264503" y="-1"/>
            <a:ext cx="1842977" cy="5341121"/>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900" b="1">
                <a:solidFill>
                  <a:schemeClr val="tx1"/>
                </a:solidFill>
                <a:latin typeface="+mj-lt"/>
              </a:rPr>
              <a:t>Font: Arial</a:t>
            </a:r>
          </a:p>
          <a:p>
            <a:pPr marL="171450" indent="-171450" algn="l">
              <a:buClr>
                <a:schemeClr val="accent1"/>
              </a:buClr>
              <a:buFont typeface="Wingdings" panose="05000000000000000000" pitchFamily="2" charset="2"/>
              <a:buChar char="§"/>
            </a:pPr>
            <a:r>
              <a:rPr lang="en-US" sz="900">
                <a:solidFill>
                  <a:schemeClr val="tx1"/>
                </a:solidFill>
                <a:latin typeface="+mj-lt"/>
              </a:rPr>
              <a:t>Title: 20</a:t>
            </a:r>
          </a:p>
          <a:p>
            <a:pPr marL="171450" indent="-171450" algn="l">
              <a:buClr>
                <a:schemeClr val="accent1"/>
              </a:buClr>
              <a:buFont typeface="Wingdings" panose="05000000000000000000" pitchFamily="2" charset="2"/>
              <a:buChar char="§"/>
            </a:pPr>
            <a:r>
              <a:rPr lang="en-US" sz="900">
                <a:solidFill>
                  <a:schemeClr val="tx1"/>
                </a:solidFill>
                <a:latin typeface="+mj-lt"/>
              </a:rPr>
              <a:t>Subtitle: 14</a:t>
            </a:r>
          </a:p>
          <a:p>
            <a:pPr marL="171450" indent="-171450" algn="l">
              <a:buClr>
                <a:schemeClr val="accent1"/>
              </a:buClr>
              <a:buFont typeface="Wingdings" panose="05000000000000000000" pitchFamily="2" charset="2"/>
              <a:buChar char="§"/>
            </a:pPr>
            <a:r>
              <a:rPr lang="en-US" sz="900">
                <a:solidFill>
                  <a:schemeClr val="tx1"/>
                </a:solidFill>
                <a:latin typeface="+mj-lt"/>
              </a:rPr>
              <a:t>Content Headings: 12</a:t>
            </a:r>
          </a:p>
          <a:p>
            <a:pPr marL="171450" indent="-171450" algn="l">
              <a:buClr>
                <a:schemeClr val="accent1"/>
              </a:buClr>
              <a:buFont typeface="Wingdings" panose="05000000000000000000" pitchFamily="2" charset="2"/>
              <a:buChar char="§"/>
            </a:pPr>
            <a:r>
              <a:rPr lang="en-US" sz="900">
                <a:solidFill>
                  <a:schemeClr val="tx1"/>
                </a:solidFill>
                <a:latin typeface="+mj-lt"/>
              </a:rPr>
              <a:t>General: 9</a:t>
            </a:r>
          </a:p>
          <a:p>
            <a:pPr marL="171450" indent="-171450" algn="l">
              <a:buClr>
                <a:schemeClr val="accent1"/>
              </a:buClr>
              <a:buFont typeface="Wingdings" panose="05000000000000000000" pitchFamily="2" charset="2"/>
              <a:buChar char="§"/>
            </a:pPr>
            <a:r>
              <a:rPr lang="en-US" sz="900">
                <a:solidFill>
                  <a:schemeClr val="tx1"/>
                </a:solidFill>
                <a:latin typeface="+mj-lt"/>
              </a:rPr>
              <a:t>Graphs: 9</a:t>
            </a:r>
          </a:p>
          <a:p>
            <a:pPr algn="l"/>
            <a:endParaRPr lang="en-US" sz="900" b="1">
              <a:solidFill>
                <a:schemeClr val="tx1"/>
              </a:solidFill>
              <a:latin typeface="+mj-lt"/>
            </a:endParaRPr>
          </a:p>
          <a:p>
            <a:pPr algn="l"/>
            <a:r>
              <a:rPr lang="en-US" sz="900" b="1">
                <a:solidFill>
                  <a:schemeClr val="tx1"/>
                </a:solidFill>
                <a:latin typeface="+mj-lt"/>
              </a:rPr>
              <a:t>Dollar Notation</a:t>
            </a:r>
          </a:p>
          <a:p>
            <a:pPr marL="171450" indent="-171450" algn="l">
              <a:buClr>
                <a:schemeClr val="accent1"/>
              </a:buClr>
              <a:buFont typeface="Wingdings" panose="05000000000000000000" pitchFamily="2" charset="2"/>
              <a:buChar char="§"/>
            </a:pPr>
            <a:r>
              <a:rPr lang="en-US" sz="900">
                <a:solidFill>
                  <a:schemeClr val="tx1"/>
                </a:solidFill>
                <a:latin typeface="+mj-lt"/>
              </a:rPr>
              <a:t>General - $#mm and $#bn</a:t>
            </a:r>
          </a:p>
          <a:p>
            <a:pPr marL="171450" indent="-171450" algn="l">
              <a:buClr>
                <a:schemeClr val="accent1"/>
              </a:buClr>
              <a:buFont typeface="Wingdings" panose="05000000000000000000" pitchFamily="2" charset="2"/>
              <a:buChar char="§"/>
            </a:pPr>
            <a:r>
              <a:rPr lang="en-US" sz="900">
                <a:solidFill>
                  <a:schemeClr val="tx1"/>
                </a:solidFill>
                <a:latin typeface="+mj-lt"/>
              </a:rPr>
              <a:t>Currency - US$## and C$##</a:t>
            </a:r>
          </a:p>
          <a:p>
            <a:pPr marL="171450" indent="-171450" algn="l">
              <a:buClr>
                <a:schemeClr val="accent1"/>
              </a:buClr>
              <a:buFont typeface="Wingdings" panose="05000000000000000000" pitchFamily="2" charset="2"/>
              <a:buChar char="§"/>
            </a:pPr>
            <a:r>
              <a:rPr lang="en-US" sz="900">
                <a:solidFill>
                  <a:schemeClr val="tx1"/>
                </a:solidFill>
                <a:latin typeface="+mj-lt"/>
              </a:rPr>
              <a:t>Ranges - $#-#mm (and bn)</a:t>
            </a:r>
          </a:p>
          <a:p>
            <a:pPr marL="171450" indent="-171450" algn="l">
              <a:buClr>
                <a:schemeClr val="accent1"/>
              </a:buClr>
              <a:buFont typeface="Wingdings" panose="05000000000000000000" pitchFamily="2" charset="2"/>
              <a:buChar char="§"/>
            </a:pPr>
            <a:r>
              <a:rPr lang="en-US" sz="900">
                <a:solidFill>
                  <a:schemeClr val="tx1"/>
                </a:solidFill>
                <a:latin typeface="+mj-lt"/>
              </a:rPr>
              <a:t>1 decimal place, 2 for per share</a:t>
            </a:r>
          </a:p>
          <a:p>
            <a:pPr marL="171450" indent="-171450" algn="l">
              <a:buClr>
                <a:schemeClr val="accent1"/>
              </a:buClr>
              <a:buFont typeface="Wingdings" panose="05000000000000000000" pitchFamily="2" charset="2"/>
              <a:buChar char="§"/>
            </a:pPr>
            <a:r>
              <a:rPr lang="en-US" sz="900">
                <a:solidFill>
                  <a:schemeClr val="tx1"/>
                </a:solidFill>
                <a:latin typeface="+mj-lt"/>
              </a:rPr>
              <a:t>General - #,##0.0;(#,##0.0);-</a:t>
            </a:r>
          </a:p>
          <a:p>
            <a:pPr marL="171450" indent="-171450" algn="l">
              <a:buClr>
                <a:schemeClr val="accent1"/>
              </a:buClr>
              <a:buFont typeface="Wingdings" panose="05000000000000000000" pitchFamily="2" charset="2"/>
              <a:buChar char="§"/>
            </a:pPr>
            <a:endParaRPr lang="en-US" sz="900">
              <a:solidFill>
                <a:schemeClr val="tx1"/>
              </a:solidFill>
              <a:latin typeface="+mj-lt"/>
            </a:endParaRPr>
          </a:p>
          <a:p>
            <a:pPr marL="0" indent="0" algn="l">
              <a:buClr>
                <a:schemeClr val="accent1"/>
              </a:buClr>
              <a:buFont typeface="Wingdings" panose="05000000000000000000" pitchFamily="2" charset="2"/>
              <a:buNone/>
            </a:pPr>
            <a:r>
              <a:rPr lang="en-US" sz="900" b="1">
                <a:solidFill>
                  <a:schemeClr val="tx1"/>
                </a:solidFill>
                <a:latin typeface="+mj-lt"/>
              </a:rPr>
              <a:t>Sources and Footnote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Mark footnote with </a:t>
            </a:r>
            <a:r>
              <a:rPr lang="en-US" sz="900" i="1" baseline="30000">
                <a:solidFill>
                  <a:schemeClr val="tx1"/>
                </a:solidFill>
                <a:latin typeface="+mj-lt"/>
              </a:rPr>
              <a:t>(#) </a:t>
            </a:r>
            <a:r>
              <a:rPr lang="en-US" sz="900" i="0" baseline="0">
                <a:solidFill>
                  <a:schemeClr val="tx1"/>
                </a:solidFill>
                <a:latin typeface="+mj-lt"/>
              </a:rPr>
              <a:t>in your text</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i="0" baseline="0">
                <a:solidFill>
                  <a:schemeClr val="tx1"/>
                </a:solidFill>
                <a:latin typeface="+mj-lt"/>
              </a:rPr>
              <a:t>Begin footnote with (#) in the footer and “Sources:” (even if there is only one source)</a:t>
            </a:r>
            <a:endParaRPr lang="en-US" sz="900" i="0" baseline="300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lways pt 7 font siz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Capitalized Cas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No “and” between 2</a:t>
            </a:r>
            <a:r>
              <a:rPr lang="en-US" sz="900" baseline="30000">
                <a:solidFill>
                  <a:schemeClr val="tx1"/>
                </a:solidFill>
                <a:latin typeface="+mj-lt"/>
              </a:rPr>
              <a:t>nd</a:t>
            </a:r>
            <a:r>
              <a:rPr lang="en-US" sz="900">
                <a:solidFill>
                  <a:schemeClr val="tx1"/>
                </a:solidFill>
                <a:latin typeface="+mj-lt"/>
              </a:rPr>
              <a:t> last and last sourc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i.e. (1) Sources: Bloomberg</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900" b="1">
                <a:solidFill>
                  <a:schemeClr val="tx1"/>
                </a:solidFill>
                <a:latin typeface="+mj-lt"/>
              </a:rPr>
              <a:t>Charts and Graph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Font size 9 and Arial 9 (black font)</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Follow number notations abov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Use </a:t>
            </a:r>
            <a:r>
              <a:rPr lang="en-US" sz="900" err="1">
                <a:solidFill>
                  <a:schemeClr val="tx1"/>
                </a:solidFill>
                <a:latin typeface="+mj-lt"/>
              </a:rPr>
              <a:t>TFSIG</a:t>
            </a:r>
            <a:r>
              <a:rPr lang="en-US" sz="900">
                <a:solidFill>
                  <a:schemeClr val="tx1"/>
                </a:solidFill>
                <a:latin typeface="+mj-lt"/>
              </a:rPr>
              <a:t> </a:t>
            </a:r>
            <a:r>
              <a:rPr lang="en-US" sz="900" err="1">
                <a:solidFill>
                  <a:schemeClr val="tx1"/>
                </a:solidFill>
                <a:latin typeface="+mj-lt"/>
              </a:rPr>
              <a:t>colours</a:t>
            </a:r>
            <a:endParaRPr lang="en-US" sz="9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xis lines – Black</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xis tick marks – major and outsid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No horizontal or vertical lines (default grey ones)</a:t>
            </a:r>
          </a:p>
        </p:txBody>
      </p:sp>
    </p:spTree>
    <p:extLst>
      <p:ext uri="{BB962C8B-B14F-4D97-AF65-F5344CB8AC3E}">
        <p14:creationId xmlns:p14="http://schemas.microsoft.com/office/powerpoint/2010/main" val="108896749"/>
      </p:ext>
    </p:extLst>
  </p:cSld>
  <p:clrMap bg1="lt1" tx1="dk1" bg2="lt2" tx2="dk2" accent1="accent1" accent2="accent2" accent3="accent3" accent4="accent4" accent5="accent5" accent6="accent6" hlink="hlink" folHlink="folHlink"/>
  <p:sldLayoutIdLst>
    <p:sldLayoutId id="2147483693" r:id="rId1"/>
    <p:sldLayoutId id="2147483685" r:id="rId2"/>
    <p:sldLayoutId id="2147483679" r:id="rId3"/>
    <p:sldLayoutId id="2147483684" r:id="rId4"/>
    <p:sldLayoutId id="2147483689" r:id="rId5"/>
    <p:sldLayoutId id="2147483690" r:id="rId6"/>
    <p:sldLayoutId id="2147483688" r:id="rId7"/>
    <p:sldLayoutId id="2147483697" r:id="rId8"/>
    <p:sldLayoutId id="2147483691" r:id="rId9"/>
    <p:sldLayoutId id="2147483692" r:id="rId10"/>
    <p:sldLayoutId id="2147483687" r:id="rId11"/>
    <p:sldLayoutId id="2147483683" r:id="rId12"/>
    <p:sldLayoutId id="2147483695" r:id="rId13"/>
    <p:sldLayoutId id="2147483696" r:id="rId14"/>
  </p:sldLayoutIdLst>
  <p:txStyles>
    <p:titleStyle>
      <a:lvl1pPr algn="l" defTabSz="914400" rtl="0" eaLnBrk="1" latinLnBrk="0" hangingPunct="1">
        <a:lnSpc>
          <a:spcPct val="100000"/>
        </a:lnSpc>
        <a:spcBef>
          <a:spcPct val="0"/>
        </a:spcBef>
        <a:buNone/>
        <a:defRPr sz="2000" kern="1200">
          <a:solidFill>
            <a:schemeClr val="accent1"/>
          </a:solidFill>
          <a:latin typeface="+mj-lt"/>
          <a:ea typeface="+mj-ea"/>
          <a:cs typeface="Goldman Sans Bold" panose="020B0803020203020204" pitchFamily="34" charset="0"/>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image" Target="../media/image45.png"/><Relationship Id="rId4" Type="http://schemas.microsoft.com/office/2014/relationships/chartEx" Target="../charts/chartEx1.xml"/></Relationships>
</file>

<file path=ppt/slides/_rels/slide1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_rels/slide15.xml.rels><?xml version="1.0" encoding="UTF-8" standalone="yes"?>
<Relationships xmlns="http://schemas.openxmlformats.org/package/2006/relationships"><Relationship Id="rId3" Type="http://schemas.microsoft.com/office/2014/relationships/chartEx" Target="../charts/chartEx2.xml"/><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49.png"/><Relationship Id="rId5" Type="http://schemas.microsoft.com/office/2014/relationships/chartEx" Target="../charts/chartEx4.xml"/><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18" Type="http://schemas.openxmlformats.org/officeDocument/2006/relationships/image" Target="../media/image19.png"/><Relationship Id="rId26" Type="http://schemas.openxmlformats.org/officeDocument/2006/relationships/image" Target="../media/image27.png"/><Relationship Id="rId3" Type="http://schemas.openxmlformats.org/officeDocument/2006/relationships/image" Target="../media/image4.png"/><Relationship Id="rId21" Type="http://schemas.openxmlformats.org/officeDocument/2006/relationships/image" Target="../media/image22.jpe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png"/><Relationship Id="rId2" Type="http://schemas.openxmlformats.org/officeDocument/2006/relationships/notesSlide" Target="../notesSlides/notesSlide2.xml"/><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png"/><Relationship Id="rId1" Type="http://schemas.openxmlformats.org/officeDocument/2006/relationships/slideLayout" Target="../slideLayouts/slideLayout4.xml"/><Relationship Id="rId6" Type="http://schemas.openxmlformats.org/officeDocument/2006/relationships/image" Target="../media/image7.jpeg"/><Relationship Id="rId11" Type="http://schemas.openxmlformats.org/officeDocument/2006/relationships/image" Target="../media/image12.png"/><Relationship Id="rId24" Type="http://schemas.openxmlformats.org/officeDocument/2006/relationships/image" Target="../media/image25.png"/><Relationship Id="rId5" Type="http://schemas.openxmlformats.org/officeDocument/2006/relationships/image" Target="../media/image6.png"/><Relationship Id="rId15" Type="http://schemas.openxmlformats.org/officeDocument/2006/relationships/image" Target="../media/image16.png"/><Relationship Id="rId23" Type="http://schemas.openxmlformats.org/officeDocument/2006/relationships/image" Target="../media/image24.png"/><Relationship Id="rId28" Type="http://schemas.openxmlformats.org/officeDocument/2006/relationships/image" Target="../media/image29.png"/><Relationship Id="rId10" Type="http://schemas.openxmlformats.org/officeDocument/2006/relationships/image" Target="../media/image11.png"/><Relationship Id="rId19" Type="http://schemas.openxmlformats.org/officeDocument/2006/relationships/image" Target="../media/image20.png"/><Relationship Id="rId4" Type="http://schemas.openxmlformats.org/officeDocument/2006/relationships/image" Target="../media/image5.png"/><Relationship Id="rId9" Type="http://schemas.openxmlformats.org/officeDocument/2006/relationships/image" Target="../media/image10.jpeg"/><Relationship Id="rId14" Type="http://schemas.openxmlformats.org/officeDocument/2006/relationships/image" Target="../media/image15.jpeg"/><Relationship Id="rId22" Type="http://schemas.openxmlformats.org/officeDocument/2006/relationships/image" Target="../media/image23.png"/><Relationship Id="rId27" Type="http://schemas.openxmlformats.org/officeDocument/2006/relationships/image" Target="../media/image28.png"/><Relationship Id="rId30" Type="http://schemas.openxmlformats.org/officeDocument/2006/relationships/image" Target="../media/image31.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5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chart" Target="../charts/chart21.xml"/><Relationship Id="rId4" Type="http://schemas.openxmlformats.org/officeDocument/2006/relationships/chart" Target="../charts/chart20.xml"/></Relationships>
</file>

<file path=ppt/slides/_rels/slide3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5.png"/><Relationship Id="rId2" Type="http://schemas.openxmlformats.org/officeDocument/2006/relationships/image" Target="../media/image57.png"/><Relationship Id="rId1" Type="http://schemas.openxmlformats.org/officeDocument/2006/relationships/slideLayout" Target="../slideLayouts/slideLayout3.xml"/><Relationship Id="rId6" Type="http://schemas.openxmlformats.org/officeDocument/2006/relationships/image" Target="../media/image61.png"/><Relationship Id="rId11" Type="http://schemas.openxmlformats.org/officeDocument/2006/relationships/image" Target="../media/image64.png"/><Relationship Id="rId5" Type="http://schemas.openxmlformats.org/officeDocument/2006/relationships/image" Target="../media/image60.png"/><Relationship Id="rId10" Type="http://schemas.microsoft.com/office/2007/relationships/hdphoto" Target="../media/hdphoto2.wdp"/><Relationship Id="rId4" Type="http://schemas.openxmlformats.org/officeDocument/2006/relationships/image" Target="../media/image59.png"/><Relationship Id="rId9" Type="http://schemas.openxmlformats.org/officeDocument/2006/relationships/image" Target="../media/image63.png"/></Relationships>
</file>

<file path=ppt/slides/_rels/slide3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3.xml"/><Relationship Id="rId4" Type="http://schemas.openxmlformats.org/officeDocument/2006/relationships/hyperlink" Target="https://www.tfsinvestmentgroup.org/tmth"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9.png"/><Relationship Id="rId7" Type="http://schemas.openxmlformats.org/officeDocument/2006/relationships/image" Target="../media/image59.png"/><Relationship Id="rId2" Type="http://schemas.openxmlformats.org/officeDocument/2006/relationships/image" Target="../media/image68.png"/><Relationship Id="rId1" Type="http://schemas.openxmlformats.org/officeDocument/2006/relationships/slideLayout" Target="../slideLayouts/slideLayout3.xml"/><Relationship Id="rId6" Type="http://schemas.openxmlformats.org/officeDocument/2006/relationships/image" Target="../media/image72.png"/><Relationship Id="rId5" Type="http://schemas.openxmlformats.org/officeDocument/2006/relationships/image" Target="../media/image71.png"/><Relationship Id="rId10" Type="http://schemas.openxmlformats.org/officeDocument/2006/relationships/image" Target="../media/image75.png"/><Relationship Id="rId4" Type="http://schemas.openxmlformats.org/officeDocument/2006/relationships/image" Target="../media/image70.png"/><Relationship Id="rId9" Type="http://schemas.openxmlformats.org/officeDocument/2006/relationships/image" Target="../media/image74.png"/></Relationships>
</file>

<file path=ppt/slides/_rels/slide48.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png"/><Relationship Id="rId3" Type="http://schemas.openxmlformats.org/officeDocument/2006/relationships/image" Target="../media/image76.png"/><Relationship Id="rId7" Type="http://schemas.openxmlformats.org/officeDocument/2006/relationships/image" Target="../media/image80.png"/><Relationship Id="rId12" Type="http://schemas.openxmlformats.org/officeDocument/2006/relationships/image" Target="../media/image85.png"/><Relationship Id="rId2" Type="http://schemas.openxmlformats.org/officeDocument/2006/relationships/image" Target="../media/image59.png"/><Relationship Id="rId1" Type="http://schemas.openxmlformats.org/officeDocument/2006/relationships/slideLayout" Target="../slideLayouts/slideLayout3.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s>
</file>

<file path=ppt/slides/_rels/slide4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3.xml"/><Relationship Id="rId4" Type="http://schemas.openxmlformats.org/officeDocument/2006/relationships/image" Target="../media/image36.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3.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5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3.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5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3.xml"/><Relationship Id="rId4" Type="http://schemas.openxmlformats.org/officeDocument/2006/relationships/image" Target="../media/image90.png"/></Relationships>
</file>

<file path=ppt/slides/_rels/slide57.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image" Target="../media/image91.png"/><Relationship Id="rId1" Type="http://schemas.openxmlformats.org/officeDocument/2006/relationships/slideLayout" Target="../slideLayouts/slideLayout3.xml"/><Relationship Id="rId6" Type="http://schemas.openxmlformats.org/officeDocument/2006/relationships/image" Target="../media/image95.png"/><Relationship Id="rId11" Type="http://schemas.openxmlformats.org/officeDocument/2006/relationships/image" Target="../media/image100.png"/><Relationship Id="rId5" Type="http://schemas.openxmlformats.org/officeDocument/2006/relationships/image" Target="../media/image94.png"/><Relationship Id="rId10" Type="http://schemas.openxmlformats.org/officeDocument/2006/relationships/image" Target="../media/image99.png"/><Relationship Id="rId4" Type="http://schemas.openxmlformats.org/officeDocument/2006/relationships/image" Target="../media/image93.png"/><Relationship Id="rId9" Type="http://schemas.openxmlformats.org/officeDocument/2006/relationships/image" Target="../media/image98.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chart" Target="../charts/chart26.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3.xml"/><Relationship Id="rId4" Type="http://schemas.openxmlformats.org/officeDocument/2006/relationships/image" Target="../media/image39.jpeg"/></Relationships>
</file>

<file path=ppt/slides/_rels/slide60.xml.rels><?xml version="1.0" encoding="UTF-8" standalone="yes"?>
<Relationships xmlns="http://schemas.openxmlformats.org/package/2006/relationships"><Relationship Id="rId3" Type="http://schemas.openxmlformats.org/officeDocument/2006/relationships/image" Target="../media/image101.jpeg"/><Relationship Id="rId7" Type="http://schemas.openxmlformats.org/officeDocument/2006/relationships/image" Target="../media/image105.jpe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104.jpeg"/><Relationship Id="rId5" Type="http://schemas.openxmlformats.org/officeDocument/2006/relationships/image" Target="../media/image103.jpeg"/><Relationship Id="rId4" Type="http://schemas.openxmlformats.org/officeDocument/2006/relationships/image" Target="../media/image102.jpe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B107DC08-6476-2539-2F1D-FD0A8AE50D06}"/>
              </a:ext>
            </a:extLst>
          </p:cNvPr>
          <p:cNvPicPr>
            <a:picLocks noGrp="1" noChangeAspect="1"/>
          </p:cNvPicPr>
          <p:nvPr>
            <p:ph type="pic" sz="quarter" idx="10"/>
          </p:nvPr>
        </p:nvPicPr>
        <p:blipFill>
          <a:blip r:embed="rId2"/>
          <a:srcRect/>
          <a:stretch>
            <a:fillRect/>
          </a:stretch>
        </p:blipFill>
        <p:spPr>
          <a:prstGeom prst="rect">
            <a:avLst/>
          </a:prstGeom>
        </p:spPr>
      </p:pic>
      <p:sp>
        <p:nvSpPr>
          <p:cNvPr id="3" name="Text Placeholder 2">
            <a:extLst>
              <a:ext uri="{FF2B5EF4-FFF2-40B4-BE49-F238E27FC236}">
                <a16:creationId xmlns:a16="http://schemas.microsoft.com/office/drawing/2014/main" id="{C7627AD5-E675-BC7E-4624-39AB85727391}"/>
              </a:ext>
            </a:extLst>
          </p:cNvPr>
          <p:cNvSpPr>
            <a:spLocks noGrp="1"/>
          </p:cNvSpPr>
          <p:nvPr>
            <p:ph type="body" sz="quarter" idx="13"/>
          </p:nvPr>
        </p:nvSpPr>
        <p:spPr/>
        <p:txBody>
          <a:bodyPr/>
          <a:lstStyle/>
          <a:p>
            <a:endParaRPr lang="en-CA"/>
          </a:p>
        </p:txBody>
      </p:sp>
      <p:sp>
        <p:nvSpPr>
          <p:cNvPr id="4" name="Title 3">
            <a:extLst>
              <a:ext uri="{FF2B5EF4-FFF2-40B4-BE49-F238E27FC236}">
                <a16:creationId xmlns:a16="http://schemas.microsoft.com/office/drawing/2014/main" id="{6EB4AB8A-6454-80F8-1C77-064DC0507585}"/>
              </a:ext>
            </a:extLst>
          </p:cNvPr>
          <p:cNvSpPr>
            <a:spLocks noGrp="1"/>
          </p:cNvSpPr>
          <p:nvPr>
            <p:ph type="ctrTitle"/>
          </p:nvPr>
        </p:nvSpPr>
        <p:spPr/>
        <p:txBody>
          <a:bodyPr>
            <a:normAutofit fontScale="90000"/>
          </a:bodyPr>
          <a:lstStyle/>
          <a:p>
            <a:r>
              <a:rPr lang="en-US">
                <a:ea typeface="Cambria"/>
                <a:cs typeface="Arial"/>
              </a:rPr>
              <a:t>TFS Investment Group</a:t>
            </a:r>
          </a:p>
        </p:txBody>
      </p:sp>
      <p:sp>
        <p:nvSpPr>
          <p:cNvPr id="5" name="Subtitle 4">
            <a:extLst>
              <a:ext uri="{FF2B5EF4-FFF2-40B4-BE49-F238E27FC236}">
                <a16:creationId xmlns:a16="http://schemas.microsoft.com/office/drawing/2014/main" id="{19EE7C5C-D060-2BF2-2CF7-ED098F566BC9}"/>
              </a:ext>
            </a:extLst>
          </p:cNvPr>
          <p:cNvSpPr>
            <a:spLocks noGrp="1"/>
          </p:cNvSpPr>
          <p:nvPr>
            <p:ph type="subTitle" idx="1"/>
          </p:nvPr>
        </p:nvSpPr>
        <p:spPr/>
        <p:txBody>
          <a:bodyPr/>
          <a:lstStyle/>
          <a:p>
            <a:r>
              <a:rPr lang="en-US"/>
              <a:t>April 2</a:t>
            </a:r>
            <a:r>
              <a:rPr lang="en-US" baseline="30000"/>
              <a:t>nd</a:t>
            </a:r>
            <a:r>
              <a:rPr lang="en-US"/>
              <a:t>, 2025</a:t>
            </a:r>
            <a:endParaRPr lang="en-CA"/>
          </a:p>
        </p:txBody>
      </p:sp>
      <p:sp>
        <p:nvSpPr>
          <p:cNvPr id="6" name="Content Placeholder 5">
            <a:extLst>
              <a:ext uri="{FF2B5EF4-FFF2-40B4-BE49-F238E27FC236}">
                <a16:creationId xmlns:a16="http://schemas.microsoft.com/office/drawing/2014/main" id="{B2A203B2-0A42-E737-D485-B90A1C4491A8}"/>
              </a:ext>
            </a:extLst>
          </p:cNvPr>
          <p:cNvSpPr>
            <a:spLocks noGrp="1"/>
          </p:cNvSpPr>
          <p:nvPr>
            <p:ph sz="quarter" idx="12"/>
          </p:nvPr>
        </p:nvSpPr>
        <p:spPr/>
        <p:txBody>
          <a:bodyPr/>
          <a:lstStyle/>
          <a:p>
            <a:endParaRPr lang="en-CA"/>
          </a:p>
        </p:txBody>
      </p:sp>
      <p:pic>
        <p:nvPicPr>
          <p:cNvPr id="14" name="Picture 13" descr="A picture containing text, clipart&#10;&#10;Description automatically generated">
            <a:extLst>
              <a:ext uri="{FF2B5EF4-FFF2-40B4-BE49-F238E27FC236}">
                <a16:creationId xmlns:a16="http://schemas.microsoft.com/office/drawing/2014/main" id="{52B0D403-ADDD-E394-F0A0-E4B7B06612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35161" y="191262"/>
            <a:ext cx="358014" cy="358014"/>
          </a:xfrm>
          <a:prstGeom prst="rect">
            <a:avLst/>
          </a:prstGeom>
          <a:ln>
            <a:noFill/>
          </a:ln>
        </p:spPr>
      </p:pic>
      <p:sp>
        <p:nvSpPr>
          <p:cNvPr id="15" name="TextBox 14">
            <a:extLst>
              <a:ext uri="{FF2B5EF4-FFF2-40B4-BE49-F238E27FC236}">
                <a16:creationId xmlns:a16="http://schemas.microsoft.com/office/drawing/2014/main" id="{D8F4D551-121A-AD53-7EB9-4ED8FCB0193B}"/>
              </a:ext>
            </a:extLst>
          </p:cNvPr>
          <p:cNvSpPr txBox="1"/>
          <p:nvPr/>
        </p:nvSpPr>
        <p:spPr>
          <a:xfrm>
            <a:off x="6893566" y="253830"/>
            <a:ext cx="1641595" cy="230832"/>
          </a:xfrm>
          <a:prstGeom prst="rect">
            <a:avLst/>
          </a:prstGeom>
          <a:noFill/>
        </p:spPr>
        <p:txBody>
          <a:bodyPr wrap="square" rtlCol="0" anchor="ctr">
            <a:spAutoFit/>
          </a:bodyPr>
          <a:lstStyle/>
          <a:p>
            <a:pPr algn="ctr"/>
            <a:r>
              <a:rPr lang="en-US" sz="900">
                <a:solidFill>
                  <a:schemeClr val="accent1"/>
                </a:solidFill>
              </a:rPr>
              <a:t>TFS INVESTMENT GROUP</a:t>
            </a:r>
            <a:endParaRPr lang="en-CA" sz="900">
              <a:solidFill>
                <a:schemeClr val="accent1"/>
              </a:solidFill>
            </a:endParaRPr>
          </a:p>
        </p:txBody>
      </p:sp>
    </p:spTree>
    <p:extLst>
      <p:ext uri="{BB962C8B-B14F-4D97-AF65-F5344CB8AC3E}">
        <p14:creationId xmlns:p14="http://schemas.microsoft.com/office/powerpoint/2010/main" val="27608295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F3AED8A-6759-0E0B-149E-39A338E228B8}"/>
              </a:ext>
            </a:extLst>
          </p:cNvPr>
          <p:cNvSpPr/>
          <p:nvPr/>
        </p:nvSpPr>
        <p:spPr>
          <a:xfrm>
            <a:off x="3580173" y="1524535"/>
            <a:ext cx="5312997" cy="2020700"/>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sz="900">
              <a:solidFill>
                <a:schemeClr val="tx1"/>
              </a:solidFill>
            </a:endParaRPr>
          </a:p>
        </p:txBody>
      </p:sp>
      <p:sp>
        <p:nvSpPr>
          <p:cNvPr id="2" name="Text Placeholder 1">
            <a:extLst>
              <a:ext uri="{FF2B5EF4-FFF2-40B4-BE49-F238E27FC236}">
                <a16:creationId xmlns:a16="http://schemas.microsoft.com/office/drawing/2014/main" id="{B8FFE6F6-14FC-BEDC-4662-BDD0FDF2F220}"/>
              </a:ext>
            </a:extLst>
          </p:cNvPr>
          <p:cNvSpPr>
            <a:spLocks noGrp="1"/>
          </p:cNvSpPr>
          <p:nvPr>
            <p:ph type="body" sz="quarter" idx="21"/>
          </p:nvPr>
        </p:nvSpPr>
        <p:spPr/>
        <p:txBody>
          <a:bodyPr vert="horz" lIns="91440" tIns="45720" rIns="91440" bIns="45720" rtlCol="0" anchor="t">
            <a:normAutofit/>
          </a:bodyPr>
          <a:lstStyle/>
          <a:p>
            <a:r>
              <a:rPr lang="en-US"/>
              <a:t>Addressing the Elephant in the Room</a:t>
            </a:r>
          </a:p>
        </p:txBody>
      </p:sp>
      <p:sp>
        <p:nvSpPr>
          <p:cNvPr id="4" name="Title 3">
            <a:extLst>
              <a:ext uri="{FF2B5EF4-FFF2-40B4-BE49-F238E27FC236}">
                <a16:creationId xmlns:a16="http://schemas.microsoft.com/office/drawing/2014/main" id="{3419B576-F86B-C8C4-89E5-B7AB0A53B09B}"/>
              </a:ext>
            </a:extLst>
          </p:cNvPr>
          <p:cNvSpPr>
            <a:spLocks noGrp="1"/>
          </p:cNvSpPr>
          <p:nvPr>
            <p:ph type="title"/>
          </p:nvPr>
        </p:nvSpPr>
        <p:spPr/>
        <p:txBody>
          <a:bodyPr/>
          <a:lstStyle/>
          <a:p>
            <a:r>
              <a:rPr lang="en-US"/>
              <a:t>Muddy Waters Short Report</a:t>
            </a:r>
            <a:endParaRPr lang="en-CA"/>
          </a:p>
        </p:txBody>
      </p:sp>
      <p:sp>
        <p:nvSpPr>
          <p:cNvPr id="5" name="Text Placeholder 4">
            <a:extLst>
              <a:ext uri="{FF2B5EF4-FFF2-40B4-BE49-F238E27FC236}">
                <a16:creationId xmlns:a16="http://schemas.microsoft.com/office/drawing/2014/main" id="{92295677-D771-B5BD-C8D8-5261ED9D5024}"/>
              </a:ext>
            </a:extLst>
          </p:cNvPr>
          <p:cNvSpPr>
            <a:spLocks noGrp="1"/>
          </p:cNvSpPr>
          <p:nvPr>
            <p:ph type="body" sz="quarter" idx="13"/>
          </p:nvPr>
        </p:nvSpPr>
        <p:spPr/>
        <p:txBody>
          <a:bodyPr/>
          <a:lstStyle/>
          <a:p>
            <a:r>
              <a:rPr lang="en-US"/>
              <a:t>Source(s): Capital IQ, </a:t>
            </a:r>
            <a:r>
              <a:rPr lang="en-US" err="1"/>
              <a:t>PitchBook</a:t>
            </a:r>
            <a:r>
              <a:rPr lang="en-US"/>
              <a:t>, Bloomberg, Factiva</a:t>
            </a:r>
          </a:p>
          <a:p>
            <a:endParaRPr lang="en-CA"/>
          </a:p>
        </p:txBody>
      </p:sp>
      <p:sp>
        <p:nvSpPr>
          <p:cNvPr id="6" name="Rectangle 5">
            <a:extLst>
              <a:ext uri="{FF2B5EF4-FFF2-40B4-BE49-F238E27FC236}">
                <a16:creationId xmlns:a16="http://schemas.microsoft.com/office/drawing/2014/main" id="{D4946CA1-5075-50E6-D39C-981AC798F57C}"/>
              </a:ext>
            </a:extLst>
          </p:cNvPr>
          <p:cNvSpPr/>
          <p:nvPr/>
        </p:nvSpPr>
        <p:spPr>
          <a:xfrm>
            <a:off x="250824" y="1164771"/>
            <a:ext cx="3058433" cy="304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t>Bearish Remarks from MW</a:t>
            </a:r>
          </a:p>
        </p:txBody>
      </p:sp>
      <p:sp>
        <p:nvSpPr>
          <p:cNvPr id="7" name="Rectangle 6">
            <a:extLst>
              <a:ext uri="{FF2B5EF4-FFF2-40B4-BE49-F238E27FC236}">
                <a16:creationId xmlns:a16="http://schemas.microsoft.com/office/drawing/2014/main" id="{0A325F2A-B25B-0DED-8C8F-C9BBD625D179}"/>
              </a:ext>
            </a:extLst>
          </p:cNvPr>
          <p:cNvSpPr/>
          <p:nvPr/>
        </p:nvSpPr>
        <p:spPr>
          <a:xfrm>
            <a:off x="250821" y="1548228"/>
            <a:ext cx="3058432" cy="2013830"/>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sz="900">
              <a:solidFill>
                <a:schemeClr val="tx1"/>
              </a:solidFill>
            </a:endParaRPr>
          </a:p>
        </p:txBody>
      </p:sp>
      <p:sp>
        <p:nvSpPr>
          <p:cNvPr id="8" name="Rectangle 7">
            <a:extLst>
              <a:ext uri="{FF2B5EF4-FFF2-40B4-BE49-F238E27FC236}">
                <a16:creationId xmlns:a16="http://schemas.microsoft.com/office/drawing/2014/main" id="{1D2DA766-01DE-DD03-DCCF-846BF18E4586}"/>
              </a:ext>
            </a:extLst>
          </p:cNvPr>
          <p:cNvSpPr/>
          <p:nvPr/>
        </p:nvSpPr>
        <p:spPr>
          <a:xfrm>
            <a:off x="245444" y="4502376"/>
            <a:ext cx="3058432" cy="1619061"/>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11" name="Content Placeholder 9">
            <a:extLst>
              <a:ext uri="{FF2B5EF4-FFF2-40B4-BE49-F238E27FC236}">
                <a16:creationId xmlns:a16="http://schemas.microsoft.com/office/drawing/2014/main" id="{65E7BEF1-A9A0-EC1D-B783-15851C599ADF}"/>
              </a:ext>
            </a:extLst>
          </p:cNvPr>
          <p:cNvSpPr txBox="1">
            <a:spLocks/>
          </p:cNvSpPr>
          <p:nvPr/>
        </p:nvSpPr>
        <p:spPr>
          <a:xfrm>
            <a:off x="250822" y="1587914"/>
            <a:ext cx="2998564" cy="1619060"/>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Persistent Identity Graphs (PIGs) allegedly violate user privacy via unauthorized fingerprinting</a:t>
            </a:r>
          </a:p>
          <a:p>
            <a:endParaRPr lang="en-US"/>
          </a:p>
          <a:p>
            <a:r>
              <a:rPr lang="en-US"/>
              <a:t>Revenue claims are overstated, MW thinks the real incremental growth is 25% instead of the 100% APP’s management claims</a:t>
            </a:r>
          </a:p>
          <a:p>
            <a:pPr marL="0" indent="0">
              <a:buNone/>
            </a:pPr>
            <a:endParaRPr lang="en-US"/>
          </a:p>
          <a:p>
            <a:r>
              <a:rPr lang="en-US"/>
              <a:t>Advertiser (client) churn at 23% according to MW, APP management stated almost no churn</a:t>
            </a:r>
          </a:p>
        </p:txBody>
      </p:sp>
      <p:sp>
        <p:nvSpPr>
          <p:cNvPr id="15" name="Content Placeholder 9">
            <a:extLst>
              <a:ext uri="{FF2B5EF4-FFF2-40B4-BE49-F238E27FC236}">
                <a16:creationId xmlns:a16="http://schemas.microsoft.com/office/drawing/2014/main" id="{7A26B6E1-53DB-9722-DEBD-CB2306A0D12C}"/>
              </a:ext>
            </a:extLst>
          </p:cNvPr>
          <p:cNvSpPr txBox="1">
            <a:spLocks/>
          </p:cNvSpPr>
          <p:nvPr/>
        </p:nvSpPr>
        <p:spPr>
          <a:xfrm>
            <a:off x="310691" y="4423719"/>
            <a:ext cx="2998564" cy="843956"/>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a:p>
            <a:r>
              <a:rPr lang="en-US"/>
              <a:t>Terms of service violations from </a:t>
            </a:r>
            <a:r>
              <a:rPr lang="en-US" err="1"/>
              <a:t>AppLovin</a:t>
            </a:r>
            <a:r>
              <a:rPr lang="en-US"/>
              <a:t> may lead to deplatforming from Google, Meta and Apple</a:t>
            </a:r>
          </a:p>
          <a:p>
            <a:r>
              <a:rPr lang="en-US"/>
              <a:t>The retargeting + fingerprinting strategy MW claims can easily be replicated by competitors, thus eliminating differentiation</a:t>
            </a:r>
          </a:p>
        </p:txBody>
      </p:sp>
      <p:cxnSp>
        <p:nvCxnSpPr>
          <p:cNvPr id="17" name="Straight Arrow Connector 16">
            <a:extLst>
              <a:ext uri="{FF2B5EF4-FFF2-40B4-BE49-F238E27FC236}">
                <a16:creationId xmlns:a16="http://schemas.microsoft.com/office/drawing/2014/main" id="{069D0274-526D-9B3B-1AFA-85BA2645412E}"/>
              </a:ext>
            </a:extLst>
          </p:cNvPr>
          <p:cNvCxnSpPr>
            <a:cxnSpLocks/>
          </p:cNvCxnSpPr>
          <p:nvPr/>
        </p:nvCxnSpPr>
        <p:spPr>
          <a:xfrm>
            <a:off x="1749630" y="3604161"/>
            <a:ext cx="0" cy="819558"/>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19" name="Rectangle 18">
            <a:extLst>
              <a:ext uri="{FF2B5EF4-FFF2-40B4-BE49-F238E27FC236}">
                <a16:creationId xmlns:a16="http://schemas.microsoft.com/office/drawing/2014/main" id="{1D8C2A98-98A8-87D2-5F20-05810D7ECBB8}"/>
              </a:ext>
            </a:extLst>
          </p:cNvPr>
          <p:cNvSpPr/>
          <p:nvPr/>
        </p:nvSpPr>
        <p:spPr>
          <a:xfrm>
            <a:off x="3580174" y="1164771"/>
            <a:ext cx="5313001" cy="304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t>What We Make of The MW Claims</a:t>
            </a:r>
          </a:p>
        </p:txBody>
      </p:sp>
      <p:sp>
        <p:nvSpPr>
          <p:cNvPr id="20" name="Content Placeholder 9">
            <a:extLst>
              <a:ext uri="{FF2B5EF4-FFF2-40B4-BE49-F238E27FC236}">
                <a16:creationId xmlns:a16="http://schemas.microsoft.com/office/drawing/2014/main" id="{5F73D322-C56E-077E-CEA9-A5390CEB7323}"/>
              </a:ext>
            </a:extLst>
          </p:cNvPr>
          <p:cNvSpPr txBox="1">
            <a:spLocks/>
          </p:cNvSpPr>
          <p:nvPr/>
        </p:nvSpPr>
        <p:spPr>
          <a:xfrm>
            <a:off x="3580173" y="1592103"/>
            <a:ext cx="5312997" cy="2177861"/>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We think the MW claims in customer acquisition are false (MW claims 25% incremental revenue, we believe 70% based WF’s study)</a:t>
            </a:r>
          </a:p>
          <a:p>
            <a:r>
              <a:rPr lang="en-US"/>
              <a:t>The MW 23% advertiser churn is probable, but offset by the incremental growth and priced in our projections</a:t>
            </a:r>
          </a:p>
          <a:p>
            <a:r>
              <a:rPr lang="en-US"/>
              <a:t>MW fingerprinting and TOS violation claims are easily disproved by comparing the standard practice of Meta Google</a:t>
            </a:r>
          </a:p>
          <a:p>
            <a:r>
              <a:rPr lang="en-US"/>
              <a:t>The only serious MW threat is the TOS violation and the likely outcomes from this are elaborated below</a:t>
            </a:r>
          </a:p>
        </p:txBody>
      </p:sp>
      <p:sp>
        <p:nvSpPr>
          <p:cNvPr id="22" name="Rectangle 21">
            <a:extLst>
              <a:ext uri="{FF2B5EF4-FFF2-40B4-BE49-F238E27FC236}">
                <a16:creationId xmlns:a16="http://schemas.microsoft.com/office/drawing/2014/main" id="{AD4C4200-8D2C-96A8-B82C-FAA3CEA75F3E}"/>
              </a:ext>
            </a:extLst>
          </p:cNvPr>
          <p:cNvSpPr/>
          <p:nvPr/>
        </p:nvSpPr>
        <p:spPr>
          <a:xfrm>
            <a:off x="3580174" y="4197859"/>
            <a:ext cx="2611969" cy="304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t>Regulatory Fines</a:t>
            </a:r>
          </a:p>
        </p:txBody>
      </p:sp>
      <p:sp>
        <p:nvSpPr>
          <p:cNvPr id="23" name="Rectangle 22">
            <a:extLst>
              <a:ext uri="{FF2B5EF4-FFF2-40B4-BE49-F238E27FC236}">
                <a16:creationId xmlns:a16="http://schemas.microsoft.com/office/drawing/2014/main" id="{618B0FF2-6890-ACA9-9340-3573CD6E21CD}"/>
              </a:ext>
            </a:extLst>
          </p:cNvPr>
          <p:cNvSpPr/>
          <p:nvPr/>
        </p:nvSpPr>
        <p:spPr>
          <a:xfrm>
            <a:off x="6383210" y="4198309"/>
            <a:ext cx="2515347" cy="304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t>Deplatorming</a:t>
            </a:r>
          </a:p>
        </p:txBody>
      </p:sp>
      <p:sp>
        <p:nvSpPr>
          <p:cNvPr id="24" name="Rectangle 23">
            <a:extLst>
              <a:ext uri="{FF2B5EF4-FFF2-40B4-BE49-F238E27FC236}">
                <a16:creationId xmlns:a16="http://schemas.microsoft.com/office/drawing/2014/main" id="{FF9E2B43-A852-6782-D0C4-3F4E27137DE2}"/>
              </a:ext>
            </a:extLst>
          </p:cNvPr>
          <p:cNvSpPr/>
          <p:nvPr/>
        </p:nvSpPr>
        <p:spPr>
          <a:xfrm>
            <a:off x="3580173" y="3754963"/>
            <a:ext cx="5313001" cy="304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t>What May Unfold Based on Past Cases</a:t>
            </a:r>
          </a:p>
        </p:txBody>
      </p:sp>
      <p:sp>
        <p:nvSpPr>
          <p:cNvPr id="26" name="Rectangle 25">
            <a:extLst>
              <a:ext uri="{FF2B5EF4-FFF2-40B4-BE49-F238E27FC236}">
                <a16:creationId xmlns:a16="http://schemas.microsoft.com/office/drawing/2014/main" id="{FF777E86-51DE-A14A-FE2F-181E4E8799D4}"/>
              </a:ext>
            </a:extLst>
          </p:cNvPr>
          <p:cNvSpPr/>
          <p:nvPr/>
        </p:nvSpPr>
        <p:spPr>
          <a:xfrm>
            <a:off x="3580173" y="4502659"/>
            <a:ext cx="2611969" cy="1619061"/>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7" name="Rectangle 26">
            <a:extLst>
              <a:ext uri="{FF2B5EF4-FFF2-40B4-BE49-F238E27FC236}">
                <a16:creationId xmlns:a16="http://schemas.microsoft.com/office/drawing/2014/main" id="{6DEE03D9-3224-37BF-6713-E13E1D0B7916}"/>
              </a:ext>
            </a:extLst>
          </p:cNvPr>
          <p:cNvSpPr/>
          <p:nvPr/>
        </p:nvSpPr>
        <p:spPr>
          <a:xfrm>
            <a:off x="6383209" y="4502659"/>
            <a:ext cx="2515348" cy="1619061"/>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8" name="Content Placeholder 10">
            <a:extLst>
              <a:ext uri="{FF2B5EF4-FFF2-40B4-BE49-F238E27FC236}">
                <a16:creationId xmlns:a16="http://schemas.microsoft.com/office/drawing/2014/main" id="{A5223269-01C8-1D88-EFB3-CC5E5839B96E}"/>
              </a:ext>
            </a:extLst>
          </p:cNvPr>
          <p:cNvSpPr txBox="1">
            <a:spLocks/>
          </p:cNvSpPr>
          <p:nvPr/>
        </p:nvSpPr>
        <p:spPr>
          <a:xfrm>
            <a:off x="6383208" y="4304695"/>
            <a:ext cx="2515347" cy="1817025"/>
          </a:xfrm>
          <a:prstGeom prst="rect">
            <a:avLst/>
          </a:prstGeom>
        </p:spPr>
        <p:txBody>
          <a:bodyPr>
            <a:norm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endParaRPr lang="en-US"/>
          </a:p>
          <a:p>
            <a:r>
              <a:rPr lang="en-US"/>
              <a:t>Cheetah Mobile got deplatformed by Facebook and Google (TOS violation), stock collapsed 87% thereafter</a:t>
            </a:r>
          </a:p>
          <a:p>
            <a:r>
              <a:rPr lang="en-US"/>
              <a:t>Zynga got banned from Facebook (TOS violation), stock collapsed 84% within a year</a:t>
            </a:r>
          </a:p>
          <a:p>
            <a:endParaRPr lang="en-US"/>
          </a:p>
          <a:p>
            <a:endParaRPr lang="en-US"/>
          </a:p>
        </p:txBody>
      </p:sp>
      <p:sp>
        <p:nvSpPr>
          <p:cNvPr id="29" name="Content Placeholder 10">
            <a:extLst>
              <a:ext uri="{FF2B5EF4-FFF2-40B4-BE49-F238E27FC236}">
                <a16:creationId xmlns:a16="http://schemas.microsoft.com/office/drawing/2014/main" id="{B18FF6ED-4D44-DA2C-E4F9-E01AAFC314C2}"/>
              </a:ext>
            </a:extLst>
          </p:cNvPr>
          <p:cNvSpPr txBox="1">
            <a:spLocks/>
          </p:cNvSpPr>
          <p:nvPr/>
        </p:nvSpPr>
        <p:spPr>
          <a:xfrm>
            <a:off x="3530257" y="4531968"/>
            <a:ext cx="2611969" cy="2177861"/>
          </a:xfrm>
          <a:prstGeom prst="rect">
            <a:avLst/>
          </a:prstGeom>
        </p:spPr>
        <p:txBody>
          <a:bodyPr>
            <a:norm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riteo got fined (40 millions euros) by French Gov for violating data protection laws ~2.30% of sales for that year (‘23)</a:t>
            </a:r>
          </a:p>
          <a:p>
            <a:r>
              <a:rPr lang="en-US"/>
              <a:t>Facebook $5bn fine in ‘19 for Cambridge Analytica (7.07% of ‘19 sales)</a:t>
            </a:r>
          </a:p>
          <a:p>
            <a:r>
              <a:rPr lang="en-US"/>
              <a:t>Google fined 1.5bn euros by EU in ‘19 for abusive ad tactics (1% of sales for ‘19)</a:t>
            </a:r>
          </a:p>
          <a:p>
            <a:pPr algn="ctr"/>
            <a:endParaRPr lang="en-CA"/>
          </a:p>
        </p:txBody>
      </p:sp>
      <p:cxnSp>
        <p:nvCxnSpPr>
          <p:cNvPr id="32" name="Straight Connector 31">
            <a:extLst>
              <a:ext uri="{FF2B5EF4-FFF2-40B4-BE49-F238E27FC236}">
                <a16:creationId xmlns:a16="http://schemas.microsoft.com/office/drawing/2014/main" id="{D7700483-0A34-6F27-292F-21BCDDDEE087}"/>
              </a:ext>
            </a:extLst>
          </p:cNvPr>
          <p:cNvCxnSpPr/>
          <p:nvPr/>
        </p:nvCxnSpPr>
        <p:spPr>
          <a:xfrm>
            <a:off x="3444547" y="1164771"/>
            <a:ext cx="0" cy="4985951"/>
          </a:xfrm>
          <a:prstGeom prst="line">
            <a:avLst/>
          </a:prstGeom>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605004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FFBD20-9604-5885-FA60-FC7FD877DB3D}"/>
            </a:ext>
          </a:extLst>
        </p:cNvPr>
        <p:cNvGrpSpPr/>
        <p:nvPr/>
      </p:nvGrpSpPr>
      <p:grpSpPr>
        <a:xfrm>
          <a:off x="0" y="0"/>
          <a:ext cx="0" cy="0"/>
          <a:chOff x="0" y="0"/>
          <a:chExt cx="0" cy="0"/>
        </a:xfrm>
      </p:grpSpPr>
      <p:pic>
        <p:nvPicPr>
          <p:cNvPr id="8" name="Picture Placeholder 7" descr="A reception desk in a room&#10;&#10;AI-generated content may be incorrect.">
            <a:extLst>
              <a:ext uri="{FF2B5EF4-FFF2-40B4-BE49-F238E27FC236}">
                <a16:creationId xmlns:a16="http://schemas.microsoft.com/office/drawing/2014/main" id="{64FD7A0E-6827-77A7-F4D4-799EB036F114}"/>
              </a:ext>
            </a:extLst>
          </p:cNvPr>
          <p:cNvPicPr>
            <a:picLocks noGrp="1" noChangeAspect="1"/>
          </p:cNvPicPr>
          <p:nvPr>
            <p:ph type="pic" sz="quarter" idx="10"/>
          </p:nvPr>
        </p:nvPicPr>
        <p:blipFill>
          <a:blip r:embed="rId2"/>
          <a:srcRect l="11000" r="-1" b="-1"/>
          <a:stretch/>
        </p:blipFill>
        <p:spPr>
          <a:xfrm>
            <a:off x="20" y="10"/>
            <a:ext cx="9143980" cy="6857990"/>
          </a:xfrm>
          <a:noFill/>
        </p:spPr>
      </p:pic>
      <p:sp>
        <p:nvSpPr>
          <p:cNvPr id="62" name="Text Placeholder 2">
            <a:extLst>
              <a:ext uri="{FF2B5EF4-FFF2-40B4-BE49-F238E27FC236}">
                <a16:creationId xmlns:a16="http://schemas.microsoft.com/office/drawing/2014/main" id="{89DC2450-1D19-45FB-55A4-33D34D36345C}"/>
              </a:ext>
            </a:extLst>
          </p:cNvPr>
          <p:cNvSpPr>
            <a:spLocks noGrp="1"/>
          </p:cNvSpPr>
          <p:nvPr>
            <p:ph type="body" sz="quarter" idx="13"/>
          </p:nvPr>
        </p:nvSpPr>
        <p:spPr>
          <a:xfrm>
            <a:off x="0" y="5121275"/>
            <a:ext cx="9144000" cy="1736724"/>
          </a:xfrm>
        </p:spPr>
        <p:txBody>
          <a:bodyPr/>
          <a:lstStyle/>
          <a:p>
            <a:endParaRPr lang="en-US"/>
          </a:p>
        </p:txBody>
      </p:sp>
      <p:sp>
        <p:nvSpPr>
          <p:cNvPr id="9" name="Title 8">
            <a:extLst>
              <a:ext uri="{FF2B5EF4-FFF2-40B4-BE49-F238E27FC236}">
                <a16:creationId xmlns:a16="http://schemas.microsoft.com/office/drawing/2014/main" id="{DBBCFE46-171D-3CA1-722B-221D456D2596}"/>
              </a:ext>
            </a:extLst>
          </p:cNvPr>
          <p:cNvSpPr>
            <a:spLocks noGrp="1"/>
          </p:cNvSpPr>
          <p:nvPr>
            <p:ph type="ctrTitle"/>
          </p:nvPr>
        </p:nvSpPr>
        <p:spPr>
          <a:xfrm>
            <a:off x="250825" y="5339798"/>
            <a:ext cx="8642349" cy="810730"/>
          </a:xfrm>
        </p:spPr>
        <p:txBody>
          <a:bodyPr anchor="ctr">
            <a:normAutofit/>
          </a:bodyPr>
          <a:lstStyle/>
          <a:p>
            <a:pPr>
              <a:lnSpc>
                <a:spcPct val="90000"/>
              </a:lnSpc>
            </a:pPr>
            <a:r>
              <a:rPr lang="en-US" sz="5100"/>
              <a:t>Key Statements Analysis</a:t>
            </a:r>
          </a:p>
        </p:txBody>
      </p:sp>
      <p:sp>
        <p:nvSpPr>
          <p:cNvPr id="64" name="Subtitle 4">
            <a:extLst>
              <a:ext uri="{FF2B5EF4-FFF2-40B4-BE49-F238E27FC236}">
                <a16:creationId xmlns:a16="http://schemas.microsoft.com/office/drawing/2014/main" id="{5773805C-9E03-9CC2-BAAA-5BCAFC912690}"/>
              </a:ext>
            </a:extLst>
          </p:cNvPr>
          <p:cNvSpPr>
            <a:spLocks noGrp="1"/>
          </p:cNvSpPr>
          <p:nvPr>
            <p:ph type="subTitle" idx="1"/>
          </p:nvPr>
        </p:nvSpPr>
        <p:spPr>
          <a:xfrm>
            <a:off x="250827" y="6237292"/>
            <a:ext cx="8642348" cy="395287"/>
          </a:xfrm>
        </p:spPr>
        <p:txBody>
          <a:bodyPr/>
          <a:lstStyle/>
          <a:p>
            <a:endParaRPr lang="en-US"/>
          </a:p>
        </p:txBody>
      </p:sp>
      <p:sp>
        <p:nvSpPr>
          <p:cNvPr id="66" name="Content Placeholder 5">
            <a:extLst>
              <a:ext uri="{FF2B5EF4-FFF2-40B4-BE49-F238E27FC236}">
                <a16:creationId xmlns:a16="http://schemas.microsoft.com/office/drawing/2014/main" id="{1AAD6E40-4C42-F79F-929D-B3957203B68E}"/>
              </a:ext>
            </a:extLst>
          </p:cNvPr>
          <p:cNvSpPr>
            <a:spLocks noGrp="1"/>
          </p:cNvSpPr>
          <p:nvPr>
            <p:ph sz="quarter" idx="12"/>
          </p:nvPr>
        </p:nvSpPr>
        <p:spPr>
          <a:xfrm>
            <a:off x="395399" y="6165850"/>
            <a:ext cx="1614097" cy="71438"/>
          </a:xfrm>
        </p:spPr>
        <p:txBody>
          <a:bodyPr/>
          <a:lstStyle/>
          <a:p>
            <a:endParaRPr lang="en-US"/>
          </a:p>
        </p:txBody>
      </p:sp>
    </p:spTree>
    <p:extLst>
      <p:ext uri="{BB962C8B-B14F-4D97-AF65-F5344CB8AC3E}">
        <p14:creationId xmlns:p14="http://schemas.microsoft.com/office/powerpoint/2010/main" val="18797444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6">
            <a:extLst>
              <a:ext uri="{FF2B5EF4-FFF2-40B4-BE49-F238E27FC236}">
                <a16:creationId xmlns:a16="http://schemas.microsoft.com/office/drawing/2014/main" id="{1956A8E8-6EFC-B144-BB49-180D3AFCBB3E}"/>
              </a:ext>
            </a:extLst>
          </p:cNvPr>
          <p:cNvSpPr>
            <a:spLocks noGrp="1"/>
          </p:cNvSpPr>
          <p:nvPr>
            <p:ph type="body" idx="26"/>
          </p:nvPr>
        </p:nvSpPr>
        <p:spPr>
          <a:xfrm>
            <a:off x="250827" y="1016000"/>
            <a:ext cx="4141786" cy="288925"/>
          </a:xfrm>
        </p:spPr>
        <p:txBody>
          <a:bodyPr>
            <a:normAutofit/>
          </a:bodyPr>
          <a:lstStyle/>
          <a:p>
            <a:r>
              <a:rPr lang="en-US"/>
              <a:t>Projected EBITDA </a:t>
            </a:r>
            <a:r>
              <a:rPr lang="en-CA" sz="1200" b="0" i="1">
                <a:solidFill>
                  <a:schemeClr val="tx1"/>
                </a:solidFill>
              </a:rPr>
              <a:t>(in USD mm)</a:t>
            </a:r>
          </a:p>
        </p:txBody>
      </p:sp>
      <p:sp>
        <p:nvSpPr>
          <p:cNvPr id="11" name="Text Placeholder 1">
            <a:extLst>
              <a:ext uri="{FF2B5EF4-FFF2-40B4-BE49-F238E27FC236}">
                <a16:creationId xmlns:a16="http://schemas.microsoft.com/office/drawing/2014/main" id="{7925F6B7-0F6A-731E-E415-82D3D989F3AA}"/>
              </a:ext>
            </a:extLst>
          </p:cNvPr>
          <p:cNvSpPr>
            <a:spLocks noGrp="1"/>
          </p:cNvSpPr>
          <p:nvPr>
            <p:ph type="body" sz="quarter" idx="13"/>
          </p:nvPr>
        </p:nvSpPr>
        <p:spPr>
          <a:xfrm>
            <a:off x="250825" y="6308724"/>
            <a:ext cx="8355774" cy="360357"/>
          </a:xfrm>
        </p:spPr>
        <p:txBody>
          <a:bodyPr/>
          <a:lstStyle/>
          <a:p>
            <a:endParaRPr lang="en-US"/>
          </a:p>
        </p:txBody>
      </p:sp>
      <p:sp>
        <p:nvSpPr>
          <p:cNvPr id="2" name="Text Placeholder 1">
            <a:extLst>
              <a:ext uri="{FF2B5EF4-FFF2-40B4-BE49-F238E27FC236}">
                <a16:creationId xmlns:a16="http://schemas.microsoft.com/office/drawing/2014/main" id="{C34414FD-BF34-93D8-9782-AA5CABCF5315}"/>
              </a:ext>
            </a:extLst>
          </p:cNvPr>
          <p:cNvSpPr>
            <a:spLocks noGrp="1"/>
          </p:cNvSpPr>
          <p:nvPr>
            <p:ph type="body" sz="quarter" idx="21"/>
          </p:nvPr>
        </p:nvSpPr>
        <p:spPr>
          <a:xfrm>
            <a:off x="250825" y="584200"/>
            <a:ext cx="8642350" cy="422275"/>
          </a:xfrm>
        </p:spPr>
        <p:txBody>
          <a:bodyPr vert="horz" lIns="91440" tIns="45720" rIns="91440" bIns="45720" rtlCol="0">
            <a:normAutofit/>
          </a:bodyPr>
          <a:lstStyle/>
          <a:p>
            <a:r>
              <a:rPr lang="en-CA"/>
              <a:t>Accelerating Profitability: Projected EBITDA &amp; EPS Growth Outlook</a:t>
            </a:r>
            <a:endParaRPr lang="en-US"/>
          </a:p>
        </p:txBody>
      </p:sp>
      <p:sp>
        <p:nvSpPr>
          <p:cNvPr id="13" name="Title 3">
            <a:extLst>
              <a:ext uri="{FF2B5EF4-FFF2-40B4-BE49-F238E27FC236}">
                <a16:creationId xmlns:a16="http://schemas.microsoft.com/office/drawing/2014/main" id="{A3758F1C-BF59-051C-B156-1C862E1C7F9D}"/>
              </a:ext>
            </a:extLst>
          </p:cNvPr>
          <p:cNvSpPr>
            <a:spLocks noGrp="1"/>
          </p:cNvSpPr>
          <p:nvPr>
            <p:ph type="title"/>
          </p:nvPr>
        </p:nvSpPr>
        <p:spPr>
          <a:xfrm>
            <a:off x="250825" y="187581"/>
            <a:ext cx="6658698" cy="395751"/>
          </a:xfrm>
        </p:spPr>
        <p:txBody>
          <a:bodyPr/>
          <a:lstStyle/>
          <a:p>
            <a:r>
              <a:rPr lang="en-US"/>
              <a:t>Projected EBITDA and EPS</a:t>
            </a:r>
          </a:p>
        </p:txBody>
      </p:sp>
      <p:sp>
        <p:nvSpPr>
          <p:cNvPr id="15" name="Text Placeholder 4">
            <a:extLst>
              <a:ext uri="{FF2B5EF4-FFF2-40B4-BE49-F238E27FC236}">
                <a16:creationId xmlns:a16="http://schemas.microsoft.com/office/drawing/2014/main" id="{100249F5-303C-04CE-C35A-F6D4AA7182D5}"/>
              </a:ext>
            </a:extLst>
          </p:cNvPr>
          <p:cNvSpPr>
            <a:spLocks noGrp="1"/>
          </p:cNvSpPr>
          <p:nvPr>
            <p:ph type="body" idx="22"/>
          </p:nvPr>
        </p:nvSpPr>
        <p:spPr>
          <a:xfrm>
            <a:off x="4751389" y="1016000"/>
            <a:ext cx="4141786" cy="288925"/>
          </a:xfrm>
        </p:spPr>
        <p:txBody>
          <a:bodyPr/>
          <a:lstStyle/>
          <a:p>
            <a:r>
              <a:rPr lang="en-US"/>
              <a:t>Projected Earnings Per Share</a:t>
            </a:r>
          </a:p>
        </p:txBody>
      </p:sp>
      <p:graphicFrame>
        <p:nvGraphicFramePr>
          <p:cNvPr id="6" name="Chart 5">
            <a:extLst>
              <a:ext uri="{FF2B5EF4-FFF2-40B4-BE49-F238E27FC236}">
                <a16:creationId xmlns:a16="http://schemas.microsoft.com/office/drawing/2014/main" id="{5378A142-CAE1-2C02-22B6-E7B40E0416E7}"/>
              </a:ext>
            </a:extLst>
          </p:cNvPr>
          <p:cNvGraphicFramePr>
            <a:graphicFrameLocks/>
          </p:cNvGraphicFramePr>
          <p:nvPr>
            <p:extLst>
              <p:ext uri="{D42A27DB-BD31-4B8C-83A1-F6EECF244321}">
                <p14:modId xmlns:p14="http://schemas.microsoft.com/office/powerpoint/2010/main" val="3876145931"/>
              </p:ext>
            </p:extLst>
          </p:nvPr>
        </p:nvGraphicFramePr>
        <p:xfrm>
          <a:off x="250825" y="1384299"/>
          <a:ext cx="4141788" cy="4809013"/>
        </p:xfrm>
        <a:graphic>
          <a:graphicData uri="http://schemas.openxmlformats.org/drawingml/2006/chart">
            <c:chart xmlns:c="http://schemas.openxmlformats.org/drawingml/2006/chart" xmlns:r="http://schemas.openxmlformats.org/officeDocument/2006/relationships" r:id="rId3"/>
          </a:graphicData>
        </a:graphic>
      </p:graphicFrame>
      <mc:AlternateContent xmlns:mc="http://schemas.openxmlformats.org/markup-compatibility/2006">
        <mc:Choice xmlns:cx1="http://schemas.microsoft.com/office/drawing/2015/9/8/chartex" Requires="cx1">
          <p:graphicFrame>
            <p:nvGraphicFramePr>
              <p:cNvPr id="9" name="Content Placeholder 8">
                <a:extLst>
                  <a:ext uri="{FF2B5EF4-FFF2-40B4-BE49-F238E27FC236}">
                    <a16:creationId xmlns:a16="http://schemas.microsoft.com/office/drawing/2014/main" id="{AF46ECF5-018E-1654-B717-6152176E90CC}"/>
                  </a:ext>
                </a:extLst>
              </p:cNvPr>
              <p:cNvGraphicFramePr>
                <a:graphicFrameLocks noGrp="1"/>
              </p:cNvGraphicFramePr>
              <p:nvPr>
                <p:ph sz="quarter" idx="28"/>
                <p:extLst>
                  <p:ext uri="{D42A27DB-BD31-4B8C-83A1-F6EECF244321}">
                    <p14:modId xmlns:p14="http://schemas.microsoft.com/office/powerpoint/2010/main" val="829189899"/>
                  </p:ext>
                </p:extLst>
              </p:nvPr>
            </p:nvGraphicFramePr>
            <p:xfrm>
              <a:off x="4751389" y="1384299"/>
              <a:ext cx="4141787" cy="4808538"/>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9" name="Content Placeholder 8">
                <a:extLst>
                  <a:ext uri="{FF2B5EF4-FFF2-40B4-BE49-F238E27FC236}">
                    <a16:creationId xmlns:a16="http://schemas.microsoft.com/office/drawing/2014/main" id="{AF46ECF5-018E-1654-B717-6152176E90CC}"/>
                  </a:ext>
                </a:extLst>
              </p:cNvPr>
              <p:cNvPicPr>
                <a:picLocks noGrp="1" noRot="1" noChangeAspect="1" noMove="1" noResize="1" noEditPoints="1" noAdjustHandles="1" noChangeArrowheads="1" noChangeShapeType="1"/>
              </p:cNvPicPr>
              <p:nvPr/>
            </p:nvPicPr>
            <p:blipFill>
              <a:blip r:embed="rId5"/>
              <a:stretch>
                <a:fillRect/>
              </a:stretch>
            </p:blipFill>
            <p:spPr>
              <a:xfrm>
                <a:off x="4751389" y="1384299"/>
                <a:ext cx="4141787" cy="4808538"/>
              </a:xfrm>
              <a:prstGeom prst="rect">
                <a:avLst/>
              </a:prstGeom>
            </p:spPr>
          </p:pic>
        </mc:Fallback>
      </mc:AlternateContent>
    </p:spTree>
    <p:extLst>
      <p:ext uri="{BB962C8B-B14F-4D97-AF65-F5344CB8AC3E}">
        <p14:creationId xmlns:p14="http://schemas.microsoft.com/office/powerpoint/2010/main" val="19339531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782920F-7F35-6278-0447-AEA32AC8213A}"/>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47BC75E3-0F85-611D-F545-879948E5A26B}"/>
              </a:ext>
            </a:extLst>
          </p:cNvPr>
          <p:cNvSpPr>
            <a:spLocks noGrp="1"/>
          </p:cNvSpPr>
          <p:nvPr>
            <p:ph type="body" sz="quarter" idx="21"/>
          </p:nvPr>
        </p:nvSpPr>
        <p:spPr/>
        <p:txBody>
          <a:bodyPr/>
          <a:lstStyle/>
          <a:p>
            <a:r>
              <a:rPr lang="en-US"/>
              <a:t>Strong Forecasted Growth</a:t>
            </a:r>
          </a:p>
        </p:txBody>
      </p:sp>
      <p:sp>
        <p:nvSpPr>
          <p:cNvPr id="4" name="Title 3">
            <a:extLst>
              <a:ext uri="{FF2B5EF4-FFF2-40B4-BE49-F238E27FC236}">
                <a16:creationId xmlns:a16="http://schemas.microsoft.com/office/drawing/2014/main" id="{02B43A25-29E4-C991-1B53-F018B1F4A080}"/>
              </a:ext>
            </a:extLst>
          </p:cNvPr>
          <p:cNvSpPr>
            <a:spLocks noGrp="1"/>
          </p:cNvSpPr>
          <p:nvPr>
            <p:ph type="title"/>
          </p:nvPr>
        </p:nvSpPr>
        <p:spPr/>
        <p:txBody>
          <a:bodyPr/>
          <a:lstStyle/>
          <a:p>
            <a:r>
              <a:rPr lang="en-CA" b="1">
                <a:solidFill>
                  <a:schemeClr val="tx2"/>
                </a:solidFill>
                <a:cs typeface="Segoe UI" panose="020B0502040204020203" pitchFamily="34" charset="0"/>
              </a:rPr>
              <a:t>Projected Net Income</a:t>
            </a:r>
          </a:p>
        </p:txBody>
      </p:sp>
      <p:sp>
        <p:nvSpPr>
          <p:cNvPr id="2" name="Text Placeholder 1">
            <a:extLst>
              <a:ext uri="{FF2B5EF4-FFF2-40B4-BE49-F238E27FC236}">
                <a16:creationId xmlns:a16="http://schemas.microsoft.com/office/drawing/2014/main" id="{7F6D4255-36F6-EB8D-BD32-F3EE6B6395AB}"/>
              </a:ext>
            </a:extLst>
          </p:cNvPr>
          <p:cNvSpPr>
            <a:spLocks noGrp="1"/>
          </p:cNvSpPr>
          <p:nvPr>
            <p:ph type="body" sz="quarter" idx="13"/>
          </p:nvPr>
        </p:nvSpPr>
        <p:spPr/>
        <p:txBody>
          <a:bodyPr/>
          <a:lstStyle/>
          <a:p>
            <a:endParaRPr lang="en-US"/>
          </a:p>
        </p:txBody>
      </p:sp>
      <p:graphicFrame>
        <p:nvGraphicFramePr>
          <p:cNvPr id="8" name="Chart 7">
            <a:extLst>
              <a:ext uri="{FF2B5EF4-FFF2-40B4-BE49-F238E27FC236}">
                <a16:creationId xmlns:a16="http://schemas.microsoft.com/office/drawing/2014/main" id="{D32D1A77-0C79-FEB7-48EC-42CC2EBE64E8}"/>
              </a:ext>
            </a:extLst>
          </p:cNvPr>
          <p:cNvGraphicFramePr>
            <a:graphicFrameLocks/>
          </p:cNvGraphicFramePr>
          <p:nvPr>
            <p:extLst>
              <p:ext uri="{D42A27DB-BD31-4B8C-83A1-F6EECF244321}">
                <p14:modId xmlns:p14="http://schemas.microsoft.com/office/powerpoint/2010/main" val="1009929900"/>
              </p:ext>
            </p:extLst>
          </p:nvPr>
        </p:nvGraphicFramePr>
        <p:xfrm>
          <a:off x="250824" y="1006475"/>
          <a:ext cx="8642349" cy="5194299"/>
        </p:xfrm>
        <a:graphic>
          <a:graphicData uri="http://schemas.openxmlformats.org/drawingml/2006/chart">
            <c:chart xmlns:c="http://schemas.openxmlformats.org/drawingml/2006/chart" xmlns:r="http://schemas.openxmlformats.org/officeDocument/2006/relationships" r:id="rId2"/>
          </a:graphicData>
        </a:graphic>
      </p:graphicFrame>
      <p:grpSp>
        <p:nvGrpSpPr>
          <p:cNvPr id="13" name="Group 12">
            <a:extLst>
              <a:ext uri="{FF2B5EF4-FFF2-40B4-BE49-F238E27FC236}">
                <a16:creationId xmlns:a16="http://schemas.microsoft.com/office/drawing/2014/main" id="{EF8AB33B-733A-F81D-4C0B-46B9A69AAC71}"/>
              </a:ext>
            </a:extLst>
          </p:cNvPr>
          <p:cNvGrpSpPr/>
          <p:nvPr/>
        </p:nvGrpSpPr>
        <p:grpSpPr>
          <a:xfrm>
            <a:off x="5512299" y="1138243"/>
            <a:ext cx="3380874" cy="2042238"/>
            <a:chOff x="4579300" y="2034831"/>
            <a:chExt cx="3986864" cy="1941850"/>
          </a:xfrm>
        </p:grpSpPr>
        <p:sp>
          <p:nvSpPr>
            <p:cNvPr id="6" name="Rectangle 5">
              <a:extLst>
                <a:ext uri="{FF2B5EF4-FFF2-40B4-BE49-F238E27FC236}">
                  <a16:creationId xmlns:a16="http://schemas.microsoft.com/office/drawing/2014/main" id="{4B7DB092-683D-6256-1958-DDA729BDCC59}"/>
                </a:ext>
              </a:extLst>
            </p:cNvPr>
            <p:cNvSpPr/>
            <p:nvPr/>
          </p:nvSpPr>
          <p:spPr>
            <a:xfrm>
              <a:off x="4579300" y="2034831"/>
              <a:ext cx="3986864" cy="1941850"/>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solidFill>
                  <a:schemeClr val="tx2"/>
                </a:solidFill>
              </a:endParaRPr>
            </a:p>
          </p:txBody>
        </p:sp>
        <p:grpSp>
          <p:nvGrpSpPr>
            <p:cNvPr id="9" name="Group 8">
              <a:extLst>
                <a:ext uri="{FF2B5EF4-FFF2-40B4-BE49-F238E27FC236}">
                  <a16:creationId xmlns:a16="http://schemas.microsoft.com/office/drawing/2014/main" id="{9BE95248-A4BE-F4CA-E189-02FDF4C03AD2}"/>
                </a:ext>
              </a:extLst>
            </p:cNvPr>
            <p:cNvGrpSpPr/>
            <p:nvPr/>
          </p:nvGrpSpPr>
          <p:grpSpPr>
            <a:xfrm>
              <a:off x="4867010" y="2034831"/>
              <a:ext cx="3411443" cy="1750895"/>
              <a:chOff x="5267979" y="1929615"/>
              <a:chExt cx="3040101" cy="1750895"/>
            </a:xfrm>
          </p:grpSpPr>
          <p:sp>
            <p:nvSpPr>
              <p:cNvPr id="10" name="Title 3">
                <a:extLst>
                  <a:ext uri="{FF2B5EF4-FFF2-40B4-BE49-F238E27FC236}">
                    <a16:creationId xmlns:a16="http://schemas.microsoft.com/office/drawing/2014/main" id="{E0E00BEC-57BF-3B24-0ED4-00223DE44ADB}"/>
                  </a:ext>
                </a:extLst>
              </p:cNvPr>
              <p:cNvSpPr txBox="1">
                <a:spLocks/>
              </p:cNvSpPr>
              <p:nvPr/>
            </p:nvSpPr>
            <p:spPr>
              <a:xfrm>
                <a:off x="5267979" y="1929615"/>
                <a:ext cx="3040101" cy="697467"/>
              </a:xfrm>
              <a:prstGeom prst="rect">
                <a:avLst/>
              </a:prstGeom>
            </p:spPr>
            <p:txBody>
              <a:bodyPr vert="horz" lIns="91440" tIns="45720" rIns="91440" bIns="45720" rtlCol="0" anchor="ctr">
                <a:normAutofit/>
              </a:bodyPr>
              <a:lstStyle>
                <a:lvl1pPr algn="l" defTabSz="914400" rtl="0" eaLnBrk="1" latinLnBrk="0" hangingPunct="1">
                  <a:lnSpc>
                    <a:spcPct val="100000"/>
                  </a:lnSpc>
                  <a:spcBef>
                    <a:spcPct val="0"/>
                  </a:spcBef>
                  <a:buNone/>
                  <a:defRPr sz="2000" kern="1200">
                    <a:solidFill>
                      <a:schemeClr val="accent1"/>
                    </a:solidFill>
                    <a:latin typeface="+mj-lt"/>
                    <a:ea typeface="+mj-ea"/>
                    <a:cs typeface="Goldman Sans Bold" panose="020B0803020203020204" pitchFamily="34" charset="0"/>
                  </a:defRPr>
                </a:lvl1pPr>
              </a:lstStyle>
              <a:p>
                <a:pPr algn="ctr"/>
                <a:r>
                  <a:rPr lang="en-CA" b="1">
                    <a:solidFill>
                      <a:schemeClr val="tx2"/>
                    </a:solidFill>
                    <a:latin typeface="+mn-lt"/>
                    <a:cs typeface="Segoe UI" panose="020B0502040204020203" pitchFamily="34" charset="0"/>
                  </a:rPr>
                  <a:t>Drivers</a:t>
                </a:r>
              </a:p>
            </p:txBody>
          </p:sp>
          <p:sp>
            <p:nvSpPr>
              <p:cNvPr id="11" name="TextBox 10">
                <a:extLst>
                  <a:ext uri="{FF2B5EF4-FFF2-40B4-BE49-F238E27FC236}">
                    <a16:creationId xmlns:a16="http://schemas.microsoft.com/office/drawing/2014/main" id="{70CC154B-462F-66BC-A323-AEE01C5A9DAE}"/>
                  </a:ext>
                </a:extLst>
              </p:cNvPr>
              <p:cNvSpPr txBox="1"/>
              <p:nvPr/>
            </p:nvSpPr>
            <p:spPr>
              <a:xfrm>
                <a:off x="5267979" y="2278348"/>
                <a:ext cx="3040101" cy="1402162"/>
              </a:xfrm>
              <a:prstGeom prst="rect">
                <a:avLst/>
              </a:prstGeom>
            </p:spPr>
            <p:txBody>
              <a:bodyPr vert="horz" lIns="91440" tIns="45720" rIns="91440" bIns="45720" rtlCol="0" anchor="ctr">
                <a:normAutofit/>
              </a:bodyPr>
              <a:lstStyle>
                <a:defPPr>
                  <a:defRPr lang="en-US"/>
                </a:defPPr>
                <a:lvl1pPr marL="285750" indent="-285750">
                  <a:lnSpc>
                    <a:spcPct val="100000"/>
                  </a:lnSpc>
                  <a:spcBef>
                    <a:spcPct val="0"/>
                  </a:spcBef>
                  <a:buFont typeface="Wingdings" pitchFamily="2" charset="2"/>
                  <a:buChar char="§"/>
                  <a:defRPr sz="1400" b="1">
                    <a:solidFill>
                      <a:schemeClr val="bg1">
                        <a:lumMod val="95000"/>
                      </a:schemeClr>
                    </a:solidFill>
                    <a:latin typeface="Segoe UI" panose="020B0502040204020203" pitchFamily="34" charset="0"/>
                    <a:ea typeface="+mj-ea"/>
                    <a:cs typeface="Segoe UI" panose="020B0502040204020203" pitchFamily="34" charset="0"/>
                  </a:defRPr>
                </a:lvl1pPr>
              </a:lstStyle>
              <a:p>
                <a:pPr marL="0" indent="0" algn="ctr">
                  <a:lnSpc>
                    <a:spcPct val="150000"/>
                  </a:lnSpc>
                  <a:buClr>
                    <a:srgbClr val="008864"/>
                  </a:buClr>
                  <a:buNone/>
                </a:pPr>
                <a:r>
                  <a:rPr lang="en-CA" sz="1100" b="0">
                    <a:solidFill>
                      <a:schemeClr val="tx2"/>
                    </a:solidFill>
                    <a:latin typeface="+mn-lt"/>
                  </a:rPr>
                  <a:t>Expansion of platform and product offerings</a:t>
                </a:r>
              </a:p>
              <a:p>
                <a:pPr marL="0" indent="0" algn="ctr">
                  <a:lnSpc>
                    <a:spcPct val="150000"/>
                  </a:lnSpc>
                  <a:buClr>
                    <a:srgbClr val="008864"/>
                  </a:buClr>
                  <a:buNone/>
                </a:pPr>
                <a:r>
                  <a:rPr lang="en-US" sz="1100" b="0">
                    <a:solidFill>
                      <a:schemeClr val="tx2"/>
                    </a:solidFill>
                    <a:latin typeface="+mn-lt"/>
                  </a:rPr>
                  <a:t>Increased demand for mobile advertising</a:t>
                </a:r>
              </a:p>
              <a:p>
                <a:pPr marL="0" indent="0" algn="ctr">
                  <a:lnSpc>
                    <a:spcPct val="150000"/>
                  </a:lnSpc>
                  <a:buClr>
                    <a:srgbClr val="008864"/>
                  </a:buClr>
                  <a:buNone/>
                </a:pPr>
                <a:r>
                  <a:rPr lang="en-US" sz="1100" b="0">
                    <a:solidFill>
                      <a:schemeClr val="tx2"/>
                    </a:solidFill>
                    <a:latin typeface="+mn-lt"/>
                  </a:rPr>
                  <a:t>Strategic acquisitions and partnerships </a:t>
                </a:r>
              </a:p>
            </p:txBody>
          </p:sp>
        </p:grpSp>
      </p:grpSp>
    </p:spTree>
    <p:extLst>
      <p:ext uri="{BB962C8B-B14F-4D97-AF65-F5344CB8AC3E}">
        <p14:creationId xmlns:p14="http://schemas.microsoft.com/office/powerpoint/2010/main" val="7690969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CC9D452-8065-06D5-B704-F28CA11BCB76}"/>
              </a:ext>
            </a:extLst>
          </p:cNvPr>
          <p:cNvSpPr>
            <a:spLocks noGrp="1"/>
          </p:cNvSpPr>
          <p:nvPr>
            <p:ph type="body" sz="quarter" idx="21"/>
          </p:nvPr>
        </p:nvSpPr>
        <p:spPr>
          <a:xfrm>
            <a:off x="250825" y="605472"/>
            <a:ext cx="8642350" cy="422275"/>
          </a:xfrm>
        </p:spPr>
        <p:txBody>
          <a:bodyPr/>
          <a:lstStyle/>
          <a:p>
            <a:r>
              <a:rPr lang="en-CA"/>
              <a:t>3 Statement Model – Assets, Liabilities, and Equity Highlights</a:t>
            </a:r>
          </a:p>
        </p:txBody>
      </p:sp>
      <p:sp>
        <p:nvSpPr>
          <p:cNvPr id="4" name="Title 3">
            <a:extLst>
              <a:ext uri="{FF2B5EF4-FFF2-40B4-BE49-F238E27FC236}">
                <a16:creationId xmlns:a16="http://schemas.microsoft.com/office/drawing/2014/main" id="{885852C8-CAFC-4D79-2C9B-1E19058C97F4}"/>
              </a:ext>
            </a:extLst>
          </p:cNvPr>
          <p:cNvSpPr>
            <a:spLocks noGrp="1"/>
          </p:cNvSpPr>
          <p:nvPr>
            <p:ph type="title"/>
          </p:nvPr>
        </p:nvSpPr>
        <p:spPr/>
        <p:txBody>
          <a:bodyPr/>
          <a:lstStyle/>
          <a:p>
            <a:r>
              <a:rPr lang="en-CA"/>
              <a:t>Balance Sheet</a:t>
            </a:r>
          </a:p>
        </p:txBody>
      </p:sp>
      <p:sp>
        <p:nvSpPr>
          <p:cNvPr id="5" name="Text Placeholder 4">
            <a:extLst>
              <a:ext uri="{FF2B5EF4-FFF2-40B4-BE49-F238E27FC236}">
                <a16:creationId xmlns:a16="http://schemas.microsoft.com/office/drawing/2014/main" id="{D3680C84-1164-577F-1106-9B91922A1355}"/>
              </a:ext>
            </a:extLst>
          </p:cNvPr>
          <p:cNvSpPr>
            <a:spLocks noGrp="1"/>
          </p:cNvSpPr>
          <p:nvPr>
            <p:ph type="body" sz="quarter" idx="13"/>
          </p:nvPr>
        </p:nvSpPr>
        <p:spPr>
          <a:xfrm>
            <a:off x="250825" y="6308724"/>
            <a:ext cx="8642350" cy="360359"/>
          </a:xfrm>
        </p:spPr>
        <p:txBody>
          <a:bodyPr/>
          <a:lstStyle/>
          <a:p>
            <a:endParaRPr lang="en-CA"/>
          </a:p>
        </p:txBody>
      </p:sp>
      <p:graphicFrame>
        <p:nvGraphicFramePr>
          <p:cNvPr id="6" name="Chart 5">
            <a:extLst>
              <a:ext uri="{FF2B5EF4-FFF2-40B4-BE49-F238E27FC236}">
                <a16:creationId xmlns:a16="http://schemas.microsoft.com/office/drawing/2014/main" id="{B74DE81B-7FC9-3325-3ECE-55B0A6BBB5E5}"/>
              </a:ext>
            </a:extLst>
          </p:cNvPr>
          <p:cNvGraphicFramePr>
            <a:graphicFrameLocks/>
          </p:cNvGraphicFramePr>
          <p:nvPr>
            <p:extLst>
              <p:ext uri="{D42A27DB-BD31-4B8C-83A1-F6EECF244321}">
                <p14:modId xmlns:p14="http://schemas.microsoft.com/office/powerpoint/2010/main" val="975874528"/>
              </p:ext>
            </p:extLst>
          </p:nvPr>
        </p:nvGraphicFramePr>
        <p:xfrm>
          <a:off x="110169" y="3997994"/>
          <a:ext cx="2870700" cy="227201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CDB47209-5B7D-CFB8-E0CB-009035FF3EA2}"/>
              </a:ext>
            </a:extLst>
          </p:cNvPr>
          <p:cNvSpPr txBox="1"/>
          <p:nvPr/>
        </p:nvSpPr>
        <p:spPr>
          <a:xfrm>
            <a:off x="1092147" y="3666814"/>
            <a:ext cx="686406" cy="276999"/>
          </a:xfrm>
          <a:prstGeom prst="rect">
            <a:avLst/>
          </a:prstGeom>
          <a:noFill/>
        </p:spPr>
        <p:txBody>
          <a:bodyPr wrap="none" rtlCol="0">
            <a:spAutoFit/>
          </a:bodyPr>
          <a:lstStyle/>
          <a:p>
            <a:r>
              <a:rPr lang="en-CA" sz="1200" b="1">
                <a:solidFill>
                  <a:srgbClr val="008864"/>
                </a:solidFill>
              </a:rPr>
              <a:t>Assets</a:t>
            </a:r>
          </a:p>
        </p:txBody>
      </p:sp>
      <p:cxnSp>
        <p:nvCxnSpPr>
          <p:cNvPr id="9" name="Straight Connector 8">
            <a:extLst>
              <a:ext uri="{FF2B5EF4-FFF2-40B4-BE49-F238E27FC236}">
                <a16:creationId xmlns:a16="http://schemas.microsoft.com/office/drawing/2014/main" id="{6E5BDF91-AFF5-BF43-2C79-1AD9877A2ACF}"/>
              </a:ext>
            </a:extLst>
          </p:cNvPr>
          <p:cNvCxnSpPr/>
          <p:nvPr/>
        </p:nvCxnSpPr>
        <p:spPr>
          <a:xfrm>
            <a:off x="822558" y="3945644"/>
            <a:ext cx="1225584" cy="0"/>
          </a:xfrm>
          <a:prstGeom prst="line">
            <a:avLst/>
          </a:prstGeom>
        </p:spPr>
        <p:style>
          <a:lnRef idx="3">
            <a:schemeClr val="accent2"/>
          </a:lnRef>
          <a:fillRef idx="0">
            <a:schemeClr val="accent2"/>
          </a:fillRef>
          <a:effectRef idx="2">
            <a:schemeClr val="accent2"/>
          </a:effectRef>
          <a:fontRef idx="minor">
            <a:schemeClr val="tx1"/>
          </a:fontRef>
        </p:style>
      </p:cxnSp>
      <p:sp>
        <p:nvSpPr>
          <p:cNvPr id="10" name="TextBox 9">
            <a:extLst>
              <a:ext uri="{FF2B5EF4-FFF2-40B4-BE49-F238E27FC236}">
                <a16:creationId xmlns:a16="http://schemas.microsoft.com/office/drawing/2014/main" id="{C6F0C47B-F88F-5032-DDB0-04A0E770D7E0}"/>
              </a:ext>
            </a:extLst>
          </p:cNvPr>
          <p:cNvSpPr txBox="1"/>
          <p:nvPr/>
        </p:nvSpPr>
        <p:spPr>
          <a:xfrm>
            <a:off x="3996407" y="3666813"/>
            <a:ext cx="896399" cy="276999"/>
          </a:xfrm>
          <a:prstGeom prst="rect">
            <a:avLst/>
          </a:prstGeom>
          <a:noFill/>
        </p:spPr>
        <p:txBody>
          <a:bodyPr wrap="none" rtlCol="0">
            <a:spAutoFit/>
          </a:bodyPr>
          <a:lstStyle/>
          <a:p>
            <a:r>
              <a:rPr lang="en-CA" sz="1200" b="1">
                <a:solidFill>
                  <a:srgbClr val="008864"/>
                </a:solidFill>
              </a:rPr>
              <a:t>Liabilities</a:t>
            </a:r>
          </a:p>
        </p:txBody>
      </p:sp>
      <p:cxnSp>
        <p:nvCxnSpPr>
          <p:cNvPr id="11" name="Straight Connector 10">
            <a:extLst>
              <a:ext uri="{FF2B5EF4-FFF2-40B4-BE49-F238E27FC236}">
                <a16:creationId xmlns:a16="http://schemas.microsoft.com/office/drawing/2014/main" id="{6EE94C07-E2DD-A5C3-16AD-910590713FAA}"/>
              </a:ext>
            </a:extLst>
          </p:cNvPr>
          <p:cNvCxnSpPr/>
          <p:nvPr/>
        </p:nvCxnSpPr>
        <p:spPr>
          <a:xfrm>
            <a:off x="3831814" y="3947338"/>
            <a:ext cx="1225584" cy="0"/>
          </a:xfrm>
          <a:prstGeom prst="line">
            <a:avLst/>
          </a:prstGeom>
        </p:spPr>
        <p:style>
          <a:lnRef idx="3">
            <a:schemeClr val="accent2"/>
          </a:lnRef>
          <a:fillRef idx="0">
            <a:schemeClr val="accent2"/>
          </a:fillRef>
          <a:effectRef idx="2">
            <a:schemeClr val="accent2"/>
          </a:effectRef>
          <a:fontRef idx="minor">
            <a:schemeClr val="tx1"/>
          </a:fontRef>
        </p:style>
      </p:cxnSp>
      <p:sp>
        <p:nvSpPr>
          <p:cNvPr id="12" name="TextBox 11">
            <a:extLst>
              <a:ext uri="{FF2B5EF4-FFF2-40B4-BE49-F238E27FC236}">
                <a16:creationId xmlns:a16="http://schemas.microsoft.com/office/drawing/2014/main" id="{4F699005-B1BE-794B-1617-F846515FDC0E}"/>
              </a:ext>
            </a:extLst>
          </p:cNvPr>
          <p:cNvSpPr txBox="1"/>
          <p:nvPr/>
        </p:nvSpPr>
        <p:spPr>
          <a:xfrm>
            <a:off x="7338498" y="3675081"/>
            <a:ext cx="655949" cy="276999"/>
          </a:xfrm>
          <a:prstGeom prst="rect">
            <a:avLst/>
          </a:prstGeom>
          <a:noFill/>
        </p:spPr>
        <p:txBody>
          <a:bodyPr wrap="none" rtlCol="0">
            <a:spAutoFit/>
          </a:bodyPr>
          <a:lstStyle/>
          <a:p>
            <a:r>
              <a:rPr lang="en-CA" sz="1200" b="1">
                <a:solidFill>
                  <a:srgbClr val="008864"/>
                </a:solidFill>
              </a:rPr>
              <a:t>Equity</a:t>
            </a:r>
          </a:p>
        </p:txBody>
      </p:sp>
      <p:cxnSp>
        <p:nvCxnSpPr>
          <p:cNvPr id="13" name="Straight Connector 12">
            <a:extLst>
              <a:ext uri="{FF2B5EF4-FFF2-40B4-BE49-F238E27FC236}">
                <a16:creationId xmlns:a16="http://schemas.microsoft.com/office/drawing/2014/main" id="{EB0C5DD2-FD2E-5459-B7D9-67AC962D59F7}"/>
              </a:ext>
            </a:extLst>
          </p:cNvPr>
          <p:cNvCxnSpPr/>
          <p:nvPr/>
        </p:nvCxnSpPr>
        <p:spPr>
          <a:xfrm>
            <a:off x="7053681" y="3943812"/>
            <a:ext cx="1225584" cy="0"/>
          </a:xfrm>
          <a:prstGeom prst="line">
            <a:avLst/>
          </a:prstGeom>
        </p:spPr>
        <p:style>
          <a:lnRef idx="3">
            <a:schemeClr val="accent2"/>
          </a:lnRef>
          <a:fillRef idx="0">
            <a:schemeClr val="accent2"/>
          </a:fillRef>
          <a:effectRef idx="2">
            <a:schemeClr val="accent2"/>
          </a:effectRef>
          <a:fontRef idx="minor">
            <a:schemeClr val="tx1"/>
          </a:fontRef>
        </p:style>
      </p:cxnSp>
      <p:sp>
        <p:nvSpPr>
          <p:cNvPr id="14" name="TextBox 13">
            <a:extLst>
              <a:ext uri="{FF2B5EF4-FFF2-40B4-BE49-F238E27FC236}">
                <a16:creationId xmlns:a16="http://schemas.microsoft.com/office/drawing/2014/main" id="{6FA3EA21-A682-C498-D51F-186DF4456812}"/>
              </a:ext>
            </a:extLst>
          </p:cNvPr>
          <p:cNvSpPr txBox="1"/>
          <p:nvPr/>
        </p:nvSpPr>
        <p:spPr>
          <a:xfrm>
            <a:off x="2851042" y="3675081"/>
            <a:ext cx="274434" cy="276999"/>
          </a:xfrm>
          <a:prstGeom prst="rect">
            <a:avLst/>
          </a:prstGeom>
          <a:noFill/>
        </p:spPr>
        <p:txBody>
          <a:bodyPr wrap="none" rtlCol="0">
            <a:spAutoFit/>
          </a:bodyPr>
          <a:lstStyle/>
          <a:p>
            <a:r>
              <a:rPr lang="en-CA" sz="1200" b="1">
                <a:solidFill>
                  <a:srgbClr val="008864"/>
                </a:solidFill>
              </a:rPr>
              <a:t>=</a:t>
            </a:r>
          </a:p>
        </p:txBody>
      </p:sp>
      <p:sp>
        <p:nvSpPr>
          <p:cNvPr id="15" name="TextBox 14">
            <a:extLst>
              <a:ext uri="{FF2B5EF4-FFF2-40B4-BE49-F238E27FC236}">
                <a16:creationId xmlns:a16="http://schemas.microsoft.com/office/drawing/2014/main" id="{1E2324D0-3456-E583-4B67-C1D3F3AA6FD8}"/>
              </a:ext>
            </a:extLst>
          </p:cNvPr>
          <p:cNvSpPr txBox="1"/>
          <p:nvPr/>
        </p:nvSpPr>
        <p:spPr>
          <a:xfrm>
            <a:off x="5900953" y="3726836"/>
            <a:ext cx="274434" cy="276999"/>
          </a:xfrm>
          <a:prstGeom prst="rect">
            <a:avLst/>
          </a:prstGeom>
          <a:noFill/>
        </p:spPr>
        <p:txBody>
          <a:bodyPr wrap="none" rtlCol="0">
            <a:spAutoFit/>
          </a:bodyPr>
          <a:lstStyle/>
          <a:p>
            <a:r>
              <a:rPr lang="en-CA" sz="1200" b="1">
                <a:solidFill>
                  <a:srgbClr val="008864"/>
                </a:solidFill>
              </a:rPr>
              <a:t>+</a:t>
            </a:r>
          </a:p>
        </p:txBody>
      </p:sp>
      <p:graphicFrame>
        <p:nvGraphicFramePr>
          <p:cNvPr id="16" name="Chart 15">
            <a:extLst>
              <a:ext uri="{FF2B5EF4-FFF2-40B4-BE49-F238E27FC236}">
                <a16:creationId xmlns:a16="http://schemas.microsoft.com/office/drawing/2014/main" id="{C48665AE-930D-5C20-11F4-08E335F5F242}"/>
              </a:ext>
            </a:extLst>
          </p:cNvPr>
          <p:cNvGraphicFramePr>
            <a:graphicFrameLocks/>
          </p:cNvGraphicFramePr>
          <p:nvPr>
            <p:extLst>
              <p:ext uri="{D42A27DB-BD31-4B8C-83A1-F6EECF244321}">
                <p14:modId xmlns:p14="http://schemas.microsoft.com/office/powerpoint/2010/main" val="896567205"/>
              </p:ext>
            </p:extLst>
          </p:nvPr>
        </p:nvGraphicFramePr>
        <p:xfrm>
          <a:off x="3172805" y="4095962"/>
          <a:ext cx="2870701" cy="216988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Chart 19">
            <a:extLst>
              <a:ext uri="{FF2B5EF4-FFF2-40B4-BE49-F238E27FC236}">
                <a16:creationId xmlns:a16="http://schemas.microsoft.com/office/drawing/2014/main" id="{25D3DC49-E1AA-4AC3-11BA-0C217BC756EE}"/>
              </a:ext>
            </a:extLst>
          </p:cNvPr>
          <p:cNvGraphicFramePr>
            <a:graphicFrameLocks/>
          </p:cNvGraphicFramePr>
          <p:nvPr>
            <p:extLst>
              <p:ext uri="{D42A27DB-BD31-4B8C-83A1-F6EECF244321}">
                <p14:modId xmlns:p14="http://schemas.microsoft.com/office/powerpoint/2010/main" val="562668029"/>
              </p:ext>
            </p:extLst>
          </p:nvPr>
        </p:nvGraphicFramePr>
        <p:xfrm>
          <a:off x="6039628" y="4014323"/>
          <a:ext cx="2976979" cy="22528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Chart 16">
            <a:extLst>
              <a:ext uri="{FF2B5EF4-FFF2-40B4-BE49-F238E27FC236}">
                <a16:creationId xmlns:a16="http://schemas.microsoft.com/office/drawing/2014/main" id="{F7AC9DED-2F24-CBFB-90ED-D007AB9CF246}"/>
              </a:ext>
            </a:extLst>
          </p:cNvPr>
          <p:cNvGraphicFramePr/>
          <p:nvPr>
            <p:extLst>
              <p:ext uri="{D42A27DB-BD31-4B8C-83A1-F6EECF244321}">
                <p14:modId xmlns:p14="http://schemas.microsoft.com/office/powerpoint/2010/main" val="2676022481"/>
              </p:ext>
            </p:extLst>
          </p:nvPr>
        </p:nvGraphicFramePr>
        <p:xfrm>
          <a:off x="250825" y="1044282"/>
          <a:ext cx="8624893" cy="259042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094597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D975852-B2C8-5AD4-C0DD-2A0ACD5E87AB}"/>
            </a:ext>
          </a:extLst>
        </p:cNvPr>
        <p:cNvGrpSpPr/>
        <p:nvPr/>
      </p:nvGrpSpPr>
      <p:grpSpPr>
        <a:xfrm>
          <a:off x="0" y="0"/>
          <a:ext cx="0" cy="0"/>
          <a:chOff x="0" y="0"/>
          <a:chExt cx="0" cy="0"/>
        </a:xfrm>
      </p:grpSpPr>
      <p:sp>
        <p:nvSpPr>
          <p:cNvPr id="18" name="Text Placeholder 17">
            <a:extLst>
              <a:ext uri="{FF2B5EF4-FFF2-40B4-BE49-F238E27FC236}">
                <a16:creationId xmlns:a16="http://schemas.microsoft.com/office/drawing/2014/main" id="{F6E8E18E-6AC6-578C-54DF-AC0ACE83E923}"/>
              </a:ext>
            </a:extLst>
          </p:cNvPr>
          <p:cNvSpPr>
            <a:spLocks noGrp="1"/>
          </p:cNvSpPr>
          <p:nvPr>
            <p:ph type="body" sz="quarter" idx="21"/>
          </p:nvPr>
        </p:nvSpPr>
        <p:spPr/>
        <p:txBody>
          <a:bodyPr/>
          <a:lstStyle/>
          <a:p>
            <a:r>
              <a:rPr lang="en-CA"/>
              <a:t>3 Statement Model – Cash Flow 2025E Highlights </a:t>
            </a:r>
            <a:r>
              <a:rPr lang="en-CA" i="1"/>
              <a:t>(in USD mm) </a:t>
            </a:r>
          </a:p>
        </p:txBody>
      </p:sp>
      <p:sp>
        <p:nvSpPr>
          <p:cNvPr id="5" name="Title 4">
            <a:extLst>
              <a:ext uri="{FF2B5EF4-FFF2-40B4-BE49-F238E27FC236}">
                <a16:creationId xmlns:a16="http://schemas.microsoft.com/office/drawing/2014/main" id="{63D66062-C1A6-438C-6384-6866FB201F6F}"/>
              </a:ext>
            </a:extLst>
          </p:cNvPr>
          <p:cNvSpPr>
            <a:spLocks noGrp="1"/>
          </p:cNvSpPr>
          <p:nvPr>
            <p:ph type="title"/>
          </p:nvPr>
        </p:nvSpPr>
        <p:spPr/>
        <p:txBody>
          <a:bodyPr/>
          <a:lstStyle/>
          <a:p>
            <a:r>
              <a:rPr lang="en-CA"/>
              <a:t>Cash Flow Statement </a:t>
            </a:r>
          </a:p>
        </p:txBody>
      </p:sp>
      <mc:AlternateContent xmlns:mc="http://schemas.openxmlformats.org/markup-compatibility/2006">
        <mc:Choice xmlns:cx1="http://schemas.microsoft.com/office/drawing/2015/9/8/chartex" Requires="cx1">
          <p:graphicFrame>
            <p:nvGraphicFramePr>
              <p:cNvPr id="4" name="Chart 3">
                <a:extLst>
                  <a:ext uri="{FF2B5EF4-FFF2-40B4-BE49-F238E27FC236}">
                    <a16:creationId xmlns:a16="http://schemas.microsoft.com/office/drawing/2014/main" id="{411D1016-F6E1-5228-BFD4-B9A1FFABFD61}"/>
                  </a:ext>
                </a:extLst>
              </p:cNvPr>
              <p:cNvGraphicFramePr/>
              <p:nvPr>
                <p:extLst>
                  <p:ext uri="{D42A27DB-BD31-4B8C-83A1-F6EECF244321}">
                    <p14:modId xmlns:p14="http://schemas.microsoft.com/office/powerpoint/2010/main" val="4085210272"/>
                  </p:ext>
                </p:extLst>
              </p:nvPr>
            </p:nvGraphicFramePr>
            <p:xfrm>
              <a:off x="250825" y="907747"/>
              <a:ext cx="8642350" cy="5225423"/>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4" name="Chart 3">
                <a:extLst>
                  <a:ext uri="{FF2B5EF4-FFF2-40B4-BE49-F238E27FC236}">
                    <a16:creationId xmlns:a16="http://schemas.microsoft.com/office/drawing/2014/main" id="{411D1016-F6E1-5228-BFD4-B9A1FFABFD61}"/>
                  </a:ext>
                </a:extLst>
              </p:cNvPr>
              <p:cNvPicPr>
                <a:picLocks noGrp="1" noRot="1" noChangeAspect="1" noMove="1" noResize="1" noEditPoints="1" noAdjustHandles="1" noChangeArrowheads="1" noChangeShapeType="1"/>
              </p:cNvPicPr>
              <p:nvPr/>
            </p:nvPicPr>
            <p:blipFill>
              <a:blip r:embed="rId4"/>
              <a:stretch>
                <a:fillRect/>
              </a:stretch>
            </p:blipFill>
            <p:spPr>
              <a:xfrm>
                <a:off x="250825" y="907747"/>
                <a:ext cx="8642350" cy="5225423"/>
              </a:xfrm>
              <a:prstGeom prst="rect">
                <a:avLst/>
              </a:prstGeom>
            </p:spPr>
          </p:pic>
        </mc:Fallback>
      </mc:AlternateContent>
      <p:sp>
        <p:nvSpPr>
          <p:cNvPr id="6" name="Rectangle 5">
            <a:extLst>
              <a:ext uri="{FF2B5EF4-FFF2-40B4-BE49-F238E27FC236}">
                <a16:creationId xmlns:a16="http://schemas.microsoft.com/office/drawing/2014/main" id="{94DB8C19-DA4B-8978-132E-45B6DE0AF8A7}"/>
              </a:ext>
            </a:extLst>
          </p:cNvPr>
          <p:cNvSpPr/>
          <p:nvPr/>
        </p:nvSpPr>
        <p:spPr>
          <a:xfrm>
            <a:off x="8082877" y="852379"/>
            <a:ext cx="810298" cy="3905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0" name="Text Placeholder 19">
            <a:extLst>
              <a:ext uri="{FF2B5EF4-FFF2-40B4-BE49-F238E27FC236}">
                <a16:creationId xmlns:a16="http://schemas.microsoft.com/office/drawing/2014/main" id="{BDBF3AC8-9A6C-8000-A2AC-95B2D2FE77F5}"/>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8175127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D22AA1-D978-F879-8BCC-2DD2ED24AA18}"/>
            </a:ext>
          </a:extLst>
        </p:cNvPr>
        <p:cNvGrpSpPr/>
        <p:nvPr/>
      </p:nvGrpSpPr>
      <p:grpSpPr>
        <a:xfrm>
          <a:off x="0" y="0"/>
          <a:ext cx="0" cy="0"/>
          <a:chOff x="0" y="0"/>
          <a:chExt cx="0" cy="0"/>
        </a:xfrm>
      </p:grpSpPr>
      <p:pic>
        <p:nvPicPr>
          <p:cNvPr id="11" name="Picture Placeholder 10" descr="A front of a store&#10;&#10;AI-generated content may be incorrect.">
            <a:extLst>
              <a:ext uri="{FF2B5EF4-FFF2-40B4-BE49-F238E27FC236}">
                <a16:creationId xmlns:a16="http://schemas.microsoft.com/office/drawing/2014/main" id="{87363DBD-907B-D8A9-AC4E-E9139FC6B9A0}"/>
              </a:ext>
            </a:extLst>
          </p:cNvPr>
          <p:cNvPicPr>
            <a:picLocks noGrp="1" noChangeAspect="1"/>
          </p:cNvPicPr>
          <p:nvPr>
            <p:ph type="pic" sz="quarter" idx="10"/>
          </p:nvPr>
        </p:nvPicPr>
        <p:blipFill>
          <a:blip r:embed="rId2"/>
          <a:srcRect/>
          <a:stretch/>
        </p:blipFill>
        <p:spPr>
          <a:xfrm>
            <a:off x="20" y="10"/>
            <a:ext cx="9143980" cy="6857990"/>
          </a:xfrm>
          <a:noFill/>
        </p:spPr>
      </p:pic>
      <p:sp>
        <p:nvSpPr>
          <p:cNvPr id="65" name="Text Placeholder 2">
            <a:extLst>
              <a:ext uri="{FF2B5EF4-FFF2-40B4-BE49-F238E27FC236}">
                <a16:creationId xmlns:a16="http://schemas.microsoft.com/office/drawing/2014/main" id="{473D22CD-6ACE-50CE-6C06-971986C7C640}"/>
              </a:ext>
            </a:extLst>
          </p:cNvPr>
          <p:cNvSpPr>
            <a:spLocks noGrp="1"/>
          </p:cNvSpPr>
          <p:nvPr>
            <p:ph type="body" sz="quarter" idx="13"/>
          </p:nvPr>
        </p:nvSpPr>
        <p:spPr>
          <a:xfrm>
            <a:off x="0" y="5121275"/>
            <a:ext cx="9144000" cy="1736724"/>
          </a:xfrm>
        </p:spPr>
        <p:txBody>
          <a:bodyPr/>
          <a:lstStyle/>
          <a:p>
            <a:endParaRPr lang="en-US"/>
          </a:p>
        </p:txBody>
      </p:sp>
      <p:sp>
        <p:nvSpPr>
          <p:cNvPr id="9" name="Title 8">
            <a:extLst>
              <a:ext uri="{FF2B5EF4-FFF2-40B4-BE49-F238E27FC236}">
                <a16:creationId xmlns:a16="http://schemas.microsoft.com/office/drawing/2014/main" id="{AF4145DB-9673-A2C2-C8E1-8FC7EB7F46E3}"/>
              </a:ext>
            </a:extLst>
          </p:cNvPr>
          <p:cNvSpPr>
            <a:spLocks noGrp="1"/>
          </p:cNvSpPr>
          <p:nvPr>
            <p:ph type="ctrTitle"/>
          </p:nvPr>
        </p:nvSpPr>
        <p:spPr>
          <a:xfrm>
            <a:off x="250825" y="5339798"/>
            <a:ext cx="8642349" cy="810730"/>
          </a:xfrm>
        </p:spPr>
        <p:txBody>
          <a:bodyPr anchor="ctr">
            <a:normAutofit/>
          </a:bodyPr>
          <a:lstStyle/>
          <a:p>
            <a:pPr>
              <a:lnSpc>
                <a:spcPct val="90000"/>
              </a:lnSpc>
            </a:pPr>
            <a:r>
              <a:rPr lang="en-US" sz="5100"/>
              <a:t>DCF Analysis</a:t>
            </a:r>
          </a:p>
        </p:txBody>
      </p:sp>
      <p:sp>
        <p:nvSpPr>
          <p:cNvPr id="67" name="Subtitle 4">
            <a:extLst>
              <a:ext uri="{FF2B5EF4-FFF2-40B4-BE49-F238E27FC236}">
                <a16:creationId xmlns:a16="http://schemas.microsoft.com/office/drawing/2014/main" id="{331EF291-9760-F3DA-5F8D-E835670726C3}"/>
              </a:ext>
            </a:extLst>
          </p:cNvPr>
          <p:cNvSpPr>
            <a:spLocks noGrp="1"/>
          </p:cNvSpPr>
          <p:nvPr>
            <p:ph type="subTitle" idx="1"/>
          </p:nvPr>
        </p:nvSpPr>
        <p:spPr>
          <a:xfrm>
            <a:off x="250827" y="6237292"/>
            <a:ext cx="8642348" cy="395287"/>
          </a:xfrm>
        </p:spPr>
        <p:txBody>
          <a:bodyPr/>
          <a:lstStyle/>
          <a:p>
            <a:endParaRPr lang="en-US"/>
          </a:p>
        </p:txBody>
      </p:sp>
      <p:sp>
        <p:nvSpPr>
          <p:cNvPr id="69" name="Content Placeholder 5">
            <a:extLst>
              <a:ext uri="{FF2B5EF4-FFF2-40B4-BE49-F238E27FC236}">
                <a16:creationId xmlns:a16="http://schemas.microsoft.com/office/drawing/2014/main" id="{E0C77ED9-B8CF-BB18-5088-6F0FA99DA4C5}"/>
              </a:ext>
            </a:extLst>
          </p:cNvPr>
          <p:cNvSpPr>
            <a:spLocks noGrp="1"/>
          </p:cNvSpPr>
          <p:nvPr>
            <p:ph sz="quarter" idx="12"/>
          </p:nvPr>
        </p:nvSpPr>
        <p:spPr>
          <a:xfrm>
            <a:off x="395399" y="6165850"/>
            <a:ext cx="1614097" cy="71438"/>
          </a:xfrm>
        </p:spPr>
        <p:txBody>
          <a:bodyPr/>
          <a:lstStyle/>
          <a:p>
            <a:endParaRPr lang="en-US"/>
          </a:p>
        </p:txBody>
      </p:sp>
    </p:spTree>
    <p:extLst>
      <p:ext uri="{BB962C8B-B14F-4D97-AF65-F5344CB8AC3E}">
        <p14:creationId xmlns:p14="http://schemas.microsoft.com/office/powerpoint/2010/main" val="30807428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B7F86E-91A5-F38C-9B38-E8E7B8C2C8D8}"/>
            </a:ext>
          </a:extLst>
        </p:cNvPr>
        <p:cNvGrpSpPr/>
        <p:nvPr/>
      </p:nvGrpSpPr>
      <p:grpSpPr>
        <a:xfrm>
          <a:off x="0" y="0"/>
          <a:ext cx="0" cy="0"/>
          <a:chOff x="0" y="0"/>
          <a:chExt cx="0" cy="0"/>
        </a:xfrm>
      </p:grpSpPr>
      <p:sp>
        <p:nvSpPr>
          <p:cNvPr id="8" name="Text Placeholder 7">
            <a:extLst>
              <a:ext uri="{FF2B5EF4-FFF2-40B4-BE49-F238E27FC236}">
                <a16:creationId xmlns:a16="http://schemas.microsoft.com/office/drawing/2014/main" id="{7802DBC8-A99C-3EEF-F18E-44B34E4BDE6C}"/>
              </a:ext>
            </a:extLst>
          </p:cNvPr>
          <p:cNvSpPr>
            <a:spLocks noGrp="1"/>
          </p:cNvSpPr>
          <p:nvPr>
            <p:ph type="body" sz="quarter" idx="21"/>
          </p:nvPr>
        </p:nvSpPr>
        <p:spPr/>
        <p:txBody>
          <a:bodyPr/>
          <a:lstStyle/>
          <a:p>
            <a:r>
              <a:rPr lang="en-CA"/>
              <a:t>Key Assumptions and Drivers</a:t>
            </a:r>
          </a:p>
        </p:txBody>
      </p:sp>
      <p:sp>
        <p:nvSpPr>
          <p:cNvPr id="5" name="Title 4">
            <a:extLst>
              <a:ext uri="{FF2B5EF4-FFF2-40B4-BE49-F238E27FC236}">
                <a16:creationId xmlns:a16="http://schemas.microsoft.com/office/drawing/2014/main" id="{242C7F8B-431E-CAFD-C5ED-24070F3C6395}"/>
              </a:ext>
            </a:extLst>
          </p:cNvPr>
          <p:cNvSpPr>
            <a:spLocks noGrp="1"/>
          </p:cNvSpPr>
          <p:nvPr>
            <p:ph type="title"/>
          </p:nvPr>
        </p:nvSpPr>
        <p:spPr/>
        <p:txBody>
          <a:bodyPr/>
          <a:lstStyle/>
          <a:p>
            <a:r>
              <a:rPr lang="en-CA"/>
              <a:t>WACC Inputs </a:t>
            </a:r>
          </a:p>
        </p:txBody>
      </p:sp>
      <p:grpSp>
        <p:nvGrpSpPr>
          <p:cNvPr id="10" name="Group 9">
            <a:extLst>
              <a:ext uri="{FF2B5EF4-FFF2-40B4-BE49-F238E27FC236}">
                <a16:creationId xmlns:a16="http://schemas.microsoft.com/office/drawing/2014/main" id="{4751CA05-791C-0224-E6E5-ADABD4C7240C}"/>
              </a:ext>
            </a:extLst>
          </p:cNvPr>
          <p:cNvGrpSpPr/>
          <p:nvPr/>
        </p:nvGrpSpPr>
        <p:grpSpPr>
          <a:xfrm>
            <a:off x="3522600" y="1330200"/>
            <a:ext cx="4962493" cy="2098800"/>
            <a:chOff x="3522600" y="1330200"/>
            <a:chExt cx="4962493" cy="2098800"/>
          </a:xfrm>
          <a:solidFill>
            <a:srgbClr val="008864"/>
          </a:solidFill>
        </p:grpSpPr>
        <p:sp>
          <p:nvSpPr>
            <p:cNvPr id="3" name="Oval 2">
              <a:extLst>
                <a:ext uri="{FF2B5EF4-FFF2-40B4-BE49-F238E27FC236}">
                  <a16:creationId xmlns:a16="http://schemas.microsoft.com/office/drawing/2014/main" id="{A3B0234F-2970-37AC-22F2-7E620E9C49DD}"/>
                </a:ext>
              </a:extLst>
            </p:cNvPr>
            <p:cNvSpPr/>
            <p:nvPr/>
          </p:nvSpPr>
          <p:spPr>
            <a:xfrm>
              <a:off x="3522600" y="1330200"/>
              <a:ext cx="2098800" cy="20988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000">
                  <a:latin typeface="+mj-lt"/>
                  <a:cs typeface="Segoe UI" panose="020B0502040204020203" pitchFamily="34" charset="0"/>
                </a:rPr>
                <a:t>2.31</a:t>
              </a:r>
            </a:p>
            <a:p>
              <a:pPr algn="ctr"/>
              <a:r>
                <a:rPr lang="en-US" sz="1500">
                  <a:latin typeface="+mj-lt"/>
                  <a:cs typeface="Segoe UI" panose="020B0502040204020203" pitchFamily="34" charset="0"/>
                </a:rPr>
                <a:t>Beta</a:t>
              </a:r>
            </a:p>
          </p:txBody>
        </p:sp>
        <p:sp>
          <p:nvSpPr>
            <p:cNvPr id="4" name="Oval 3">
              <a:extLst>
                <a:ext uri="{FF2B5EF4-FFF2-40B4-BE49-F238E27FC236}">
                  <a16:creationId xmlns:a16="http://schemas.microsoft.com/office/drawing/2014/main" id="{86EE4EE7-62F7-5894-02E0-22BB7446889D}"/>
                </a:ext>
              </a:extLst>
            </p:cNvPr>
            <p:cNvSpPr/>
            <p:nvPr/>
          </p:nvSpPr>
          <p:spPr>
            <a:xfrm>
              <a:off x="6386293" y="1330200"/>
              <a:ext cx="2098800" cy="20988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000">
                  <a:latin typeface="+mj-lt"/>
                  <a:cs typeface="Segoe UI" panose="020B0502040204020203" pitchFamily="34" charset="0"/>
                </a:rPr>
                <a:t>4.33%</a:t>
              </a:r>
            </a:p>
            <a:p>
              <a:pPr algn="ctr"/>
              <a:r>
                <a:rPr lang="en-US" sz="1500">
                  <a:latin typeface="+mj-lt"/>
                  <a:cs typeface="Segoe UI" panose="020B0502040204020203" pitchFamily="34" charset="0"/>
                </a:rPr>
                <a:t>Equity Risk Premium </a:t>
              </a:r>
            </a:p>
          </p:txBody>
        </p:sp>
      </p:grpSp>
      <p:grpSp>
        <p:nvGrpSpPr>
          <p:cNvPr id="11" name="Group 10">
            <a:extLst>
              <a:ext uri="{FF2B5EF4-FFF2-40B4-BE49-F238E27FC236}">
                <a16:creationId xmlns:a16="http://schemas.microsoft.com/office/drawing/2014/main" id="{8180F2FF-FCE0-DC9B-5416-F424C50A2B5F}"/>
              </a:ext>
            </a:extLst>
          </p:cNvPr>
          <p:cNvGrpSpPr/>
          <p:nvPr/>
        </p:nvGrpSpPr>
        <p:grpSpPr>
          <a:xfrm>
            <a:off x="2090753" y="3752725"/>
            <a:ext cx="4962493" cy="2098800"/>
            <a:chOff x="658907" y="1330200"/>
            <a:chExt cx="4962493" cy="2098800"/>
          </a:xfrm>
          <a:solidFill>
            <a:srgbClr val="008864"/>
          </a:solidFill>
        </p:grpSpPr>
        <p:sp>
          <p:nvSpPr>
            <p:cNvPr id="12" name="Oval 11">
              <a:extLst>
                <a:ext uri="{FF2B5EF4-FFF2-40B4-BE49-F238E27FC236}">
                  <a16:creationId xmlns:a16="http://schemas.microsoft.com/office/drawing/2014/main" id="{837376B0-0327-D841-C669-F56F275550DE}"/>
                </a:ext>
              </a:extLst>
            </p:cNvPr>
            <p:cNvSpPr/>
            <p:nvPr/>
          </p:nvSpPr>
          <p:spPr>
            <a:xfrm>
              <a:off x="658907" y="1331258"/>
              <a:ext cx="2111188" cy="209774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000">
                  <a:latin typeface="+mj-lt"/>
                  <a:cs typeface="Segoe UI" panose="020B0502040204020203" pitchFamily="34" charset="0"/>
                </a:rPr>
                <a:t>27.98%</a:t>
              </a:r>
            </a:p>
            <a:p>
              <a:pPr algn="ctr"/>
              <a:r>
                <a:rPr lang="en-US" sz="1500">
                  <a:latin typeface="+mj-lt"/>
                  <a:cs typeface="Segoe UI" panose="020B0502040204020203" pitchFamily="34" charset="0"/>
                </a:rPr>
                <a:t>Tax Rate</a:t>
              </a:r>
            </a:p>
          </p:txBody>
        </p:sp>
        <p:sp>
          <p:nvSpPr>
            <p:cNvPr id="13" name="Oval 12">
              <a:extLst>
                <a:ext uri="{FF2B5EF4-FFF2-40B4-BE49-F238E27FC236}">
                  <a16:creationId xmlns:a16="http://schemas.microsoft.com/office/drawing/2014/main" id="{937F035A-EE5D-CEE8-DB4F-965E478C5F14}"/>
                </a:ext>
              </a:extLst>
            </p:cNvPr>
            <p:cNvSpPr/>
            <p:nvPr/>
          </p:nvSpPr>
          <p:spPr>
            <a:xfrm>
              <a:off x="3522600" y="1330200"/>
              <a:ext cx="2098800" cy="20988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000">
                  <a:latin typeface="+mj-lt"/>
                  <a:cs typeface="Segoe UI" panose="020B0502040204020203" pitchFamily="34" charset="0"/>
                </a:rPr>
                <a:t>3.54%</a:t>
              </a:r>
            </a:p>
            <a:p>
              <a:pPr algn="ctr"/>
              <a:r>
                <a:rPr lang="en-US" sz="1500">
                  <a:latin typeface="+mj-lt"/>
                  <a:cs typeface="Segoe UI" panose="020B0502040204020203" pitchFamily="34" charset="0"/>
                </a:rPr>
                <a:t>Cost of Debt </a:t>
              </a:r>
            </a:p>
          </p:txBody>
        </p:sp>
      </p:grpSp>
      <p:sp>
        <p:nvSpPr>
          <p:cNvPr id="26" name="Oval 25">
            <a:extLst>
              <a:ext uri="{FF2B5EF4-FFF2-40B4-BE49-F238E27FC236}">
                <a16:creationId xmlns:a16="http://schemas.microsoft.com/office/drawing/2014/main" id="{391EADB9-D6BC-8974-B7E5-C26531FDEFF7}"/>
              </a:ext>
            </a:extLst>
          </p:cNvPr>
          <p:cNvSpPr/>
          <p:nvPr/>
        </p:nvSpPr>
        <p:spPr>
          <a:xfrm>
            <a:off x="658907" y="1330200"/>
            <a:ext cx="2098800" cy="2098800"/>
          </a:xfrm>
          <a:prstGeom prst="ellipse">
            <a:avLst/>
          </a:prstGeom>
          <a:solidFill>
            <a:srgbClr val="008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000">
                <a:latin typeface="+mj-lt"/>
                <a:cs typeface="Segoe UI" panose="020B0502040204020203" pitchFamily="34" charset="0"/>
              </a:rPr>
              <a:t>4.32%</a:t>
            </a:r>
          </a:p>
          <a:p>
            <a:pPr algn="ctr"/>
            <a:r>
              <a:rPr lang="en-US" sz="1500">
                <a:latin typeface="+mj-lt"/>
                <a:cs typeface="Segoe UI" panose="020B0502040204020203" pitchFamily="34" charset="0"/>
              </a:rPr>
              <a:t>Risk-Free Rate</a:t>
            </a:r>
          </a:p>
        </p:txBody>
      </p:sp>
    </p:spTree>
    <p:extLst>
      <p:ext uri="{BB962C8B-B14F-4D97-AF65-F5344CB8AC3E}">
        <p14:creationId xmlns:p14="http://schemas.microsoft.com/office/powerpoint/2010/main" val="13788776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1">
            <a:extLst>
              <a:ext uri="{FF2B5EF4-FFF2-40B4-BE49-F238E27FC236}">
                <a16:creationId xmlns:a16="http://schemas.microsoft.com/office/drawing/2014/main" id="{3717086D-92ED-A089-BF01-8F0137C698DF}"/>
              </a:ext>
            </a:extLst>
          </p:cNvPr>
          <p:cNvSpPr>
            <a:spLocks noGrp="1"/>
          </p:cNvSpPr>
          <p:nvPr>
            <p:ph type="body" sz="quarter" idx="21"/>
          </p:nvPr>
        </p:nvSpPr>
        <p:spPr>
          <a:xfrm>
            <a:off x="250825" y="584200"/>
            <a:ext cx="8642350" cy="422275"/>
          </a:xfrm>
        </p:spPr>
        <p:txBody>
          <a:bodyPr>
            <a:normAutofit/>
          </a:bodyPr>
          <a:lstStyle/>
          <a:p>
            <a:r>
              <a:rPr lang="en-US"/>
              <a:t>Projecting Top-Line Performance</a:t>
            </a:r>
          </a:p>
        </p:txBody>
      </p:sp>
      <p:sp>
        <p:nvSpPr>
          <p:cNvPr id="26" name="Title 3">
            <a:extLst>
              <a:ext uri="{FF2B5EF4-FFF2-40B4-BE49-F238E27FC236}">
                <a16:creationId xmlns:a16="http://schemas.microsoft.com/office/drawing/2014/main" id="{D8521DC0-7EF5-7B17-5DE4-BBE89FD9DB72}"/>
              </a:ext>
            </a:extLst>
          </p:cNvPr>
          <p:cNvSpPr>
            <a:spLocks noGrp="1"/>
          </p:cNvSpPr>
          <p:nvPr>
            <p:ph type="title"/>
          </p:nvPr>
        </p:nvSpPr>
        <p:spPr>
          <a:xfrm>
            <a:off x="250825" y="187581"/>
            <a:ext cx="6658698" cy="395751"/>
          </a:xfrm>
        </p:spPr>
        <p:txBody>
          <a:bodyPr wrap="none" anchor="ctr">
            <a:normAutofit/>
          </a:bodyPr>
          <a:lstStyle/>
          <a:p>
            <a:r>
              <a:rPr lang="en-US"/>
              <a:t>DCF - Revenue Projection </a:t>
            </a:r>
          </a:p>
        </p:txBody>
      </p:sp>
      <p:sp>
        <p:nvSpPr>
          <p:cNvPr id="33" name="Text Placeholder 4">
            <a:extLst>
              <a:ext uri="{FF2B5EF4-FFF2-40B4-BE49-F238E27FC236}">
                <a16:creationId xmlns:a16="http://schemas.microsoft.com/office/drawing/2014/main" id="{B7F4CFC5-0D33-4A4B-FB27-56917E2D635F}"/>
              </a:ext>
            </a:extLst>
          </p:cNvPr>
          <p:cNvSpPr>
            <a:spLocks noGrp="1"/>
          </p:cNvSpPr>
          <p:nvPr>
            <p:ph type="body" sz="quarter" idx="13"/>
          </p:nvPr>
        </p:nvSpPr>
        <p:spPr>
          <a:xfrm>
            <a:off x="250825" y="6308724"/>
            <a:ext cx="7645400" cy="360359"/>
          </a:xfrm>
        </p:spPr>
        <p:txBody>
          <a:bodyPr/>
          <a:lstStyle/>
          <a:p>
            <a:endParaRPr lang="en-US"/>
          </a:p>
        </p:txBody>
      </p:sp>
      <p:graphicFrame>
        <p:nvGraphicFramePr>
          <p:cNvPr id="20" name="Chart 19">
            <a:extLst>
              <a:ext uri="{FF2B5EF4-FFF2-40B4-BE49-F238E27FC236}">
                <a16:creationId xmlns:a16="http://schemas.microsoft.com/office/drawing/2014/main" id="{D2B4E6FF-5AFF-6F0A-F8C8-9AC227EA7689}"/>
              </a:ext>
            </a:extLst>
          </p:cNvPr>
          <p:cNvGraphicFramePr>
            <a:graphicFrameLocks/>
          </p:cNvGraphicFramePr>
          <p:nvPr>
            <p:extLst>
              <p:ext uri="{D42A27DB-BD31-4B8C-83A1-F6EECF244321}">
                <p14:modId xmlns:p14="http://schemas.microsoft.com/office/powerpoint/2010/main" val="4063925456"/>
              </p:ext>
            </p:extLst>
          </p:nvPr>
        </p:nvGraphicFramePr>
        <p:xfrm>
          <a:off x="250825" y="990600"/>
          <a:ext cx="8642293" cy="521017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86605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F3717A4-9ABC-271C-3A27-71B7FE55F92C}"/>
              </a:ext>
            </a:extLst>
          </p:cNvPr>
          <p:cNvSpPr>
            <a:spLocks noGrp="1"/>
          </p:cNvSpPr>
          <p:nvPr>
            <p:ph type="body" sz="quarter" idx="21"/>
          </p:nvPr>
        </p:nvSpPr>
        <p:spPr>
          <a:xfrm>
            <a:off x="250825" y="584200"/>
            <a:ext cx="8642350" cy="422275"/>
          </a:xfrm>
        </p:spPr>
        <p:txBody>
          <a:bodyPr vert="horz" lIns="91440" tIns="45720" rIns="91440" bIns="45720" rtlCol="0">
            <a:normAutofit/>
          </a:bodyPr>
          <a:lstStyle/>
          <a:p>
            <a:r>
              <a:rPr lang="en-CA"/>
              <a:t>Analyzing Cost Efficiency and Profitability</a:t>
            </a:r>
          </a:p>
        </p:txBody>
      </p:sp>
      <p:sp>
        <p:nvSpPr>
          <p:cNvPr id="4" name="Title 3">
            <a:extLst>
              <a:ext uri="{FF2B5EF4-FFF2-40B4-BE49-F238E27FC236}">
                <a16:creationId xmlns:a16="http://schemas.microsoft.com/office/drawing/2014/main" id="{507FBD7F-F1CF-A59D-966A-DC0EB63953CE}"/>
              </a:ext>
            </a:extLst>
          </p:cNvPr>
          <p:cNvSpPr>
            <a:spLocks noGrp="1"/>
          </p:cNvSpPr>
          <p:nvPr>
            <p:ph type="title"/>
          </p:nvPr>
        </p:nvSpPr>
        <p:spPr>
          <a:xfrm>
            <a:off x="250825" y="187581"/>
            <a:ext cx="6658698" cy="395751"/>
          </a:xfrm>
        </p:spPr>
        <p:txBody>
          <a:bodyPr vert="horz" wrap="none" lIns="91440" tIns="0" rIns="91440" bIns="0" rtlCol="0" anchor="ctr">
            <a:normAutofit/>
          </a:bodyPr>
          <a:lstStyle/>
          <a:p>
            <a:r>
              <a:rPr lang="en-US" b="1" kern="1200">
                <a:latin typeface="+mj-lt"/>
                <a:ea typeface="+mj-ea"/>
                <a:cs typeface="Goldman Sans Bold" panose="020B0803020203020204" pitchFamily="34" charset="0"/>
              </a:rPr>
              <a:t>DCF - COGS Projections</a:t>
            </a:r>
          </a:p>
        </p:txBody>
      </p:sp>
      <p:sp>
        <p:nvSpPr>
          <p:cNvPr id="6" name="TextBox 5">
            <a:extLst>
              <a:ext uri="{FF2B5EF4-FFF2-40B4-BE49-F238E27FC236}">
                <a16:creationId xmlns:a16="http://schemas.microsoft.com/office/drawing/2014/main" id="{F44CCC8D-A049-8CFA-AF50-C0A32D4869AD}"/>
              </a:ext>
            </a:extLst>
          </p:cNvPr>
          <p:cNvSpPr txBox="1"/>
          <p:nvPr/>
        </p:nvSpPr>
        <p:spPr>
          <a:xfrm>
            <a:off x="250825" y="6308724"/>
            <a:ext cx="7645400" cy="360359"/>
          </a:xfrm>
          <a:prstGeom prst="rect">
            <a:avLst/>
          </a:prstGeom>
        </p:spPr>
        <p:txBody>
          <a:bodyPr vert="horz" wrap="none" lIns="91440" tIns="0" rIns="91440" bIns="0" rtlCol="0" anchor="t">
            <a:normAutofit/>
          </a:bodyPr>
          <a:lstStyle/>
          <a:p>
            <a:pPr>
              <a:spcAft>
                <a:spcPts val="600"/>
              </a:spcAft>
              <a:buClr>
                <a:schemeClr val="accent1"/>
              </a:buClr>
            </a:pPr>
            <a:endParaRPr lang="en-US" sz="700" kern="1200">
              <a:latin typeface="+mj-lt"/>
              <a:ea typeface="+mn-ea"/>
              <a:cs typeface="Goldman Sans Light" panose="020B0503020203020204" pitchFamily="34" charset="0"/>
            </a:endParaRPr>
          </a:p>
        </p:txBody>
      </p:sp>
      <p:graphicFrame>
        <p:nvGraphicFramePr>
          <p:cNvPr id="7" name="Chart 6">
            <a:extLst>
              <a:ext uri="{FF2B5EF4-FFF2-40B4-BE49-F238E27FC236}">
                <a16:creationId xmlns:a16="http://schemas.microsoft.com/office/drawing/2014/main" id="{114C8F58-CFE5-A3A3-CD3F-057CA571B4C4}"/>
              </a:ext>
            </a:extLst>
          </p:cNvPr>
          <p:cNvGraphicFramePr>
            <a:graphicFrameLocks/>
          </p:cNvGraphicFramePr>
          <p:nvPr>
            <p:extLst>
              <p:ext uri="{D42A27DB-BD31-4B8C-83A1-F6EECF244321}">
                <p14:modId xmlns:p14="http://schemas.microsoft.com/office/powerpoint/2010/main" val="3906176889"/>
              </p:ext>
            </p:extLst>
          </p:nvPr>
        </p:nvGraphicFramePr>
        <p:xfrm>
          <a:off x="250825" y="1006475"/>
          <a:ext cx="8642293" cy="5194298"/>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a:extLst>
              <a:ext uri="{FF2B5EF4-FFF2-40B4-BE49-F238E27FC236}">
                <a16:creationId xmlns:a16="http://schemas.microsoft.com/office/drawing/2014/main" id="{15C17B50-E65D-39B1-ED71-D64F5E2D4E57}"/>
              </a:ext>
            </a:extLst>
          </p:cNvPr>
          <p:cNvSpPr/>
          <p:nvPr/>
        </p:nvSpPr>
        <p:spPr>
          <a:xfrm>
            <a:off x="2267574" y="990600"/>
            <a:ext cx="4641949" cy="3201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indent="0" algn="l" defTabSz="914400" rtl="0" eaLnBrk="1" latinLnBrk="0" hangingPunct="1">
              <a:defRPr sz="1800" kern="1200">
                <a:solidFill>
                  <a:schemeClr val="lt1"/>
                </a:solidFill>
                <a:latin typeface="+mn-lt"/>
                <a:ea typeface="+mn-ea"/>
                <a:cs typeface="+mn-cs"/>
              </a:defRPr>
            </a:lvl1pPr>
            <a:lvl2pPr marL="457200" indent="0" algn="l" defTabSz="914400" rtl="0" eaLnBrk="1" latinLnBrk="0" hangingPunct="1">
              <a:defRPr sz="1800" kern="1200">
                <a:solidFill>
                  <a:schemeClr val="lt1"/>
                </a:solidFill>
                <a:latin typeface="+mn-lt"/>
                <a:ea typeface="+mn-ea"/>
                <a:cs typeface="+mn-cs"/>
              </a:defRPr>
            </a:lvl2pPr>
            <a:lvl3pPr marL="914400" indent="0" algn="l" defTabSz="914400" rtl="0" eaLnBrk="1" latinLnBrk="0" hangingPunct="1">
              <a:defRPr sz="1800" kern="1200">
                <a:solidFill>
                  <a:schemeClr val="lt1"/>
                </a:solidFill>
                <a:latin typeface="+mn-lt"/>
                <a:ea typeface="+mn-ea"/>
                <a:cs typeface="+mn-cs"/>
              </a:defRPr>
            </a:lvl3pPr>
            <a:lvl4pPr marL="1371600" indent="0" algn="l" defTabSz="914400" rtl="0" eaLnBrk="1" latinLnBrk="0" hangingPunct="1">
              <a:defRPr sz="1800" kern="1200">
                <a:solidFill>
                  <a:schemeClr val="lt1"/>
                </a:solidFill>
                <a:latin typeface="+mn-lt"/>
                <a:ea typeface="+mn-ea"/>
                <a:cs typeface="+mn-cs"/>
              </a:defRPr>
            </a:lvl4pPr>
            <a:lvl5pPr marL="1828800" indent="0" algn="l" defTabSz="914400" rtl="0" eaLnBrk="1" latinLnBrk="0" hangingPunct="1">
              <a:defRPr sz="1800" kern="1200">
                <a:solidFill>
                  <a:schemeClr val="lt1"/>
                </a:solidFill>
                <a:latin typeface="+mn-lt"/>
                <a:ea typeface="+mn-ea"/>
                <a:cs typeface="+mn-cs"/>
              </a:defRPr>
            </a:lvl5pPr>
            <a:lvl6pPr marL="2286000" indent="0" algn="l" defTabSz="914400" rtl="0" eaLnBrk="1" latinLnBrk="0" hangingPunct="1">
              <a:defRPr sz="1800" kern="1200">
                <a:solidFill>
                  <a:schemeClr val="lt1"/>
                </a:solidFill>
                <a:latin typeface="+mn-lt"/>
                <a:ea typeface="+mn-ea"/>
                <a:cs typeface="+mn-cs"/>
              </a:defRPr>
            </a:lvl6pPr>
            <a:lvl7pPr marL="2743200" indent="0" algn="l" defTabSz="914400" rtl="0" eaLnBrk="1" latinLnBrk="0" hangingPunct="1">
              <a:defRPr sz="1800" kern="1200">
                <a:solidFill>
                  <a:schemeClr val="lt1"/>
                </a:solidFill>
                <a:latin typeface="+mn-lt"/>
                <a:ea typeface="+mn-ea"/>
                <a:cs typeface="+mn-cs"/>
              </a:defRPr>
            </a:lvl7pPr>
            <a:lvl8pPr marL="3200400" indent="0" algn="l" defTabSz="914400" rtl="0" eaLnBrk="1" latinLnBrk="0" hangingPunct="1">
              <a:defRPr sz="1800" kern="1200">
                <a:solidFill>
                  <a:schemeClr val="lt1"/>
                </a:solidFill>
                <a:latin typeface="+mn-lt"/>
                <a:ea typeface="+mn-ea"/>
                <a:cs typeface="+mn-cs"/>
              </a:defRPr>
            </a:lvl8pPr>
            <a:lvl9pPr marL="3657600" indent="0" algn="l" defTabSz="914400" rtl="0" eaLnBrk="1" latinLnBrk="0" hangingPunct="1">
              <a:defRPr sz="1800" kern="1200">
                <a:solidFill>
                  <a:schemeClr val="lt1"/>
                </a:solidFill>
                <a:latin typeface="+mn-lt"/>
                <a:ea typeface="+mn-ea"/>
                <a:cs typeface="+mn-cs"/>
              </a:defRPr>
            </a:lvl9pPr>
          </a:lstStyle>
          <a:p>
            <a:pPr algn="ctr"/>
            <a:r>
              <a:rPr lang="en-CA" sz="1200" b="1">
                <a:solidFill>
                  <a:schemeClr val="tx1"/>
                </a:solidFill>
              </a:rPr>
              <a:t>COGS and COGS as a Percentage of Revenue</a:t>
            </a:r>
          </a:p>
        </p:txBody>
      </p:sp>
      <p:sp>
        <p:nvSpPr>
          <p:cNvPr id="9" name="Rectangle 8">
            <a:extLst>
              <a:ext uri="{FF2B5EF4-FFF2-40B4-BE49-F238E27FC236}">
                <a16:creationId xmlns:a16="http://schemas.microsoft.com/office/drawing/2014/main" id="{70BFD911-72FB-6E15-5C3D-0D636248B2B7}"/>
              </a:ext>
            </a:extLst>
          </p:cNvPr>
          <p:cNvSpPr/>
          <p:nvPr/>
        </p:nvSpPr>
        <p:spPr>
          <a:xfrm>
            <a:off x="3827351" y="1204638"/>
            <a:ext cx="1489239" cy="3202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indent="0" algn="l" defTabSz="914400" rtl="0" eaLnBrk="1" latinLnBrk="0" hangingPunct="1">
              <a:defRPr sz="1800" kern="1200">
                <a:solidFill>
                  <a:schemeClr val="lt1"/>
                </a:solidFill>
                <a:latin typeface="+mn-lt"/>
                <a:ea typeface="+mn-ea"/>
                <a:cs typeface="+mn-cs"/>
              </a:defRPr>
            </a:lvl1pPr>
            <a:lvl2pPr marL="457200" indent="0" algn="l" defTabSz="914400" rtl="0" eaLnBrk="1" latinLnBrk="0" hangingPunct="1">
              <a:defRPr sz="1800" kern="1200">
                <a:solidFill>
                  <a:schemeClr val="lt1"/>
                </a:solidFill>
                <a:latin typeface="+mn-lt"/>
                <a:ea typeface="+mn-ea"/>
                <a:cs typeface="+mn-cs"/>
              </a:defRPr>
            </a:lvl2pPr>
            <a:lvl3pPr marL="914400" indent="0" algn="l" defTabSz="914400" rtl="0" eaLnBrk="1" latinLnBrk="0" hangingPunct="1">
              <a:defRPr sz="1800" kern="1200">
                <a:solidFill>
                  <a:schemeClr val="lt1"/>
                </a:solidFill>
                <a:latin typeface="+mn-lt"/>
                <a:ea typeface="+mn-ea"/>
                <a:cs typeface="+mn-cs"/>
              </a:defRPr>
            </a:lvl3pPr>
            <a:lvl4pPr marL="1371600" indent="0" algn="l" defTabSz="914400" rtl="0" eaLnBrk="1" latinLnBrk="0" hangingPunct="1">
              <a:defRPr sz="1800" kern="1200">
                <a:solidFill>
                  <a:schemeClr val="lt1"/>
                </a:solidFill>
                <a:latin typeface="+mn-lt"/>
                <a:ea typeface="+mn-ea"/>
                <a:cs typeface="+mn-cs"/>
              </a:defRPr>
            </a:lvl4pPr>
            <a:lvl5pPr marL="1828800" indent="0" algn="l" defTabSz="914400" rtl="0" eaLnBrk="1" latinLnBrk="0" hangingPunct="1">
              <a:defRPr sz="1800" kern="1200">
                <a:solidFill>
                  <a:schemeClr val="lt1"/>
                </a:solidFill>
                <a:latin typeface="+mn-lt"/>
                <a:ea typeface="+mn-ea"/>
                <a:cs typeface="+mn-cs"/>
              </a:defRPr>
            </a:lvl5pPr>
            <a:lvl6pPr marL="2286000" indent="0" algn="l" defTabSz="914400" rtl="0" eaLnBrk="1" latinLnBrk="0" hangingPunct="1">
              <a:defRPr sz="1800" kern="1200">
                <a:solidFill>
                  <a:schemeClr val="lt1"/>
                </a:solidFill>
                <a:latin typeface="+mn-lt"/>
                <a:ea typeface="+mn-ea"/>
                <a:cs typeface="+mn-cs"/>
              </a:defRPr>
            </a:lvl6pPr>
            <a:lvl7pPr marL="2743200" indent="0" algn="l" defTabSz="914400" rtl="0" eaLnBrk="1" latinLnBrk="0" hangingPunct="1">
              <a:defRPr sz="1800" kern="1200">
                <a:solidFill>
                  <a:schemeClr val="lt1"/>
                </a:solidFill>
                <a:latin typeface="+mn-lt"/>
                <a:ea typeface="+mn-ea"/>
                <a:cs typeface="+mn-cs"/>
              </a:defRPr>
            </a:lvl7pPr>
            <a:lvl8pPr marL="3200400" indent="0" algn="l" defTabSz="914400" rtl="0" eaLnBrk="1" latinLnBrk="0" hangingPunct="1">
              <a:defRPr sz="1800" kern="1200">
                <a:solidFill>
                  <a:schemeClr val="lt1"/>
                </a:solidFill>
                <a:latin typeface="+mn-lt"/>
                <a:ea typeface="+mn-ea"/>
                <a:cs typeface="+mn-cs"/>
              </a:defRPr>
            </a:lvl8pPr>
            <a:lvl9pPr marL="3657600" indent="0" algn="l" defTabSz="914400" rtl="0" eaLnBrk="1" latinLnBrk="0" hangingPunct="1">
              <a:defRPr sz="1800" kern="1200">
                <a:solidFill>
                  <a:schemeClr val="lt1"/>
                </a:solidFill>
                <a:latin typeface="+mn-lt"/>
                <a:ea typeface="+mn-ea"/>
                <a:cs typeface="+mn-cs"/>
              </a:defRPr>
            </a:lvl9pPr>
          </a:lstStyle>
          <a:p>
            <a:pPr algn="ctr"/>
            <a:r>
              <a:rPr lang="en-CA" sz="1200" i="1">
                <a:solidFill>
                  <a:schemeClr val="tx1"/>
                </a:solidFill>
              </a:rPr>
              <a:t>(USD mm)</a:t>
            </a:r>
          </a:p>
        </p:txBody>
      </p:sp>
    </p:spTree>
    <p:extLst>
      <p:ext uri="{BB962C8B-B14F-4D97-AF65-F5344CB8AC3E}">
        <p14:creationId xmlns:p14="http://schemas.microsoft.com/office/powerpoint/2010/main" val="15974468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E1A70D-4CBB-C909-208A-320F2A4EF40E}"/>
              </a:ext>
            </a:extLst>
          </p:cNvPr>
          <p:cNvSpPr>
            <a:spLocks noGrp="1"/>
          </p:cNvSpPr>
          <p:nvPr>
            <p:ph type="body" sz="quarter" idx="21"/>
          </p:nvPr>
        </p:nvSpPr>
        <p:spPr/>
        <p:txBody>
          <a:bodyPr/>
          <a:lstStyle/>
          <a:p>
            <a:r>
              <a:rPr lang="en-US"/>
              <a:t>5 industry-based coverage groups that pitch securities which are voted into the portfolio</a:t>
            </a:r>
            <a:endParaRPr lang="en-CA"/>
          </a:p>
        </p:txBody>
      </p:sp>
      <p:sp>
        <p:nvSpPr>
          <p:cNvPr id="2" name="Title 1">
            <a:extLst>
              <a:ext uri="{FF2B5EF4-FFF2-40B4-BE49-F238E27FC236}">
                <a16:creationId xmlns:a16="http://schemas.microsoft.com/office/drawing/2014/main" id="{7183F972-4004-2C59-2DA0-D24DD94E936A}"/>
              </a:ext>
            </a:extLst>
          </p:cNvPr>
          <p:cNvSpPr>
            <a:spLocks noGrp="1"/>
          </p:cNvSpPr>
          <p:nvPr>
            <p:ph type="title"/>
          </p:nvPr>
        </p:nvSpPr>
        <p:spPr/>
        <p:txBody>
          <a:bodyPr/>
          <a:lstStyle/>
          <a:p>
            <a:r>
              <a:rPr lang="en-US"/>
              <a:t>TFS Investment Group Structure</a:t>
            </a:r>
            <a:endParaRPr lang="en-CA"/>
          </a:p>
        </p:txBody>
      </p:sp>
      <p:sp>
        <p:nvSpPr>
          <p:cNvPr id="3" name="Text Placeholder 2">
            <a:extLst>
              <a:ext uri="{FF2B5EF4-FFF2-40B4-BE49-F238E27FC236}">
                <a16:creationId xmlns:a16="http://schemas.microsoft.com/office/drawing/2014/main" id="{BB640863-B0C3-BE30-929E-1030EF29C197}"/>
              </a:ext>
            </a:extLst>
          </p:cNvPr>
          <p:cNvSpPr>
            <a:spLocks noGrp="1"/>
          </p:cNvSpPr>
          <p:nvPr>
            <p:ph type="body" sz="quarter" idx="13"/>
          </p:nvPr>
        </p:nvSpPr>
        <p:spPr/>
        <p:txBody>
          <a:bodyPr/>
          <a:lstStyle/>
          <a:p>
            <a:endParaRPr lang="en-CA"/>
          </a:p>
        </p:txBody>
      </p:sp>
      <p:sp>
        <p:nvSpPr>
          <p:cNvPr id="66" name="Rectangle 65">
            <a:extLst>
              <a:ext uri="{FF2B5EF4-FFF2-40B4-BE49-F238E27FC236}">
                <a16:creationId xmlns:a16="http://schemas.microsoft.com/office/drawing/2014/main" id="{BED5400B-3067-8A31-31F7-D83CBDD64642}"/>
              </a:ext>
            </a:extLst>
          </p:cNvPr>
          <p:cNvSpPr/>
          <p:nvPr/>
        </p:nvSpPr>
        <p:spPr>
          <a:xfrm>
            <a:off x="1488529" y="5080909"/>
            <a:ext cx="6184747" cy="831274"/>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tx2"/>
                </a:solidFill>
              </a:rPr>
              <a:t>Each Coverage Group Consists of 1 Portfolio Manager, 1 Senior Analyst, 3 Junior Analysts, and 1 First Year Analyst; Coverage Groups are Responsible for Producing Multiple Pitches, Tear Sheets, and Initiation Reports over the Course of the Year at our Weekly Meetings</a:t>
            </a:r>
            <a:endParaRPr lang="en-CA" sz="1050">
              <a:solidFill>
                <a:schemeClr val="tx2"/>
              </a:solidFill>
            </a:endParaRPr>
          </a:p>
        </p:txBody>
      </p:sp>
      <p:grpSp>
        <p:nvGrpSpPr>
          <p:cNvPr id="5" name="Group 4">
            <a:extLst>
              <a:ext uri="{FF2B5EF4-FFF2-40B4-BE49-F238E27FC236}">
                <a16:creationId xmlns:a16="http://schemas.microsoft.com/office/drawing/2014/main" id="{8F263AD1-310A-6BC1-C23C-4DE1D286316B}"/>
              </a:ext>
            </a:extLst>
          </p:cNvPr>
          <p:cNvGrpSpPr/>
          <p:nvPr/>
        </p:nvGrpSpPr>
        <p:grpSpPr>
          <a:xfrm>
            <a:off x="250825" y="1127259"/>
            <a:ext cx="8642350" cy="3504901"/>
            <a:chOff x="250825" y="1020929"/>
            <a:chExt cx="8642350" cy="3504901"/>
          </a:xfrm>
        </p:grpSpPr>
        <p:sp>
          <p:nvSpPr>
            <p:cNvPr id="80" name="TextBox 79">
              <a:extLst>
                <a:ext uri="{FF2B5EF4-FFF2-40B4-BE49-F238E27FC236}">
                  <a16:creationId xmlns:a16="http://schemas.microsoft.com/office/drawing/2014/main" id="{3D5EF107-5C9F-1857-E016-5A6A8191FE4A}"/>
                </a:ext>
              </a:extLst>
            </p:cNvPr>
            <p:cNvSpPr txBox="1"/>
            <p:nvPr/>
          </p:nvSpPr>
          <p:spPr>
            <a:xfrm>
              <a:off x="3153009" y="1244023"/>
              <a:ext cx="2837979" cy="851431"/>
            </a:xfrm>
            <a:prstGeom prst="rect">
              <a:avLst/>
            </a:prstGeom>
            <a:solidFill>
              <a:srgbClr val="8B939C">
                <a:lumMod val="40000"/>
                <a:lumOff val="60000"/>
              </a:srgbClr>
            </a:solidFill>
            <a:ln w="15875">
              <a:solidFill>
                <a:srgbClr val="0F3557"/>
              </a:solidFill>
              <a:prstDash val="dash"/>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100" b="0" i="0" u="none" strike="noStrike" kern="0" cap="none" spc="0" normalizeH="0" baseline="0" noProof="0">
                <a:ln>
                  <a:noFill/>
                </a:ln>
                <a:solidFill>
                  <a:srgbClr val="FFFFFF"/>
                </a:solidFill>
                <a:effectLst/>
                <a:uLnTx/>
                <a:uFillTx/>
                <a:latin typeface="+mj-lt"/>
              </a:endParaRPr>
            </a:p>
          </p:txBody>
        </p:sp>
        <p:sp>
          <p:nvSpPr>
            <p:cNvPr id="81" name="TextBox 80">
              <a:extLst>
                <a:ext uri="{FF2B5EF4-FFF2-40B4-BE49-F238E27FC236}">
                  <a16:creationId xmlns:a16="http://schemas.microsoft.com/office/drawing/2014/main" id="{F7D3C096-1E97-8799-F3A5-CF495D4D599D}"/>
                </a:ext>
              </a:extLst>
            </p:cNvPr>
            <p:cNvSpPr txBox="1"/>
            <p:nvPr/>
          </p:nvSpPr>
          <p:spPr>
            <a:xfrm>
              <a:off x="4139961" y="1368174"/>
              <a:ext cx="858790" cy="287200"/>
            </a:xfrm>
            <a:prstGeom prst="rect">
              <a:avLst/>
            </a:prstGeom>
            <a:solidFill>
              <a:srgbClr val="235C87"/>
            </a:solidFill>
          </p:spPr>
          <p:txBody>
            <a:bodyPr wrap="square" lIns="0" tIns="0" rIns="0" bIns="0" rtlCol="0" anchor="ctr">
              <a:noAutofit/>
            </a:bodyPr>
            <a:lstStyle/>
            <a:p>
              <a:pPr algn="ctr"/>
              <a:r>
                <a:rPr lang="en-US" sz="1100">
                  <a:solidFill>
                    <a:srgbClr val="FFFFFF"/>
                  </a:solidFill>
                  <a:latin typeface="+mj-lt"/>
                </a:rPr>
                <a:t>President</a:t>
              </a:r>
              <a:endParaRPr lang="en-CA" sz="1100">
                <a:solidFill>
                  <a:srgbClr val="FFFFFF"/>
                </a:solidFill>
                <a:latin typeface="+mj-lt"/>
              </a:endParaRPr>
            </a:p>
          </p:txBody>
        </p:sp>
        <p:sp>
          <p:nvSpPr>
            <p:cNvPr id="82" name="TextBox 81">
              <a:extLst>
                <a:ext uri="{FF2B5EF4-FFF2-40B4-BE49-F238E27FC236}">
                  <a16:creationId xmlns:a16="http://schemas.microsoft.com/office/drawing/2014/main" id="{A4E0928D-B804-21D0-7D56-D67874EED672}"/>
                </a:ext>
              </a:extLst>
            </p:cNvPr>
            <p:cNvSpPr txBox="1"/>
            <p:nvPr/>
          </p:nvSpPr>
          <p:spPr>
            <a:xfrm>
              <a:off x="4144902" y="1719608"/>
              <a:ext cx="858790" cy="287200"/>
            </a:xfrm>
            <a:prstGeom prst="rect">
              <a:avLst/>
            </a:prstGeom>
            <a:solidFill>
              <a:srgbClr val="235C87"/>
            </a:solidFill>
          </p:spPr>
          <p:txBody>
            <a:bodyPr wrap="square" lIns="0" tIns="0" rIns="0" bIns="0" rtlCol="0" anchor="ctr">
              <a:noAutofit/>
            </a:bodyPr>
            <a:lstStyle/>
            <a:p>
              <a:pPr algn="ctr"/>
              <a:r>
                <a:rPr lang="en-US" sz="1100">
                  <a:solidFill>
                    <a:srgbClr val="FFFFFF"/>
                  </a:solidFill>
                  <a:latin typeface="+mj-lt"/>
                </a:rPr>
                <a:t>COO</a:t>
              </a:r>
              <a:endParaRPr lang="en-CA" sz="1100">
                <a:solidFill>
                  <a:srgbClr val="FFFFFF"/>
                </a:solidFill>
                <a:latin typeface="+mj-lt"/>
              </a:endParaRPr>
            </a:p>
          </p:txBody>
        </p:sp>
        <p:sp>
          <p:nvSpPr>
            <p:cNvPr id="83" name="TextBox 82">
              <a:extLst>
                <a:ext uri="{FF2B5EF4-FFF2-40B4-BE49-F238E27FC236}">
                  <a16:creationId xmlns:a16="http://schemas.microsoft.com/office/drawing/2014/main" id="{3291053D-42F8-5E62-537B-141BCD0E1D59}"/>
                </a:ext>
              </a:extLst>
            </p:cNvPr>
            <p:cNvSpPr txBox="1"/>
            <p:nvPr/>
          </p:nvSpPr>
          <p:spPr>
            <a:xfrm>
              <a:off x="3221137" y="1719608"/>
              <a:ext cx="858790" cy="287200"/>
            </a:xfrm>
            <a:prstGeom prst="rect">
              <a:avLst/>
            </a:prstGeom>
            <a:solidFill>
              <a:srgbClr val="235C87"/>
            </a:solidFill>
          </p:spPr>
          <p:txBody>
            <a:bodyPr wrap="square" lIns="0" tIns="0" rIns="0" bIns="0" rtlCol="0" anchor="ctr">
              <a:noAutofit/>
            </a:bodyPr>
            <a:lstStyle/>
            <a:p>
              <a:pPr algn="ctr"/>
              <a:r>
                <a:rPr lang="en-US" sz="1100">
                  <a:solidFill>
                    <a:srgbClr val="FFFFFF"/>
                  </a:solidFill>
                  <a:latin typeface="+mj-lt"/>
                </a:rPr>
                <a:t>CIO</a:t>
              </a:r>
              <a:endParaRPr lang="en-CA" sz="1100">
                <a:solidFill>
                  <a:srgbClr val="FFFFFF"/>
                </a:solidFill>
                <a:latin typeface="+mj-lt"/>
              </a:endParaRPr>
            </a:p>
          </p:txBody>
        </p:sp>
        <p:sp>
          <p:nvSpPr>
            <p:cNvPr id="86" name="TextBox 85">
              <a:extLst>
                <a:ext uri="{FF2B5EF4-FFF2-40B4-BE49-F238E27FC236}">
                  <a16:creationId xmlns:a16="http://schemas.microsoft.com/office/drawing/2014/main" id="{508FC411-BEBA-1B9A-DE6C-32FE71FC65CA}"/>
                </a:ext>
              </a:extLst>
            </p:cNvPr>
            <p:cNvSpPr txBox="1"/>
            <p:nvPr/>
          </p:nvSpPr>
          <p:spPr>
            <a:xfrm>
              <a:off x="250825" y="3097749"/>
              <a:ext cx="1396684" cy="1428081"/>
            </a:xfrm>
            <a:prstGeom prst="rect">
              <a:avLst/>
            </a:prstGeom>
            <a:solidFill>
              <a:srgbClr val="8B939C">
                <a:lumMod val="40000"/>
                <a:lumOff val="60000"/>
              </a:srgbClr>
            </a:solidFill>
            <a:ln w="15875">
              <a:solidFill>
                <a:srgbClr val="0F3557"/>
              </a:solidFill>
              <a:prstDash val="dash"/>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100" b="0" i="0" u="none" strike="noStrike" kern="0" cap="none" spc="0" normalizeH="0" baseline="0" noProof="0">
                <a:ln>
                  <a:noFill/>
                </a:ln>
                <a:solidFill>
                  <a:srgbClr val="FFFFFF"/>
                </a:solidFill>
                <a:effectLst/>
                <a:uLnTx/>
                <a:uFillTx/>
                <a:latin typeface="+mj-lt"/>
              </a:endParaRPr>
            </a:p>
          </p:txBody>
        </p:sp>
        <p:sp>
          <p:nvSpPr>
            <p:cNvPr id="87" name="TextBox 86">
              <a:extLst>
                <a:ext uri="{FF2B5EF4-FFF2-40B4-BE49-F238E27FC236}">
                  <a16:creationId xmlns:a16="http://schemas.microsoft.com/office/drawing/2014/main" id="{4F580BC8-9BA6-1BFF-AC86-7BEDEDDBCC5A}"/>
                </a:ext>
              </a:extLst>
            </p:cNvPr>
            <p:cNvSpPr txBox="1"/>
            <p:nvPr/>
          </p:nvSpPr>
          <p:spPr>
            <a:xfrm>
              <a:off x="314739" y="3182197"/>
              <a:ext cx="1264230" cy="287201"/>
            </a:xfrm>
            <a:prstGeom prst="rect">
              <a:avLst/>
            </a:prstGeom>
            <a:solidFill>
              <a:srgbClr val="2E89DB"/>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Portfolio Manager</a:t>
              </a:r>
              <a:endParaRPr kumimoji="0" lang="en-CA" sz="1100" b="0" i="0" u="none" strike="noStrike" kern="0" cap="none" spc="0" normalizeH="0" baseline="0" noProof="0">
                <a:ln>
                  <a:noFill/>
                </a:ln>
                <a:solidFill>
                  <a:srgbClr val="FFFFFF"/>
                </a:solidFill>
                <a:effectLst/>
                <a:uLnTx/>
                <a:uFillTx/>
                <a:latin typeface="+mj-lt"/>
              </a:endParaRPr>
            </a:p>
          </p:txBody>
        </p:sp>
        <p:sp>
          <p:nvSpPr>
            <p:cNvPr id="88" name="TextBox 87">
              <a:extLst>
                <a:ext uri="{FF2B5EF4-FFF2-40B4-BE49-F238E27FC236}">
                  <a16:creationId xmlns:a16="http://schemas.microsoft.com/office/drawing/2014/main" id="{2FF7DA30-BD82-7B8D-4CE9-493A26ECBB0A}"/>
                </a:ext>
              </a:extLst>
            </p:cNvPr>
            <p:cNvSpPr txBox="1"/>
            <p:nvPr/>
          </p:nvSpPr>
          <p:spPr>
            <a:xfrm>
              <a:off x="314739" y="3505005"/>
              <a:ext cx="1264230" cy="287201"/>
            </a:xfrm>
            <a:prstGeom prst="rect">
              <a:avLst/>
            </a:prstGeom>
            <a:solidFill>
              <a:srgbClr val="74B1E6"/>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Senior Analyst</a:t>
              </a:r>
              <a:endParaRPr kumimoji="0" lang="en-CA" sz="1100" b="0" i="0" u="none" strike="noStrike" kern="0" cap="none" spc="0" normalizeH="0" baseline="0" noProof="0">
                <a:ln>
                  <a:noFill/>
                </a:ln>
                <a:solidFill>
                  <a:srgbClr val="FFFFFF"/>
                </a:solidFill>
                <a:effectLst/>
                <a:uLnTx/>
                <a:uFillTx/>
                <a:latin typeface="+mj-lt"/>
              </a:endParaRPr>
            </a:p>
          </p:txBody>
        </p:sp>
        <p:sp>
          <p:nvSpPr>
            <p:cNvPr id="89" name="TextBox 88">
              <a:extLst>
                <a:ext uri="{FF2B5EF4-FFF2-40B4-BE49-F238E27FC236}">
                  <a16:creationId xmlns:a16="http://schemas.microsoft.com/office/drawing/2014/main" id="{4BAEFCBD-204B-FC8F-906D-78183F20142D}"/>
                </a:ext>
              </a:extLst>
            </p:cNvPr>
            <p:cNvSpPr txBox="1"/>
            <p:nvPr/>
          </p:nvSpPr>
          <p:spPr>
            <a:xfrm>
              <a:off x="314739" y="3827814"/>
              <a:ext cx="1264230" cy="287201"/>
            </a:xfrm>
            <a:prstGeom prst="rect">
              <a:avLst/>
            </a:prstGeom>
            <a:solidFill>
              <a:srgbClr val="74B1E6"/>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3 Junior Analysts</a:t>
              </a:r>
              <a:endParaRPr kumimoji="0" lang="en-CA" sz="1100" b="0" i="0" u="none" strike="noStrike" kern="0" cap="none" spc="0" normalizeH="0" baseline="0" noProof="0">
                <a:ln>
                  <a:noFill/>
                </a:ln>
                <a:solidFill>
                  <a:srgbClr val="FFFFFF"/>
                </a:solidFill>
                <a:effectLst/>
                <a:uLnTx/>
                <a:uFillTx/>
                <a:latin typeface="+mj-lt"/>
              </a:endParaRPr>
            </a:p>
          </p:txBody>
        </p:sp>
        <p:sp>
          <p:nvSpPr>
            <p:cNvPr id="90" name="TextBox 89">
              <a:extLst>
                <a:ext uri="{FF2B5EF4-FFF2-40B4-BE49-F238E27FC236}">
                  <a16:creationId xmlns:a16="http://schemas.microsoft.com/office/drawing/2014/main" id="{73181525-99A0-5B79-076E-F9D636993C66}"/>
                </a:ext>
              </a:extLst>
            </p:cNvPr>
            <p:cNvSpPr txBox="1"/>
            <p:nvPr/>
          </p:nvSpPr>
          <p:spPr>
            <a:xfrm>
              <a:off x="314739" y="4150622"/>
              <a:ext cx="1264230" cy="287201"/>
            </a:xfrm>
            <a:prstGeom prst="rect">
              <a:avLst/>
            </a:prstGeom>
            <a:solidFill>
              <a:srgbClr val="74B1E6"/>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First Year Analyst</a:t>
              </a:r>
              <a:endParaRPr kumimoji="0" lang="en-CA" sz="1100" b="0" i="0" u="none" strike="noStrike" kern="0" cap="none" spc="0" normalizeH="0" baseline="0" noProof="0">
                <a:ln>
                  <a:noFill/>
                </a:ln>
                <a:solidFill>
                  <a:srgbClr val="FFFFFF"/>
                </a:solidFill>
                <a:effectLst/>
                <a:uLnTx/>
                <a:uFillTx/>
                <a:latin typeface="+mj-lt"/>
              </a:endParaRPr>
            </a:p>
          </p:txBody>
        </p:sp>
        <p:sp>
          <p:nvSpPr>
            <p:cNvPr id="91" name="TextBox 90">
              <a:extLst>
                <a:ext uri="{FF2B5EF4-FFF2-40B4-BE49-F238E27FC236}">
                  <a16:creationId xmlns:a16="http://schemas.microsoft.com/office/drawing/2014/main" id="{E8A50133-96E7-CED8-FD11-A64569F5DC1E}"/>
                </a:ext>
              </a:extLst>
            </p:cNvPr>
            <p:cNvSpPr txBox="1"/>
            <p:nvPr/>
          </p:nvSpPr>
          <p:spPr>
            <a:xfrm>
              <a:off x="250825" y="2745845"/>
              <a:ext cx="1396684" cy="361949"/>
            </a:xfrm>
            <a:prstGeom prst="rect">
              <a:avLst/>
            </a:prstGeom>
            <a:solidFill>
              <a:srgbClr val="0F3557"/>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Consumers</a:t>
              </a:r>
              <a:endParaRPr kumimoji="0" lang="en-CA" sz="1100" b="0" i="0" u="none" strike="noStrike" kern="0" cap="none" spc="0" normalizeH="0" baseline="0" noProof="0">
                <a:ln>
                  <a:noFill/>
                </a:ln>
                <a:solidFill>
                  <a:srgbClr val="FFFFFF"/>
                </a:solidFill>
                <a:effectLst/>
                <a:uLnTx/>
                <a:uFillTx/>
                <a:latin typeface="+mj-lt"/>
              </a:endParaRPr>
            </a:p>
          </p:txBody>
        </p:sp>
        <p:sp>
          <p:nvSpPr>
            <p:cNvPr id="84" name="TextBox 83">
              <a:extLst>
                <a:ext uri="{FF2B5EF4-FFF2-40B4-BE49-F238E27FC236}">
                  <a16:creationId xmlns:a16="http://schemas.microsoft.com/office/drawing/2014/main" id="{FC52F2DF-FFD5-5AB5-C9AD-4EB70D7F5DE1}"/>
                </a:ext>
              </a:extLst>
            </p:cNvPr>
            <p:cNvSpPr txBox="1"/>
            <p:nvPr/>
          </p:nvSpPr>
          <p:spPr>
            <a:xfrm>
              <a:off x="3153009" y="1020929"/>
              <a:ext cx="2837980" cy="287200"/>
            </a:xfrm>
            <a:prstGeom prst="rect">
              <a:avLst/>
            </a:prstGeom>
            <a:solidFill>
              <a:srgbClr val="0F3557"/>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Executives</a:t>
              </a:r>
              <a:endParaRPr kumimoji="0" lang="en-CA" sz="1100" b="0" i="0" u="none" strike="noStrike" kern="0" cap="none" spc="0" normalizeH="0" baseline="0" noProof="0">
                <a:ln>
                  <a:noFill/>
                </a:ln>
                <a:solidFill>
                  <a:srgbClr val="FFFFFF"/>
                </a:solidFill>
                <a:effectLst/>
                <a:uLnTx/>
                <a:uFillTx/>
                <a:latin typeface="+mj-lt"/>
              </a:endParaRPr>
            </a:p>
          </p:txBody>
        </p:sp>
        <p:cxnSp>
          <p:nvCxnSpPr>
            <p:cNvPr id="92" name="Elbow Connector 91">
              <a:extLst>
                <a:ext uri="{FF2B5EF4-FFF2-40B4-BE49-F238E27FC236}">
                  <a16:creationId xmlns:a16="http://schemas.microsoft.com/office/drawing/2014/main" id="{E191A59C-D84F-DBDE-78CF-F789B47CBE91}"/>
                </a:ext>
              </a:extLst>
            </p:cNvPr>
            <p:cNvCxnSpPr>
              <a:cxnSpLocks/>
              <a:stCxn id="80" idx="2"/>
              <a:endCxn id="91" idx="0"/>
            </p:cNvCxnSpPr>
            <p:nvPr/>
          </p:nvCxnSpPr>
          <p:spPr>
            <a:xfrm rot="5400000">
              <a:off x="2435388" y="609233"/>
              <a:ext cx="650391" cy="3622832"/>
            </a:xfrm>
            <a:prstGeom prst="bentConnector3">
              <a:avLst/>
            </a:prstGeom>
            <a:noFill/>
            <a:ln w="6350" cap="flat" cmpd="sng" algn="ctr">
              <a:solidFill>
                <a:srgbClr val="0F3557"/>
              </a:solidFill>
              <a:prstDash val="solid"/>
              <a:miter lim="800000"/>
              <a:tailEnd type="triangle"/>
            </a:ln>
            <a:effectLst/>
          </p:spPr>
        </p:cxnSp>
        <p:cxnSp>
          <p:nvCxnSpPr>
            <p:cNvPr id="93" name="Elbow Connector 92">
              <a:extLst>
                <a:ext uri="{FF2B5EF4-FFF2-40B4-BE49-F238E27FC236}">
                  <a16:creationId xmlns:a16="http://schemas.microsoft.com/office/drawing/2014/main" id="{D17446CC-295E-19F1-8DBA-1C907FC233FD}"/>
                </a:ext>
              </a:extLst>
            </p:cNvPr>
            <p:cNvCxnSpPr>
              <a:cxnSpLocks/>
              <a:stCxn id="80" idx="2"/>
              <a:endCxn id="116" idx="0"/>
            </p:cNvCxnSpPr>
            <p:nvPr/>
          </p:nvCxnSpPr>
          <p:spPr>
            <a:xfrm rot="16200000" flipH="1">
              <a:off x="5152512" y="1514941"/>
              <a:ext cx="650391" cy="1811416"/>
            </a:xfrm>
            <a:prstGeom prst="bentConnector3">
              <a:avLst>
                <a:gd name="adj1" fmla="val 50000"/>
              </a:avLst>
            </a:prstGeom>
            <a:noFill/>
            <a:ln w="6350" cap="flat" cmpd="sng" algn="ctr">
              <a:solidFill>
                <a:srgbClr val="0F3557"/>
              </a:solidFill>
              <a:prstDash val="solid"/>
              <a:miter lim="800000"/>
              <a:tailEnd type="triangle"/>
            </a:ln>
            <a:effectLst/>
          </p:spPr>
        </p:cxnSp>
        <p:cxnSp>
          <p:nvCxnSpPr>
            <p:cNvPr id="94" name="Straight Arrow Connector 93">
              <a:extLst>
                <a:ext uri="{FF2B5EF4-FFF2-40B4-BE49-F238E27FC236}">
                  <a16:creationId xmlns:a16="http://schemas.microsoft.com/office/drawing/2014/main" id="{5EC37B91-1B91-AED9-CB44-C1CE6881A37B}"/>
                </a:ext>
              </a:extLst>
            </p:cNvPr>
            <p:cNvCxnSpPr>
              <a:cxnSpLocks/>
              <a:stCxn id="80" idx="2"/>
              <a:endCxn id="109" idx="0"/>
            </p:cNvCxnSpPr>
            <p:nvPr/>
          </p:nvCxnSpPr>
          <p:spPr>
            <a:xfrm>
              <a:off x="4571999" y="2095454"/>
              <a:ext cx="0" cy="650391"/>
            </a:xfrm>
            <a:prstGeom prst="straightConnector1">
              <a:avLst/>
            </a:prstGeom>
            <a:noFill/>
            <a:ln w="6350" cap="flat" cmpd="sng" algn="ctr">
              <a:solidFill>
                <a:srgbClr val="0F3557"/>
              </a:solidFill>
              <a:prstDash val="solid"/>
              <a:miter lim="800000"/>
              <a:tailEnd type="triangle"/>
            </a:ln>
            <a:effectLst/>
          </p:spPr>
        </p:cxnSp>
        <p:sp>
          <p:nvSpPr>
            <p:cNvPr id="95" name="TextBox 94">
              <a:extLst>
                <a:ext uri="{FF2B5EF4-FFF2-40B4-BE49-F238E27FC236}">
                  <a16:creationId xmlns:a16="http://schemas.microsoft.com/office/drawing/2014/main" id="{83B7340D-7890-5325-A064-2875EA1729DD}"/>
                </a:ext>
              </a:extLst>
            </p:cNvPr>
            <p:cNvSpPr txBox="1"/>
            <p:nvPr/>
          </p:nvSpPr>
          <p:spPr>
            <a:xfrm>
              <a:off x="5068667" y="1719608"/>
              <a:ext cx="858790" cy="287200"/>
            </a:xfrm>
            <a:prstGeom prst="rect">
              <a:avLst/>
            </a:prstGeom>
            <a:solidFill>
              <a:srgbClr val="235C87"/>
            </a:solidFill>
          </p:spPr>
          <p:txBody>
            <a:bodyPr wrap="square" lIns="0" tIns="0" rIns="0" bIns="0" rtlCol="0" anchor="ctr">
              <a:noAutofit/>
            </a:bodyPr>
            <a:lstStyle/>
            <a:p>
              <a:pPr algn="ctr"/>
              <a:r>
                <a:rPr lang="en-US" sz="1100">
                  <a:solidFill>
                    <a:srgbClr val="FFFFFF"/>
                  </a:solidFill>
                  <a:latin typeface="+mj-lt"/>
                </a:rPr>
                <a:t>CMO</a:t>
              </a:r>
              <a:endParaRPr lang="en-CA" sz="1100">
                <a:solidFill>
                  <a:srgbClr val="FFFFFF"/>
                </a:solidFill>
                <a:latin typeface="+mj-lt"/>
              </a:endParaRPr>
            </a:p>
          </p:txBody>
        </p:sp>
        <p:sp>
          <p:nvSpPr>
            <p:cNvPr id="97" name="TextBox 96">
              <a:extLst>
                <a:ext uri="{FF2B5EF4-FFF2-40B4-BE49-F238E27FC236}">
                  <a16:creationId xmlns:a16="http://schemas.microsoft.com/office/drawing/2014/main" id="{8D9E208E-323C-92CD-5073-E7FA352F4883}"/>
                </a:ext>
              </a:extLst>
            </p:cNvPr>
            <p:cNvSpPr txBox="1"/>
            <p:nvPr/>
          </p:nvSpPr>
          <p:spPr>
            <a:xfrm>
              <a:off x="2062241" y="3097749"/>
              <a:ext cx="1396684" cy="1428081"/>
            </a:xfrm>
            <a:prstGeom prst="rect">
              <a:avLst/>
            </a:prstGeom>
            <a:solidFill>
              <a:srgbClr val="8B939C">
                <a:lumMod val="40000"/>
                <a:lumOff val="60000"/>
              </a:srgbClr>
            </a:solidFill>
            <a:ln w="15875">
              <a:solidFill>
                <a:srgbClr val="0F3557"/>
              </a:solidFill>
              <a:prstDash val="dash"/>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100" b="0" i="0" u="none" strike="noStrike" kern="0" cap="none" spc="0" normalizeH="0" baseline="0" noProof="0">
                <a:ln>
                  <a:noFill/>
                </a:ln>
                <a:solidFill>
                  <a:srgbClr val="FFFFFF"/>
                </a:solidFill>
                <a:effectLst/>
                <a:uLnTx/>
                <a:uFillTx/>
                <a:latin typeface="+mj-lt"/>
              </a:endParaRPr>
            </a:p>
          </p:txBody>
        </p:sp>
        <p:sp>
          <p:nvSpPr>
            <p:cNvPr id="98" name="TextBox 97">
              <a:extLst>
                <a:ext uri="{FF2B5EF4-FFF2-40B4-BE49-F238E27FC236}">
                  <a16:creationId xmlns:a16="http://schemas.microsoft.com/office/drawing/2014/main" id="{FE83E0DB-DAA7-0D91-237A-404173CFCFCC}"/>
                </a:ext>
              </a:extLst>
            </p:cNvPr>
            <p:cNvSpPr txBox="1"/>
            <p:nvPr/>
          </p:nvSpPr>
          <p:spPr>
            <a:xfrm>
              <a:off x="2126155" y="3182197"/>
              <a:ext cx="1264230" cy="287201"/>
            </a:xfrm>
            <a:prstGeom prst="rect">
              <a:avLst/>
            </a:prstGeom>
            <a:solidFill>
              <a:srgbClr val="2E89DB"/>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Portfolio Manager</a:t>
              </a:r>
              <a:endParaRPr kumimoji="0" lang="en-CA" sz="1100" b="0" i="0" u="none" strike="noStrike" kern="0" cap="none" spc="0" normalizeH="0" baseline="0" noProof="0">
                <a:ln>
                  <a:noFill/>
                </a:ln>
                <a:solidFill>
                  <a:srgbClr val="FFFFFF"/>
                </a:solidFill>
                <a:effectLst/>
                <a:uLnTx/>
                <a:uFillTx/>
                <a:latin typeface="+mj-lt"/>
              </a:endParaRPr>
            </a:p>
          </p:txBody>
        </p:sp>
        <p:sp>
          <p:nvSpPr>
            <p:cNvPr id="99" name="TextBox 98">
              <a:extLst>
                <a:ext uri="{FF2B5EF4-FFF2-40B4-BE49-F238E27FC236}">
                  <a16:creationId xmlns:a16="http://schemas.microsoft.com/office/drawing/2014/main" id="{1E13CD3E-10D9-46F4-BDAA-50F906F4A843}"/>
                </a:ext>
              </a:extLst>
            </p:cNvPr>
            <p:cNvSpPr txBox="1"/>
            <p:nvPr/>
          </p:nvSpPr>
          <p:spPr>
            <a:xfrm>
              <a:off x="2126155" y="3505005"/>
              <a:ext cx="1264230" cy="287201"/>
            </a:xfrm>
            <a:prstGeom prst="rect">
              <a:avLst/>
            </a:prstGeom>
            <a:solidFill>
              <a:srgbClr val="74B1E6"/>
            </a:solidFill>
          </p:spPr>
          <p:txBody>
            <a:bodyPr wrap="square" lIns="0" tIns="0" rIns="0" bIns="0" rtlCol="0" anchor="ctr">
              <a:noAutofit/>
            </a:bodyPr>
            <a:lstStyle/>
            <a:p>
              <a:pPr algn="ctr">
                <a:defRPr/>
              </a:pPr>
              <a:r>
                <a:rPr kumimoji="0" lang="en-US" sz="1100" b="0" i="0" u="none" strike="noStrike" kern="0" cap="none" spc="0" normalizeH="0" baseline="0" noProof="0">
                  <a:ln>
                    <a:noFill/>
                  </a:ln>
                  <a:solidFill>
                    <a:srgbClr val="FFFFFF"/>
                  </a:solidFill>
                  <a:effectLst/>
                  <a:uLnTx/>
                  <a:uFillTx/>
                  <a:latin typeface="+mj-lt"/>
                </a:rPr>
                <a:t>Senior Analyst</a:t>
              </a:r>
              <a:endParaRPr kumimoji="0" lang="en-CA" sz="1100" b="0" i="0" u="none" strike="noStrike" kern="0" cap="none" spc="0" normalizeH="0" baseline="0" noProof="0">
                <a:ln>
                  <a:noFill/>
                </a:ln>
                <a:solidFill>
                  <a:srgbClr val="FFFFFF"/>
                </a:solidFill>
                <a:effectLst/>
                <a:uLnTx/>
                <a:uFillTx/>
                <a:latin typeface="+mj-lt"/>
              </a:endParaRPr>
            </a:p>
          </p:txBody>
        </p:sp>
        <p:sp>
          <p:nvSpPr>
            <p:cNvPr id="100" name="TextBox 99">
              <a:extLst>
                <a:ext uri="{FF2B5EF4-FFF2-40B4-BE49-F238E27FC236}">
                  <a16:creationId xmlns:a16="http://schemas.microsoft.com/office/drawing/2014/main" id="{E38CC62A-F75A-6046-5B26-8A46EB934AE1}"/>
                </a:ext>
              </a:extLst>
            </p:cNvPr>
            <p:cNvSpPr txBox="1"/>
            <p:nvPr/>
          </p:nvSpPr>
          <p:spPr>
            <a:xfrm>
              <a:off x="2126155" y="3827814"/>
              <a:ext cx="1264230" cy="287201"/>
            </a:xfrm>
            <a:prstGeom prst="rect">
              <a:avLst/>
            </a:prstGeom>
            <a:solidFill>
              <a:srgbClr val="74B1E6"/>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3 Junior Analysts</a:t>
              </a:r>
              <a:endParaRPr kumimoji="0" lang="en-CA" sz="1100" b="0" i="0" u="none" strike="noStrike" kern="0" cap="none" spc="0" normalizeH="0" baseline="0" noProof="0">
                <a:ln>
                  <a:noFill/>
                </a:ln>
                <a:solidFill>
                  <a:srgbClr val="FFFFFF"/>
                </a:solidFill>
                <a:effectLst/>
                <a:uLnTx/>
                <a:uFillTx/>
                <a:latin typeface="+mj-lt"/>
              </a:endParaRPr>
            </a:p>
          </p:txBody>
        </p:sp>
        <p:sp>
          <p:nvSpPr>
            <p:cNvPr id="101" name="TextBox 100">
              <a:extLst>
                <a:ext uri="{FF2B5EF4-FFF2-40B4-BE49-F238E27FC236}">
                  <a16:creationId xmlns:a16="http://schemas.microsoft.com/office/drawing/2014/main" id="{673FAEE5-6CD4-CB12-21F9-223C102FB75A}"/>
                </a:ext>
              </a:extLst>
            </p:cNvPr>
            <p:cNvSpPr txBox="1"/>
            <p:nvPr/>
          </p:nvSpPr>
          <p:spPr>
            <a:xfrm>
              <a:off x="2126155" y="4150622"/>
              <a:ext cx="1264230" cy="287201"/>
            </a:xfrm>
            <a:prstGeom prst="rect">
              <a:avLst/>
            </a:prstGeom>
            <a:solidFill>
              <a:srgbClr val="74B1E6"/>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First Year Analyst</a:t>
              </a:r>
              <a:endParaRPr kumimoji="0" lang="en-CA" sz="1100" b="0" i="0" u="none" strike="noStrike" kern="0" cap="none" spc="0" normalizeH="0" baseline="0" noProof="0">
                <a:ln>
                  <a:noFill/>
                </a:ln>
                <a:solidFill>
                  <a:srgbClr val="FFFFFF"/>
                </a:solidFill>
                <a:effectLst/>
                <a:uLnTx/>
                <a:uFillTx/>
                <a:latin typeface="+mj-lt"/>
              </a:endParaRPr>
            </a:p>
          </p:txBody>
        </p:sp>
        <p:sp>
          <p:nvSpPr>
            <p:cNvPr id="102" name="TextBox 101">
              <a:extLst>
                <a:ext uri="{FF2B5EF4-FFF2-40B4-BE49-F238E27FC236}">
                  <a16:creationId xmlns:a16="http://schemas.microsoft.com/office/drawing/2014/main" id="{72935564-DF24-F9F4-285E-847A306A6795}"/>
                </a:ext>
              </a:extLst>
            </p:cNvPr>
            <p:cNvSpPr txBox="1"/>
            <p:nvPr/>
          </p:nvSpPr>
          <p:spPr>
            <a:xfrm>
              <a:off x="2062241" y="2745845"/>
              <a:ext cx="1396684" cy="361949"/>
            </a:xfrm>
            <a:prstGeom prst="rect">
              <a:avLst/>
            </a:prstGeom>
            <a:solidFill>
              <a:srgbClr val="0F3557"/>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Financial Institutions</a:t>
              </a:r>
              <a:endParaRPr kumimoji="0" lang="en-CA" sz="1100" b="0" i="0" u="none" strike="noStrike" kern="0" cap="none" spc="0" normalizeH="0" baseline="0" noProof="0">
                <a:ln>
                  <a:noFill/>
                </a:ln>
                <a:solidFill>
                  <a:srgbClr val="FFFFFF"/>
                </a:solidFill>
                <a:effectLst/>
                <a:uLnTx/>
                <a:uFillTx/>
                <a:latin typeface="+mj-lt"/>
              </a:endParaRPr>
            </a:p>
          </p:txBody>
        </p:sp>
        <p:sp>
          <p:nvSpPr>
            <p:cNvPr id="104" name="TextBox 103">
              <a:extLst>
                <a:ext uri="{FF2B5EF4-FFF2-40B4-BE49-F238E27FC236}">
                  <a16:creationId xmlns:a16="http://schemas.microsoft.com/office/drawing/2014/main" id="{C3525809-E45E-6C89-5D6D-03E60CA32FFB}"/>
                </a:ext>
              </a:extLst>
            </p:cNvPr>
            <p:cNvSpPr txBox="1"/>
            <p:nvPr/>
          </p:nvSpPr>
          <p:spPr>
            <a:xfrm>
              <a:off x="3873657" y="3097749"/>
              <a:ext cx="1396684" cy="1428081"/>
            </a:xfrm>
            <a:prstGeom prst="rect">
              <a:avLst/>
            </a:prstGeom>
            <a:solidFill>
              <a:srgbClr val="8B939C">
                <a:lumMod val="40000"/>
                <a:lumOff val="60000"/>
              </a:srgbClr>
            </a:solidFill>
            <a:ln w="15875">
              <a:solidFill>
                <a:srgbClr val="0F3557"/>
              </a:solidFill>
              <a:prstDash val="dash"/>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100" b="0" i="0" u="none" strike="noStrike" kern="0" cap="none" spc="0" normalizeH="0" baseline="0" noProof="0">
                <a:ln>
                  <a:noFill/>
                </a:ln>
                <a:solidFill>
                  <a:srgbClr val="FFFFFF"/>
                </a:solidFill>
                <a:effectLst/>
                <a:uLnTx/>
                <a:uFillTx/>
                <a:latin typeface="+mj-lt"/>
              </a:endParaRPr>
            </a:p>
          </p:txBody>
        </p:sp>
        <p:sp>
          <p:nvSpPr>
            <p:cNvPr id="105" name="TextBox 104">
              <a:extLst>
                <a:ext uri="{FF2B5EF4-FFF2-40B4-BE49-F238E27FC236}">
                  <a16:creationId xmlns:a16="http://schemas.microsoft.com/office/drawing/2014/main" id="{B002D150-9218-43B3-DAB7-180BB23CA527}"/>
                </a:ext>
              </a:extLst>
            </p:cNvPr>
            <p:cNvSpPr txBox="1"/>
            <p:nvPr/>
          </p:nvSpPr>
          <p:spPr>
            <a:xfrm>
              <a:off x="3937571" y="3182197"/>
              <a:ext cx="1264230" cy="287201"/>
            </a:xfrm>
            <a:prstGeom prst="rect">
              <a:avLst/>
            </a:prstGeom>
            <a:solidFill>
              <a:srgbClr val="2E89DB"/>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Portfolio Manager</a:t>
              </a:r>
              <a:endParaRPr kumimoji="0" lang="en-CA" sz="1100" b="0" i="0" u="none" strike="noStrike" kern="0" cap="none" spc="0" normalizeH="0" baseline="0" noProof="0">
                <a:ln>
                  <a:noFill/>
                </a:ln>
                <a:solidFill>
                  <a:srgbClr val="FFFFFF"/>
                </a:solidFill>
                <a:effectLst/>
                <a:uLnTx/>
                <a:uFillTx/>
                <a:latin typeface="+mj-lt"/>
              </a:endParaRPr>
            </a:p>
          </p:txBody>
        </p:sp>
        <p:sp>
          <p:nvSpPr>
            <p:cNvPr id="106" name="TextBox 105">
              <a:extLst>
                <a:ext uri="{FF2B5EF4-FFF2-40B4-BE49-F238E27FC236}">
                  <a16:creationId xmlns:a16="http://schemas.microsoft.com/office/drawing/2014/main" id="{D0FDD149-8FA7-9072-2EBF-FD03AD35F40D}"/>
                </a:ext>
              </a:extLst>
            </p:cNvPr>
            <p:cNvSpPr txBox="1"/>
            <p:nvPr/>
          </p:nvSpPr>
          <p:spPr>
            <a:xfrm>
              <a:off x="3937571" y="3505005"/>
              <a:ext cx="1264230" cy="287201"/>
            </a:xfrm>
            <a:prstGeom prst="rect">
              <a:avLst/>
            </a:prstGeom>
            <a:solidFill>
              <a:srgbClr val="74B1E6"/>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Senior Analyst</a:t>
              </a:r>
              <a:endParaRPr kumimoji="0" lang="en-CA" sz="1100" b="0" i="0" u="none" strike="noStrike" kern="0" cap="none" spc="0" normalizeH="0" baseline="0" noProof="0">
                <a:ln>
                  <a:noFill/>
                </a:ln>
                <a:solidFill>
                  <a:srgbClr val="FFFFFF"/>
                </a:solidFill>
                <a:effectLst/>
                <a:uLnTx/>
                <a:uFillTx/>
                <a:latin typeface="+mj-lt"/>
              </a:endParaRPr>
            </a:p>
          </p:txBody>
        </p:sp>
        <p:sp>
          <p:nvSpPr>
            <p:cNvPr id="107" name="TextBox 106">
              <a:extLst>
                <a:ext uri="{FF2B5EF4-FFF2-40B4-BE49-F238E27FC236}">
                  <a16:creationId xmlns:a16="http://schemas.microsoft.com/office/drawing/2014/main" id="{D1FB7046-B6FA-52F3-12AF-29DAA0E92379}"/>
                </a:ext>
              </a:extLst>
            </p:cNvPr>
            <p:cNvSpPr txBox="1"/>
            <p:nvPr/>
          </p:nvSpPr>
          <p:spPr>
            <a:xfrm>
              <a:off x="3937571" y="3827814"/>
              <a:ext cx="1264230" cy="287201"/>
            </a:xfrm>
            <a:prstGeom prst="rect">
              <a:avLst/>
            </a:prstGeom>
            <a:solidFill>
              <a:srgbClr val="74B1E6"/>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3 Junior Analysts</a:t>
              </a:r>
              <a:endParaRPr kumimoji="0" lang="en-CA" sz="1100" b="0" i="0" u="none" strike="noStrike" kern="0" cap="none" spc="0" normalizeH="0" baseline="0" noProof="0">
                <a:ln>
                  <a:noFill/>
                </a:ln>
                <a:solidFill>
                  <a:srgbClr val="FFFFFF"/>
                </a:solidFill>
                <a:effectLst/>
                <a:uLnTx/>
                <a:uFillTx/>
                <a:latin typeface="+mj-lt"/>
              </a:endParaRPr>
            </a:p>
          </p:txBody>
        </p:sp>
        <p:sp>
          <p:nvSpPr>
            <p:cNvPr id="108" name="TextBox 107">
              <a:extLst>
                <a:ext uri="{FF2B5EF4-FFF2-40B4-BE49-F238E27FC236}">
                  <a16:creationId xmlns:a16="http://schemas.microsoft.com/office/drawing/2014/main" id="{CD771439-5F6E-A202-F42C-FA7C46B0D1F9}"/>
                </a:ext>
              </a:extLst>
            </p:cNvPr>
            <p:cNvSpPr txBox="1"/>
            <p:nvPr/>
          </p:nvSpPr>
          <p:spPr>
            <a:xfrm>
              <a:off x="3937571" y="4150622"/>
              <a:ext cx="1264230" cy="287201"/>
            </a:xfrm>
            <a:prstGeom prst="rect">
              <a:avLst/>
            </a:prstGeom>
            <a:solidFill>
              <a:srgbClr val="74B1E6"/>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First Year Analyst</a:t>
              </a:r>
              <a:endParaRPr kumimoji="0" lang="en-CA" sz="1100" b="0" i="0" u="none" strike="noStrike" kern="0" cap="none" spc="0" normalizeH="0" baseline="0" noProof="0">
                <a:ln>
                  <a:noFill/>
                </a:ln>
                <a:solidFill>
                  <a:srgbClr val="FFFFFF"/>
                </a:solidFill>
                <a:effectLst/>
                <a:uLnTx/>
                <a:uFillTx/>
                <a:latin typeface="+mj-lt"/>
              </a:endParaRPr>
            </a:p>
          </p:txBody>
        </p:sp>
        <p:sp>
          <p:nvSpPr>
            <p:cNvPr id="109" name="TextBox 108">
              <a:extLst>
                <a:ext uri="{FF2B5EF4-FFF2-40B4-BE49-F238E27FC236}">
                  <a16:creationId xmlns:a16="http://schemas.microsoft.com/office/drawing/2014/main" id="{44D729E5-5219-C03B-CE3A-29F3B70FC2D8}"/>
                </a:ext>
              </a:extLst>
            </p:cNvPr>
            <p:cNvSpPr txBox="1"/>
            <p:nvPr/>
          </p:nvSpPr>
          <p:spPr>
            <a:xfrm>
              <a:off x="3873657" y="2745845"/>
              <a:ext cx="1396684" cy="361949"/>
            </a:xfrm>
            <a:prstGeom prst="rect">
              <a:avLst/>
            </a:prstGeom>
            <a:solidFill>
              <a:srgbClr val="0F3557"/>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Industrials</a:t>
              </a:r>
              <a:endParaRPr kumimoji="0" lang="en-CA" sz="1100" b="0" i="0" u="none" strike="noStrike" kern="0" cap="none" spc="0" normalizeH="0" baseline="0" noProof="0">
                <a:ln>
                  <a:noFill/>
                </a:ln>
                <a:solidFill>
                  <a:srgbClr val="FFFFFF"/>
                </a:solidFill>
                <a:effectLst/>
                <a:uLnTx/>
                <a:uFillTx/>
                <a:latin typeface="+mj-lt"/>
              </a:endParaRPr>
            </a:p>
          </p:txBody>
        </p:sp>
        <p:sp>
          <p:nvSpPr>
            <p:cNvPr id="111" name="TextBox 110">
              <a:extLst>
                <a:ext uri="{FF2B5EF4-FFF2-40B4-BE49-F238E27FC236}">
                  <a16:creationId xmlns:a16="http://schemas.microsoft.com/office/drawing/2014/main" id="{25A2E61B-0AD3-70D8-BAFB-C1156F27DC88}"/>
                </a:ext>
              </a:extLst>
            </p:cNvPr>
            <p:cNvSpPr txBox="1"/>
            <p:nvPr/>
          </p:nvSpPr>
          <p:spPr>
            <a:xfrm>
              <a:off x="5685073" y="3097749"/>
              <a:ext cx="1396684" cy="1428081"/>
            </a:xfrm>
            <a:prstGeom prst="rect">
              <a:avLst/>
            </a:prstGeom>
            <a:solidFill>
              <a:srgbClr val="8B939C">
                <a:lumMod val="40000"/>
                <a:lumOff val="60000"/>
              </a:srgbClr>
            </a:solidFill>
            <a:ln w="15875">
              <a:solidFill>
                <a:srgbClr val="0F3557"/>
              </a:solidFill>
              <a:prstDash val="dash"/>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100" b="0" i="0" u="none" strike="noStrike" kern="0" cap="none" spc="0" normalizeH="0" baseline="0" noProof="0">
                <a:ln>
                  <a:noFill/>
                </a:ln>
                <a:solidFill>
                  <a:srgbClr val="FFFFFF"/>
                </a:solidFill>
                <a:effectLst/>
                <a:uLnTx/>
                <a:uFillTx/>
                <a:latin typeface="+mj-lt"/>
              </a:endParaRPr>
            </a:p>
          </p:txBody>
        </p:sp>
        <p:sp>
          <p:nvSpPr>
            <p:cNvPr id="112" name="TextBox 111">
              <a:extLst>
                <a:ext uri="{FF2B5EF4-FFF2-40B4-BE49-F238E27FC236}">
                  <a16:creationId xmlns:a16="http://schemas.microsoft.com/office/drawing/2014/main" id="{FAB258F1-D091-B3A4-344C-ADE3CAC22C59}"/>
                </a:ext>
              </a:extLst>
            </p:cNvPr>
            <p:cNvSpPr txBox="1"/>
            <p:nvPr/>
          </p:nvSpPr>
          <p:spPr>
            <a:xfrm>
              <a:off x="5748987" y="3182197"/>
              <a:ext cx="1264230" cy="287201"/>
            </a:xfrm>
            <a:prstGeom prst="rect">
              <a:avLst/>
            </a:prstGeom>
            <a:solidFill>
              <a:srgbClr val="2E89DB"/>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Portfolio Manager</a:t>
              </a:r>
              <a:endParaRPr kumimoji="0" lang="en-CA" sz="1100" b="0" i="0" u="none" strike="noStrike" kern="0" cap="none" spc="0" normalizeH="0" baseline="0" noProof="0">
                <a:ln>
                  <a:noFill/>
                </a:ln>
                <a:solidFill>
                  <a:srgbClr val="FFFFFF"/>
                </a:solidFill>
                <a:effectLst/>
                <a:uLnTx/>
                <a:uFillTx/>
                <a:latin typeface="+mj-lt"/>
              </a:endParaRPr>
            </a:p>
          </p:txBody>
        </p:sp>
        <p:sp>
          <p:nvSpPr>
            <p:cNvPr id="113" name="TextBox 112">
              <a:extLst>
                <a:ext uri="{FF2B5EF4-FFF2-40B4-BE49-F238E27FC236}">
                  <a16:creationId xmlns:a16="http://schemas.microsoft.com/office/drawing/2014/main" id="{FF3F7F59-5DD5-F19F-DA87-2F474A852FEA}"/>
                </a:ext>
              </a:extLst>
            </p:cNvPr>
            <p:cNvSpPr txBox="1"/>
            <p:nvPr/>
          </p:nvSpPr>
          <p:spPr>
            <a:xfrm>
              <a:off x="5748987" y="3505005"/>
              <a:ext cx="1264230" cy="287201"/>
            </a:xfrm>
            <a:prstGeom prst="rect">
              <a:avLst/>
            </a:prstGeom>
            <a:solidFill>
              <a:srgbClr val="74B1E6"/>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Senior Analyst</a:t>
              </a:r>
              <a:endParaRPr kumimoji="0" lang="en-CA" sz="1100" b="0" i="0" u="none" strike="noStrike" kern="0" cap="none" spc="0" normalizeH="0" baseline="0" noProof="0">
                <a:ln>
                  <a:noFill/>
                </a:ln>
                <a:solidFill>
                  <a:srgbClr val="FFFFFF"/>
                </a:solidFill>
                <a:effectLst/>
                <a:uLnTx/>
                <a:uFillTx/>
                <a:latin typeface="+mj-lt"/>
              </a:endParaRPr>
            </a:p>
          </p:txBody>
        </p:sp>
        <p:sp>
          <p:nvSpPr>
            <p:cNvPr id="114" name="TextBox 113">
              <a:extLst>
                <a:ext uri="{FF2B5EF4-FFF2-40B4-BE49-F238E27FC236}">
                  <a16:creationId xmlns:a16="http://schemas.microsoft.com/office/drawing/2014/main" id="{4546B609-5485-6782-BF70-05917279BF7A}"/>
                </a:ext>
              </a:extLst>
            </p:cNvPr>
            <p:cNvSpPr txBox="1"/>
            <p:nvPr/>
          </p:nvSpPr>
          <p:spPr>
            <a:xfrm>
              <a:off x="5748987" y="3827814"/>
              <a:ext cx="1264230" cy="287201"/>
            </a:xfrm>
            <a:prstGeom prst="rect">
              <a:avLst/>
            </a:prstGeom>
            <a:solidFill>
              <a:srgbClr val="74B1E6"/>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3 Junior Analysts</a:t>
              </a:r>
              <a:endParaRPr kumimoji="0" lang="en-CA" sz="1100" b="0" i="0" u="none" strike="noStrike" kern="0" cap="none" spc="0" normalizeH="0" baseline="0" noProof="0">
                <a:ln>
                  <a:noFill/>
                </a:ln>
                <a:solidFill>
                  <a:srgbClr val="FFFFFF"/>
                </a:solidFill>
                <a:effectLst/>
                <a:uLnTx/>
                <a:uFillTx/>
                <a:latin typeface="+mj-lt"/>
              </a:endParaRPr>
            </a:p>
          </p:txBody>
        </p:sp>
        <p:sp>
          <p:nvSpPr>
            <p:cNvPr id="115" name="TextBox 114">
              <a:extLst>
                <a:ext uri="{FF2B5EF4-FFF2-40B4-BE49-F238E27FC236}">
                  <a16:creationId xmlns:a16="http://schemas.microsoft.com/office/drawing/2014/main" id="{8A0905B9-84A2-7FB8-7F07-1B2C8964DD90}"/>
                </a:ext>
              </a:extLst>
            </p:cNvPr>
            <p:cNvSpPr txBox="1"/>
            <p:nvPr/>
          </p:nvSpPr>
          <p:spPr>
            <a:xfrm>
              <a:off x="5748987" y="4150622"/>
              <a:ext cx="1264230" cy="287201"/>
            </a:xfrm>
            <a:prstGeom prst="rect">
              <a:avLst/>
            </a:prstGeom>
            <a:solidFill>
              <a:srgbClr val="74B1E6"/>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First Year Analyst</a:t>
              </a:r>
              <a:endParaRPr kumimoji="0" lang="en-CA" sz="1100" b="0" i="0" u="none" strike="noStrike" kern="0" cap="none" spc="0" normalizeH="0" baseline="0" noProof="0">
                <a:ln>
                  <a:noFill/>
                </a:ln>
                <a:solidFill>
                  <a:srgbClr val="FFFFFF"/>
                </a:solidFill>
                <a:effectLst/>
                <a:uLnTx/>
                <a:uFillTx/>
                <a:latin typeface="+mj-lt"/>
              </a:endParaRPr>
            </a:p>
          </p:txBody>
        </p:sp>
        <p:sp>
          <p:nvSpPr>
            <p:cNvPr id="116" name="TextBox 115">
              <a:extLst>
                <a:ext uri="{FF2B5EF4-FFF2-40B4-BE49-F238E27FC236}">
                  <a16:creationId xmlns:a16="http://schemas.microsoft.com/office/drawing/2014/main" id="{CBB8CE11-DC97-9E1B-D411-603E9523D004}"/>
                </a:ext>
              </a:extLst>
            </p:cNvPr>
            <p:cNvSpPr txBox="1"/>
            <p:nvPr/>
          </p:nvSpPr>
          <p:spPr>
            <a:xfrm>
              <a:off x="5685073" y="2745845"/>
              <a:ext cx="1396684" cy="361949"/>
            </a:xfrm>
            <a:prstGeom prst="rect">
              <a:avLst/>
            </a:prstGeom>
            <a:solidFill>
              <a:srgbClr val="0F3557"/>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Natural Resources</a:t>
              </a:r>
              <a:endParaRPr kumimoji="0" lang="en-CA" sz="1100" b="0" i="0" u="none" strike="noStrike" kern="0" cap="none" spc="0" normalizeH="0" baseline="0" noProof="0">
                <a:ln>
                  <a:noFill/>
                </a:ln>
                <a:solidFill>
                  <a:srgbClr val="FFFFFF"/>
                </a:solidFill>
                <a:effectLst/>
                <a:uLnTx/>
                <a:uFillTx/>
                <a:latin typeface="+mj-lt"/>
              </a:endParaRPr>
            </a:p>
          </p:txBody>
        </p:sp>
        <p:sp>
          <p:nvSpPr>
            <p:cNvPr id="118" name="TextBox 117">
              <a:extLst>
                <a:ext uri="{FF2B5EF4-FFF2-40B4-BE49-F238E27FC236}">
                  <a16:creationId xmlns:a16="http://schemas.microsoft.com/office/drawing/2014/main" id="{42B95F62-6D75-B86A-4F50-FE9942C54F6F}"/>
                </a:ext>
              </a:extLst>
            </p:cNvPr>
            <p:cNvSpPr txBox="1"/>
            <p:nvPr/>
          </p:nvSpPr>
          <p:spPr>
            <a:xfrm>
              <a:off x="7496491" y="3097749"/>
              <a:ext cx="1396684" cy="1428081"/>
            </a:xfrm>
            <a:prstGeom prst="rect">
              <a:avLst/>
            </a:prstGeom>
            <a:solidFill>
              <a:srgbClr val="8B939C">
                <a:lumMod val="40000"/>
                <a:lumOff val="60000"/>
              </a:srgbClr>
            </a:solidFill>
            <a:ln w="15875">
              <a:solidFill>
                <a:srgbClr val="0F3557"/>
              </a:solidFill>
              <a:prstDash val="dash"/>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100" b="0" i="0" u="none" strike="noStrike" kern="0" cap="none" spc="0" normalizeH="0" baseline="0" noProof="0">
                <a:ln>
                  <a:noFill/>
                </a:ln>
                <a:solidFill>
                  <a:srgbClr val="FFFFFF"/>
                </a:solidFill>
                <a:effectLst/>
                <a:uLnTx/>
                <a:uFillTx/>
                <a:latin typeface="+mj-lt"/>
              </a:endParaRPr>
            </a:p>
          </p:txBody>
        </p:sp>
        <p:sp>
          <p:nvSpPr>
            <p:cNvPr id="119" name="TextBox 118">
              <a:extLst>
                <a:ext uri="{FF2B5EF4-FFF2-40B4-BE49-F238E27FC236}">
                  <a16:creationId xmlns:a16="http://schemas.microsoft.com/office/drawing/2014/main" id="{277E266E-33C6-FB92-B46A-4F5E05216B0E}"/>
                </a:ext>
              </a:extLst>
            </p:cNvPr>
            <p:cNvSpPr txBox="1"/>
            <p:nvPr/>
          </p:nvSpPr>
          <p:spPr>
            <a:xfrm>
              <a:off x="7560405" y="3182197"/>
              <a:ext cx="1264230" cy="287201"/>
            </a:xfrm>
            <a:prstGeom prst="rect">
              <a:avLst/>
            </a:prstGeom>
            <a:solidFill>
              <a:srgbClr val="2E89DB"/>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Portfolio Manager</a:t>
              </a:r>
              <a:endParaRPr kumimoji="0" lang="en-CA" sz="1100" b="0" i="0" u="none" strike="noStrike" kern="0" cap="none" spc="0" normalizeH="0" baseline="0" noProof="0">
                <a:ln>
                  <a:noFill/>
                </a:ln>
                <a:solidFill>
                  <a:srgbClr val="FFFFFF"/>
                </a:solidFill>
                <a:effectLst/>
                <a:uLnTx/>
                <a:uFillTx/>
                <a:latin typeface="+mj-lt"/>
              </a:endParaRPr>
            </a:p>
          </p:txBody>
        </p:sp>
        <p:sp>
          <p:nvSpPr>
            <p:cNvPr id="120" name="TextBox 119">
              <a:extLst>
                <a:ext uri="{FF2B5EF4-FFF2-40B4-BE49-F238E27FC236}">
                  <a16:creationId xmlns:a16="http://schemas.microsoft.com/office/drawing/2014/main" id="{5AEA9106-9323-C887-F2AF-9DFACC5C3BA7}"/>
                </a:ext>
              </a:extLst>
            </p:cNvPr>
            <p:cNvSpPr txBox="1"/>
            <p:nvPr/>
          </p:nvSpPr>
          <p:spPr>
            <a:xfrm>
              <a:off x="7560405" y="3505005"/>
              <a:ext cx="1264230" cy="287201"/>
            </a:xfrm>
            <a:prstGeom prst="rect">
              <a:avLst/>
            </a:prstGeom>
            <a:solidFill>
              <a:srgbClr val="74B1E6"/>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Senior Analyst</a:t>
              </a:r>
              <a:endParaRPr kumimoji="0" lang="en-CA" sz="1100" b="0" i="0" u="none" strike="noStrike" kern="0" cap="none" spc="0" normalizeH="0" baseline="0" noProof="0">
                <a:ln>
                  <a:noFill/>
                </a:ln>
                <a:solidFill>
                  <a:srgbClr val="FFFFFF"/>
                </a:solidFill>
                <a:effectLst/>
                <a:uLnTx/>
                <a:uFillTx/>
                <a:latin typeface="+mj-lt"/>
              </a:endParaRPr>
            </a:p>
          </p:txBody>
        </p:sp>
        <p:sp>
          <p:nvSpPr>
            <p:cNvPr id="121" name="TextBox 120">
              <a:extLst>
                <a:ext uri="{FF2B5EF4-FFF2-40B4-BE49-F238E27FC236}">
                  <a16:creationId xmlns:a16="http://schemas.microsoft.com/office/drawing/2014/main" id="{F18C7EEE-E530-D84F-A230-7D9CB3C89758}"/>
                </a:ext>
              </a:extLst>
            </p:cNvPr>
            <p:cNvSpPr txBox="1"/>
            <p:nvPr/>
          </p:nvSpPr>
          <p:spPr>
            <a:xfrm>
              <a:off x="7560405" y="3827814"/>
              <a:ext cx="1264230" cy="287201"/>
            </a:xfrm>
            <a:prstGeom prst="rect">
              <a:avLst/>
            </a:prstGeom>
            <a:solidFill>
              <a:srgbClr val="74B1E6"/>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3 Junior Analysts</a:t>
              </a:r>
              <a:endParaRPr kumimoji="0" lang="en-CA" sz="1100" b="0" i="0" u="none" strike="noStrike" kern="0" cap="none" spc="0" normalizeH="0" baseline="0" noProof="0">
                <a:ln>
                  <a:noFill/>
                </a:ln>
                <a:solidFill>
                  <a:srgbClr val="FFFFFF"/>
                </a:solidFill>
                <a:effectLst/>
                <a:uLnTx/>
                <a:uFillTx/>
                <a:latin typeface="+mj-lt"/>
              </a:endParaRPr>
            </a:p>
          </p:txBody>
        </p:sp>
        <p:sp>
          <p:nvSpPr>
            <p:cNvPr id="122" name="TextBox 121">
              <a:extLst>
                <a:ext uri="{FF2B5EF4-FFF2-40B4-BE49-F238E27FC236}">
                  <a16:creationId xmlns:a16="http://schemas.microsoft.com/office/drawing/2014/main" id="{7B0D06DD-DFCF-0B57-18DB-D987EF1399B0}"/>
                </a:ext>
              </a:extLst>
            </p:cNvPr>
            <p:cNvSpPr txBox="1"/>
            <p:nvPr/>
          </p:nvSpPr>
          <p:spPr>
            <a:xfrm>
              <a:off x="7560405" y="4150622"/>
              <a:ext cx="1264230" cy="287201"/>
            </a:xfrm>
            <a:prstGeom prst="rect">
              <a:avLst/>
            </a:prstGeom>
            <a:solidFill>
              <a:srgbClr val="74B1E6"/>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First Year Analyst</a:t>
              </a:r>
              <a:endParaRPr kumimoji="0" lang="en-CA" sz="1100" b="0" i="0" u="none" strike="noStrike" kern="0" cap="none" spc="0" normalizeH="0" baseline="0" noProof="0">
                <a:ln>
                  <a:noFill/>
                </a:ln>
                <a:solidFill>
                  <a:srgbClr val="FFFFFF"/>
                </a:solidFill>
                <a:effectLst/>
                <a:uLnTx/>
                <a:uFillTx/>
                <a:latin typeface="+mj-lt"/>
              </a:endParaRPr>
            </a:p>
          </p:txBody>
        </p:sp>
        <p:sp>
          <p:nvSpPr>
            <p:cNvPr id="123" name="TextBox 122">
              <a:extLst>
                <a:ext uri="{FF2B5EF4-FFF2-40B4-BE49-F238E27FC236}">
                  <a16:creationId xmlns:a16="http://schemas.microsoft.com/office/drawing/2014/main" id="{3B69975B-EF63-43A3-D095-2C95F457779A}"/>
                </a:ext>
              </a:extLst>
            </p:cNvPr>
            <p:cNvSpPr txBox="1"/>
            <p:nvPr/>
          </p:nvSpPr>
          <p:spPr>
            <a:xfrm>
              <a:off x="7496491" y="2745845"/>
              <a:ext cx="1396684" cy="361949"/>
            </a:xfrm>
            <a:prstGeom prst="rect">
              <a:avLst/>
            </a:prstGeom>
            <a:solidFill>
              <a:srgbClr val="0F3557"/>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mj-lt"/>
                </a:rPr>
                <a:t>Tech, Media, Telecom, Healthcare</a:t>
              </a:r>
              <a:endParaRPr kumimoji="0" lang="en-CA" sz="1100" b="0" i="0" u="none" strike="noStrike" kern="0" cap="none" spc="0" normalizeH="0" baseline="0" noProof="0">
                <a:ln>
                  <a:noFill/>
                </a:ln>
                <a:solidFill>
                  <a:srgbClr val="FFFFFF"/>
                </a:solidFill>
                <a:effectLst/>
                <a:uLnTx/>
                <a:uFillTx/>
                <a:latin typeface="+mj-lt"/>
              </a:endParaRPr>
            </a:p>
          </p:txBody>
        </p:sp>
        <p:cxnSp>
          <p:nvCxnSpPr>
            <p:cNvPr id="124" name="Elbow Connector 123">
              <a:extLst>
                <a:ext uri="{FF2B5EF4-FFF2-40B4-BE49-F238E27FC236}">
                  <a16:creationId xmlns:a16="http://schemas.microsoft.com/office/drawing/2014/main" id="{0CD9CC13-3238-0F10-368F-BF218E63701F}"/>
                </a:ext>
              </a:extLst>
            </p:cNvPr>
            <p:cNvCxnSpPr>
              <a:cxnSpLocks/>
              <a:stCxn id="80" idx="2"/>
              <a:endCxn id="102" idx="0"/>
            </p:cNvCxnSpPr>
            <p:nvPr/>
          </p:nvCxnSpPr>
          <p:spPr>
            <a:xfrm rot="5400000">
              <a:off x="3341096" y="1514941"/>
              <a:ext cx="650391" cy="1811416"/>
            </a:xfrm>
            <a:prstGeom prst="bentConnector3">
              <a:avLst>
                <a:gd name="adj1" fmla="val 50000"/>
              </a:avLst>
            </a:prstGeom>
            <a:noFill/>
            <a:ln w="6350" cap="flat" cmpd="sng" algn="ctr">
              <a:solidFill>
                <a:srgbClr val="0F3557"/>
              </a:solidFill>
              <a:prstDash val="solid"/>
              <a:miter lim="800000"/>
              <a:tailEnd type="triangle"/>
            </a:ln>
            <a:effectLst/>
          </p:spPr>
        </p:cxnSp>
        <p:cxnSp>
          <p:nvCxnSpPr>
            <p:cNvPr id="125" name="Elbow Connector 124">
              <a:extLst>
                <a:ext uri="{FF2B5EF4-FFF2-40B4-BE49-F238E27FC236}">
                  <a16:creationId xmlns:a16="http://schemas.microsoft.com/office/drawing/2014/main" id="{1B122814-F06B-A6F3-2068-63255F4D8D8E}"/>
                </a:ext>
              </a:extLst>
            </p:cNvPr>
            <p:cNvCxnSpPr>
              <a:cxnSpLocks/>
              <a:stCxn id="80" idx="2"/>
              <a:endCxn id="123" idx="0"/>
            </p:cNvCxnSpPr>
            <p:nvPr/>
          </p:nvCxnSpPr>
          <p:spPr>
            <a:xfrm rot="16200000" flipH="1">
              <a:off x="6058221" y="609232"/>
              <a:ext cx="650391" cy="3622834"/>
            </a:xfrm>
            <a:prstGeom prst="bentConnector3">
              <a:avLst>
                <a:gd name="adj1" fmla="val 50000"/>
              </a:avLst>
            </a:prstGeom>
            <a:noFill/>
            <a:ln w="6350" cap="flat" cmpd="sng" algn="ctr">
              <a:solidFill>
                <a:srgbClr val="0F3557"/>
              </a:solidFill>
              <a:prstDash val="solid"/>
              <a:miter lim="800000"/>
              <a:tailEnd type="triangle"/>
            </a:ln>
            <a:effectLst/>
          </p:spPr>
        </p:cxnSp>
      </p:grpSp>
    </p:spTree>
    <p:extLst>
      <p:ext uri="{BB962C8B-B14F-4D97-AF65-F5344CB8AC3E}">
        <p14:creationId xmlns:p14="http://schemas.microsoft.com/office/powerpoint/2010/main" val="21495318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B27CAC-F098-6136-313F-31A71C84DB83}"/>
            </a:ext>
          </a:extLst>
        </p:cNvPr>
        <p:cNvGrpSpPr/>
        <p:nvPr/>
      </p:nvGrpSpPr>
      <p:grpSpPr>
        <a:xfrm>
          <a:off x="0" y="0"/>
          <a:ext cx="0" cy="0"/>
          <a:chOff x="0" y="0"/>
          <a:chExt cx="0" cy="0"/>
        </a:xfrm>
      </p:grpSpPr>
      <p:sp>
        <p:nvSpPr>
          <p:cNvPr id="8" name="Text Placeholder 7">
            <a:extLst>
              <a:ext uri="{FF2B5EF4-FFF2-40B4-BE49-F238E27FC236}">
                <a16:creationId xmlns:a16="http://schemas.microsoft.com/office/drawing/2014/main" id="{0E7E2327-5687-5D03-C54E-52B44DBF14FD}"/>
              </a:ext>
            </a:extLst>
          </p:cNvPr>
          <p:cNvSpPr>
            <a:spLocks noGrp="1"/>
          </p:cNvSpPr>
          <p:nvPr>
            <p:ph type="body" sz="quarter" idx="21"/>
          </p:nvPr>
        </p:nvSpPr>
        <p:spPr>
          <a:xfrm>
            <a:off x="250825" y="584200"/>
            <a:ext cx="8642350" cy="422275"/>
          </a:xfrm>
        </p:spPr>
        <p:txBody>
          <a:bodyPr>
            <a:normAutofit/>
          </a:bodyPr>
          <a:lstStyle/>
          <a:p>
            <a:r>
              <a:rPr lang="en-CA"/>
              <a:t>Assessing Cash Flow Sustainability</a:t>
            </a:r>
          </a:p>
        </p:txBody>
      </p:sp>
      <p:sp>
        <p:nvSpPr>
          <p:cNvPr id="5" name="Title 4">
            <a:extLst>
              <a:ext uri="{FF2B5EF4-FFF2-40B4-BE49-F238E27FC236}">
                <a16:creationId xmlns:a16="http://schemas.microsoft.com/office/drawing/2014/main" id="{A2CB6720-1DA2-C08F-38CF-CDFA62F62D7C}"/>
              </a:ext>
            </a:extLst>
          </p:cNvPr>
          <p:cNvSpPr>
            <a:spLocks noGrp="1"/>
          </p:cNvSpPr>
          <p:nvPr>
            <p:ph type="title"/>
          </p:nvPr>
        </p:nvSpPr>
        <p:spPr>
          <a:xfrm>
            <a:off x="250825" y="187581"/>
            <a:ext cx="6658698" cy="395751"/>
          </a:xfrm>
        </p:spPr>
        <p:txBody>
          <a:bodyPr wrap="none" anchor="ctr">
            <a:normAutofit/>
          </a:bodyPr>
          <a:lstStyle/>
          <a:p>
            <a:r>
              <a:rPr lang="en-CA"/>
              <a:t>DCF FCFF Projections</a:t>
            </a:r>
          </a:p>
        </p:txBody>
      </p:sp>
      <p:sp>
        <p:nvSpPr>
          <p:cNvPr id="18" name="Text Placeholder 4">
            <a:extLst>
              <a:ext uri="{FF2B5EF4-FFF2-40B4-BE49-F238E27FC236}">
                <a16:creationId xmlns:a16="http://schemas.microsoft.com/office/drawing/2014/main" id="{3303C534-B004-C2CC-11F7-6DF13FF0F52F}"/>
              </a:ext>
            </a:extLst>
          </p:cNvPr>
          <p:cNvSpPr>
            <a:spLocks noGrp="1"/>
          </p:cNvSpPr>
          <p:nvPr>
            <p:ph type="body" sz="quarter" idx="13"/>
          </p:nvPr>
        </p:nvSpPr>
        <p:spPr>
          <a:xfrm>
            <a:off x="250825" y="6308724"/>
            <a:ext cx="7645400" cy="360359"/>
          </a:xfrm>
        </p:spPr>
        <p:txBody>
          <a:bodyPr/>
          <a:lstStyle/>
          <a:p>
            <a:endParaRPr lang="en-US"/>
          </a:p>
        </p:txBody>
      </p:sp>
      <p:graphicFrame>
        <p:nvGraphicFramePr>
          <p:cNvPr id="4" name="Chart 3">
            <a:extLst>
              <a:ext uri="{FF2B5EF4-FFF2-40B4-BE49-F238E27FC236}">
                <a16:creationId xmlns:a16="http://schemas.microsoft.com/office/drawing/2014/main" id="{DB2A8D72-7CCA-CE12-3B63-E42864F5E6B7}"/>
              </a:ext>
            </a:extLst>
          </p:cNvPr>
          <p:cNvGraphicFramePr>
            <a:graphicFrameLocks/>
          </p:cNvGraphicFramePr>
          <p:nvPr>
            <p:extLst>
              <p:ext uri="{D42A27DB-BD31-4B8C-83A1-F6EECF244321}">
                <p14:modId xmlns:p14="http://schemas.microsoft.com/office/powerpoint/2010/main" val="942090823"/>
              </p:ext>
            </p:extLst>
          </p:nvPr>
        </p:nvGraphicFramePr>
        <p:xfrm>
          <a:off x="250825" y="1006475"/>
          <a:ext cx="8642293" cy="5194298"/>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a:extLst>
              <a:ext uri="{FF2B5EF4-FFF2-40B4-BE49-F238E27FC236}">
                <a16:creationId xmlns:a16="http://schemas.microsoft.com/office/drawing/2014/main" id="{295B80A9-8C8A-E1C2-3692-3195CFFCFCAE}"/>
              </a:ext>
            </a:extLst>
          </p:cNvPr>
          <p:cNvSpPr/>
          <p:nvPr/>
        </p:nvSpPr>
        <p:spPr>
          <a:xfrm>
            <a:off x="2250995" y="975131"/>
            <a:ext cx="4641949" cy="32683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indent="0" algn="l" defTabSz="914400" rtl="0" eaLnBrk="1" latinLnBrk="0" hangingPunct="1">
              <a:defRPr sz="1800" kern="1200">
                <a:solidFill>
                  <a:schemeClr val="lt1"/>
                </a:solidFill>
                <a:latin typeface="+mn-lt"/>
                <a:ea typeface="+mn-ea"/>
                <a:cs typeface="+mn-cs"/>
              </a:defRPr>
            </a:lvl1pPr>
            <a:lvl2pPr marL="457200" indent="0" algn="l" defTabSz="914400" rtl="0" eaLnBrk="1" latinLnBrk="0" hangingPunct="1">
              <a:defRPr sz="1800" kern="1200">
                <a:solidFill>
                  <a:schemeClr val="lt1"/>
                </a:solidFill>
                <a:latin typeface="+mn-lt"/>
                <a:ea typeface="+mn-ea"/>
                <a:cs typeface="+mn-cs"/>
              </a:defRPr>
            </a:lvl2pPr>
            <a:lvl3pPr marL="914400" indent="0" algn="l" defTabSz="914400" rtl="0" eaLnBrk="1" latinLnBrk="0" hangingPunct="1">
              <a:defRPr sz="1800" kern="1200">
                <a:solidFill>
                  <a:schemeClr val="lt1"/>
                </a:solidFill>
                <a:latin typeface="+mn-lt"/>
                <a:ea typeface="+mn-ea"/>
                <a:cs typeface="+mn-cs"/>
              </a:defRPr>
            </a:lvl3pPr>
            <a:lvl4pPr marL="1371600" indent="0" algn="l" defTabSz="914400" rtl="0" eaLnBrk="1" latinLnBrk="0" hangingPunct="1">
              <a:defRPr sz="1800" kern="1200">
                <a:solidFill>
                  <a:schemeClr val="lt1"/>
                </a:solidFill>
                <a:latin typeface="+mn-lt"/>
                <a:ea typeface="+mn-ea"/>
                <a:cs typeface="+mn-cs"/>
              </a:defRPr>
            </a:lvl4pPr>
            <a:lvl5pPr marL="1828800" indent="0" algn="l" defTabSz="914400" rtl="0" eaLnBrk="1" latinLnBrk="0" hangingPunct="1">
              <a:defRPr sz="1800" kern="1200">
                <a:solidFill>
                  <a:schemeClr val="lt1"/>
                </a:solidFill>
                <a:latin typeface="+mn-lt"/>
                <a:ea typeface="+mn-ea"/>
                <a:cs typeface="+mn-cs"/>
              </a:defRPr>
            </a:lvl5pPr>
            <a:lvl6pPr marL="2286000" indent="0" algn="l" defTabSz="914400" rtl="0" eaLnBrk="1" latinLnBrk="0" hangingPunct="1">
              <a:defRPr sz="1800" kern="1200">
                <a:solidFill>
                  <a:schemeClr val="lt1"/>
                </a:solidFill>
                <a:latin typeface="+mn-lt"/>
                <a:ea typeface="+mn-ea"/>
                <a:cs typeface="+mn-cs"/>
              </a:defRPr>
            </a:lvl6pPr>
            <a:lvl7pPr marL="2743200" indent="0" algn="l" defTabSz="914400" rtl="0" eaLnBrk="1" latinLnBrk="0" hangingPunct="1">
              <a:defRPr sz="1800" kern="1200">
                <a:solidFill>
                  <a:schemeClr val="lt1"/>
                </a:solidFill>
                <a:latin typeface="+mn-lt"/>
                <a:ea typeface="+mn-ea"/>
                <a:cs typeface="+mn-cs"/>
              </a:defRPr>
            </a:lvl7pPr>
            <a:lvl8pPr marL="3200400" indent="0" algn="l" defTabSz="914400" rtl="0" eaLnBrk="1" latinLnBrk="0" hangingPunct="1">
              <a:defRPr sz="1800" kern="1200">
                <a:solidFill>
                  <a:schemeClr val="lt1"/>
                </a:solidFill>
                <a:latin typeface="+mn-lt"/>
                <a:ea typeface="+mn-ea"/>
                <a:cs typeface="+mn-cs"/>
              </a:defRPr>
            </a:lvl8pPr>
            <a:lvl9pPr marL="3657600" indent="0" algn="l" defTabSz="914400" rtl="0" eaLnBrk="1" latinLnBrk="0" hangingPunct="1">
              <a:defRPr sz="1800" kern="1200">
                <a:solidFill>
                  <a:schemeClr val="lt1"/>
                </a:solidFill>
                <a:latin typeface="+mn-lt"/>
                <a:ea typeface="+mn-ea"/>
                <a:cs typeface="+mn-cs"/>
              </a:defRPr>
            </a:lvl9pPr>
          </a:lstStyle>
          <a:p>
            <a:pPr algn="ctr"/>
            <a:r>
              <a:rPr lang="en-CA" sz="1200" b="1">
                <a:solidFill>
                  <a:schemeClr val="tx1"/>
                </a:solidFill>
              </a:rPr>
              <a:t>Projected Free Cash Flow to Firm</a:t>
            </a:r>
          </a:p>
        </p:txBody>
      </p:sp>
      <p:sp>
        <p:nvSpPr>
          <p:cNvPr id="7" name="Rectangle 6">
            <a:extLst>
              <a:ext uri="{FF2B5EF4-FFF2-40B4-BE49-F238E27FC236}">
                <a16:creationId xmlns:a16="http://schemas.microsoft.com/office/drawing/2014/main" id="{8D45687C-F7D5-4D4D-D83C-4FEBE5643BFC}"/>
              </a:ext>
            </a:extLst>
          </p:cNvPr>
          <p:cNvSpPr/>
          <p:nvPr/>
        </p:nvSpPr>
        <p:spPr>
          <a:xfrm>
            <a:off x="3827349" y="1192496"/>
            <a:ext cx="1489239" cy="3268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indent="0" algn="l" defTabSz="914400" rtl="0" eaLnBrk="1" latinLnBrk="0" hangingPunct="1">
              <a:defRPr sz="1800" kern="1200">
                <a:solidFill>
                  <a:schemeClr val="lt1"/>
                </a:solidFill>
                <a:latin typeface="+mn-lt"/>
                <a:ea typeface="+mn-ea"/>
                <a:cs typeface="+mn-cs"/>
              </a:defRPr>
            </a:lvl1pPr>
            <a:lvl2pPr marL="457200" indent="0" algn="l" defTabSz="914400" rtl="0" eaLnBrk="1" latinLnBrk="0" hangingPunct="1">
              <a:defRPr sz="1800" kern="1200">
                <a:solidFill>
                  <a:schemeClr val="lt1"/>
                </a:solidFill>
                <a:latin typeface="+mn-lt"/>
                <a:ea typeface="+mn-ea"/>
                <a:cs typeface="+mn-cs"/>
              </a:defRPr>
            </a:lvl2pPr>
            <a:lvl3pPr marL="914400" indent="0" algn="l" defTabSz="914400" rtl="0" eaLnBrk="1" latinLnBrk="0" hangingPunct="1">
              <a:defRPr sz="1800" kern="1200">
                <a:solidFill>
                  <a:schemeClr val="lt1"/>
                </a:solidFill>
                <a:latin typeface="+mn-lt"/>
                <a:ea typeface="+mn-ea"/>
                <a:cs typeface="+mn-cs"/>
              </a:defRPr>
            </a:lvl3pPr>
            <a:lvl4pPr marL="1371600" indent="0" algn="l" defTabSz="914400" rtl="0" eaLnBrk="1" latinLnBrk="0" hangingPunct="1">
              <a:defRPr sz="1800" kern="1200">
                <a:solidFill>
                  <a:schemeClr val="lt1"/>
                </a:solidFill>
                <a:latin typeface="+mn-lt"/>
                <a:ea typeface="+mn-ea"/>
                <a:cs typeface="+mn-cs"/>
              </a:defRPr>
            </a:lvl4pPr>
            <a:lvl5pPr marL="1828800" indent="0" algn="l" defTabSz="914400" rtl="0" eaLnBrk="1" latinLnBrk="0" hangingPunct="1">
              <a:defRPr sz="1800" kern="1200">
                <a:solidFill>
                  <a:schemeClr val="lt1"/>
                </a:solidFill>
                <a:latin typeface="+mn-lt"/>
                <a:ea typeface="+mn-ea"/>
                <a:cs typeface="+mn-cs"/>
              </a:defRPr>
            </a:lvl5pPr>
            <a:lvl6pPr marL="2286000" indent="0" algn="l" defTabSz="914400" rtl="0" eaLnBrk="1" latinLnBrk="0" hangingPunct="1">
              <a:defRPr sz="1800" kern="1200">
                <a:solidFill>
                  <a:schemeClr val="lt1"/>
                </a:solidFill>
                <a:latin typeface="+mn-lt"/>
                <a:ea typeface="+mn-ea"/>
                <a:cs typeface="+mn-cs"/>
              </a:defRPr>
            </a:lvl6pPr>
            <a:lvl7pPr marL="2743200" indent="0" algn="l" defTabSz="914400" rtl="0" eaLnBrk="1" latinLnBrk="0" hangingPunct="1">
              <a:defRPr sz="1800" kern="1200">
                <a:solidFill>
                  <a:schemeClr val="lt1"/>
                </a:solidFill>
                <a:latin typeface="+mn-lt"/>
                <a:ea typeface="+mn-ea"/>
                <a:cs typeface="+mn-cs"/>
              </a:defRPr>
            </a:lvl7pPr>
            <a:lvl8pPr marL="3200400" indent="0" algn="l" defTabSz="914400" rtl="0" eaLnBrk="1" latinLnBrk="0" hangingPunct="1">
              <a:defRPr sz="1800" kern="1200">
                <a:solidFill>
                  <a:schemeClr val="lt1"/>
                </a:solidFill>
                <a:latin typeface="+mn-lt"/>
                <a:ea typeface="+mn-ea"/>
                <a:cs typeface="+mn-cs"/>
              </a:defRPr>
            </a:lvl8pPr>
            <a:lvl9pPr marL="3657600" indent="0" algn="l" defTabSz="914400" rtl="0" eaLnBrk="1" latinLnBrk="0" hangingPunct="1">
              <a:defRPr sz="1800" kern="1200">
                <a:solidFill>
                  <a:schemeClr val="lt1"/>
                </a:solidFill>
                <a:latin typeface="+mn-lt"/>
                <a:ea typeface="+mn-ea"/>
                <a:cs typeface="+mn-cs"/>
              </a:defRPr>
            </a:lvl9pPr>
          </a:lstStyle>
          <a:p>
            <a:pPr algn="ctr"/>
            <a:r>
              <a:rPr lang="en-CA" sz="1200" i="1">
                <a:solidFill>
                  <a:schemeClr val="tx1"/>
                </a:solidFill>
              </a:rPr>
              <a:t>(USD mm)</a:t>
            </a:r>
          </a:p>
        </p:txBody>
      </p:sp>
    </p:spTree>
    <p:extLst>
      <p:ext uri="{BB962C8B-B14F-4D97-AF65-F5344CB8AC3E}">
        <p14:creationId xmlns:p14="http://schemas.microsoft.com/office/powerpoint/2010/main" val="15323185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7D16C3-AD97-8180-BE4E-B2A4D586E135}"/>
            </a:ext>
          </a:extLst>
        </p:cNvPr>
        <p:cNvGrpSpPr/>
        <p:nvPr/>
      </p:nvGrpSpPr>
      <p:grpSpPr>
        <a:xfrm>
          <a:off x="0" y="0"/>
          <a:ext cx="0" cy="0"/>
          <a:chOff x="0" y="0"/>
          <a:chExt cx="0" cy="0"/>
        </a:xfrm>
      </p:grpSpPr>
      <mc:AlternateContent xmlns:mc="http://schemas.openxmlformats.org/markup-compatibility/2006">
        <mc:Choice xmlns:cx1="http://schemas.microsoft.com/office/drawing/2015/9/8/chartex" Requires="cx1">
          <p:graphicFrame>
            <p:nvGraphicFramePr>
              <p:cNvPr id="32" name="Chart 31">
                <a:extLst>
                  <a:ext uri="{FF2B5EF4-FFF2-40B4-BE49-F238E27FC236}">
                    <a16:creationId xmlns:a16="http://schemas.microsoft.com/office/drawing/2014/main" id="{B733A96E-DF48-22A6-1496-938451D75CBF}"/>
                  </a:ext>
                </a:extLst>
              </p:cNvPr>
              <p:cNvGraphicFramePr/>
              <p:nvPr>
                <p:extLst>
                  <p:ext uri="{D42A27DB-BD31-4B8C-83A1-F6EECF244321}">
                    <p14:modId xmlns:p14="http://schemas.microsoft.com/office/powerpoint/2010/main" val="3232116054"/>
                  </p:ext>
                </p:extLst>
              </p:nvPr>
            </p:nvGraphicFramePr>
            <p:xfrm>
              <a:off x="239262" y="2088872"/>
              <a:ext cx="3008655" cy="3472712"/>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32" name="Chart 31">
                <a:extLst>
                  <a:ext uri="{FF2B5EF4-FFF2-40B4-BE49-F238E27FC236}">
                    <a16:creationId xmlns:a16="http://schemas.microsoft.com/office/drawing/2014/main" id="{B733A96E-DF48-22A6-1496-938451D75CBF}"/>
                  </a:ext>
                </a:extLst>
              </p:cNvPr>
              <p:cNvPicPr>
                <a:picLocks noGrp="1" noRot="1" noChangeAspect="1" noMove="1" noResize="1" noEditPoints="1" noAdjustHandles="1" noChangeArrowheads="1" noChangeShapeType="1"/>
              </p:cNvPicPr>
              <p:nvPr/>
            </p:nvPicPr>
            <p:blipFill>
              <a:blip r:embed="rId4"/>
              <a:stretch>
                <a:fillRect/>
              </a:stretch>
            </p:blipFill>
            <p:spPr>
              <a:xfrm>
                <a:off x="239262" y="2088872"/>
                <a:ext cx="3008655" cy="3472712"/>
              </a:xfrm>
              <a:prstGeom prst="rect">
                <a:avLst/>
              </a:prstGeom>
            </p:spPr>
          </p:pic>
        </mc:Fallback>
      </mc:AlternateContent>
      <p:sp>
        <p:nvSpPr>
          <p:cNvPr id="8" name="Text Placeholder 7">
            <a:extLst>
              <a:ext uri="{FF2B5EF4-FFF2-40B4-BE49-F238E27FC236}">
                <a16:creationId xmlns:a16="http://schemas.microsoft.com/office/drawing/2014/main" id="{0B2406F1-9A89-43CF-6B72-90C3789E3B2C}"/>
              </a:ext>
            </a:extLst>
          </p:cNvPr>
          <p:cNvSpPr>
            <a:spLocks noGrp="1"/>
          </p:cNvSpPr>
          <p:nvPr>
            <p:ph type="body" sz="quarter" idx="21"/>
          </p:nvPr>
        </p:nvSpPr>
        <p:spPr/>
        <p:txBody>
          <a:bodyPr/>
          <a:lstStyle/>
          <a:p>
            <a:r>
              <a:rPr lang="en-CA"/>
              <a:t>Derived Via Forward EV/Revenue Multiples </a:t>
            </a:r>
          </a:p>
        </p:txBody>
      </p:sp>
      <p:sp>
        <p:nvSpPr>
          <p:cNvPr id="5" name="Title 4">
            <a:extLst>
              <a:ext uri="{FF2B5EF4-FFF2-40B4-BE49-F238E27FC236}">
                <a16:creationId xmlns:a16="http://schemas.microsoft.com/office/drawing/2014/main" id="{B532CC6A-F12E-9F4E-F1C6-2DB5903707AF}"/>
              </a:ext>
            </a:extLst>
          </p:cNvPr>
          <p:cNvSpPr>
            <a:spLocks noGrp="1"/>
          </p:cNvSpPr>
          <p:nvPr>
            <p:ph type="title"/>
          </p:nvPr>
        </p:nvSpPr>
        <p:spPr/>
        <p:txBody>
          <a:bodyPr/>
          <a:lstStyle/>
          <a:p>
            <a:r>
              <a:rPr lang="en-CA"/>
              <a:t>DCF Target Price </a:t>
            </a:r>
          </a:p>
        </p:txBody>
      </p:sp>
      <p:grpSp>
        <p:nvGrpSpPr>
          <p:cNvPr id="31" name="Group 30">
            <a:extLst>
              <a:ext uri="{FF2B5EF4-FFF2-40B4-BE49-F238E27FC236}">
                <a16:creationId xmlns:a16="http://schemas.microsoft.com/office/drawing/2014/main" id="{960A68D9-DDFB-DC88-3384-2DE4A7993109}"/>
              </a:ext>
            </a:extLst>
          </p:cNvPr>
          <p:cNvGrpSpPr/>
          <p:nvPr/>
        </p:nvGrpSpPr>
        <p:grpSpPr>
          <a:xfrm>
            <a:off x="300687" y="1298865"/>
            <a:ext cx="8592490" cy="4254712"/>
            <a:chOff x="273709" y="1207175"/>
            <a:chExt cx="8700281" cy="4254712"/>
          </a:xfrm>
        </p:grpSpPr>
        <p:sp>
          <p:nvSpPr>
            <p:cNvPr id="21" name="Rectangle 20">
              <a:extLst>
                <a:ext uri="{FF2B5EF4-FFF2-40B4-BE49-F238E27FC236}">
                  <a16:creationId xmlns:a16="http://schemas.microsoft.com/office/drawing/2014/main" id="{250294EA-09C9-AC07-E3E3-767A885DF4DE}"/>
                </a:ext>
              </a:extLst>
            </p:cNvPr>
            <p:cNvSpPr/>
            <p:nvPr/>
          </p:nvSpPr>
          <p:spPr>
            <a:xfrm>
              <a:off x="7574234" y="1207175"/>
              <a:ext cx="1389988" cy="4254711"/>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grpSp>
          <p:nvGrpSpPr>
            <p:cNvPr id="15" name="Group 14">
              <a:extLst>
                <a:ext uri="{FF2B5EF4-FFF2-40B4-BE49-F238E27FC236}">
                  <a16:creationId xmlns:a16="http://schemas.microsoft.com/office/drawing/2014/main" id="{90C706F5-6616-8B27-BFD7-511D63B8CD78}"/>
                </a:ext>
              </a:extLst>
            </p:cNvPr>
            <p:cNvGrpSpPr/>
            <p:nvPr/>
          </p:nvGrpSpPr>
          <p:grpSpPr>
            <a:xfrm>
              <a:off x="7715552" y="1300786"/>
              <a:ext cx="1258437" cy="3594102"/>
              <a:chOff x="5267980" y="1969924"/>
              <a:chExt cx="3454880" cy="1673270"/>
            </a:xfrm>
          </p:grpSpPr>
          <p:sp>
            <p:nvSpPr>
              <p:cNvPr id="18" name="Title 3">
                <a:extLst>
                  <a:ext uri="{FF2B5EF4-FFF2-40B4-BE49-F238E27FC236}">
                    <a16:creationId xmlns:a16="http://schemas.microsoft.com/office/drawing/2014/main" id="{8EAAC462-7230-00B6-AA4E-94AF5E007FF0}"/>
                  </a:ext>
                </a:extLst>
              </p:cNvPr>
              <p:cNvSpPr txBox="1">
                <a:spLocks/>
              </p:cNvSpPr>
              <p:nvPr/>
            </p:nvSpPr>
            <p:spPr>
              <a:xfrm>
                <a:off x="5267980" y="1969924"/>
                <a:ext cx="3040101" cy="697467"/>
              </a:xfrm>
              <a:prstGeom prst="rect">
                <a:avLst/>
              </a:prstGeom>
            </p:spPr>
            <p:txBody>
              <a:bodyPr vert="horz" lIns="91440" tIns="45720" rIns="91440" bIns="45720" rtlCol="0" anchor="ctr">
                <a:normAutofit/>
              </a:bodyPr>
              <a:lstStyle>
                <a:lvl1pPr algn="l" defTabSz="914400" rtl="0" eaLnBrk="1" latinLnBrk="0" hangingPunct="1">
                  <a:lnSpc>
                    <a:spcPct val="100000"/>
                  </a:lnSpc>
                  <a:spcBef>
                    <a:spcPct val="0"/>
                  </a:spcBef>
                  <a:buNone/>
                  <a:defRPr sz="2000" kern="1200">
                    <a:solidFill>
                      <a:schemeClr val="accent1"/>
                    </a:solidFill>
                    <a:latin typeface="+mj-lt"/>
                    <a:ea typeface="+mj-ea"/>
                    <a:cs typeface="Goldman Sans Bold" panose="020B0803020203020204" pitchFamily="34" charset="0"/>
                  </a:defRPr>
                </a:lvl1pPr>
              </a:lstStyle>
              <a:p>
                <a:pPr algn="ctr"/>
                <a:endParaRPr lang="en-CA" b="1">
                  <a:solidFill>
                    <a:srgbClr val="00503E"/>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6E47CF60-A67C-B699-40F1-62F0E36CA9E1}"/>
                  </a:ext>
                </a:extLst>
              </p:cNvPr>
              <p:cNvSpPr txBox="1"/>
              <p:nvPr/>
            </p:nvSpPr>
            <p:spPr>
              <a:xfrm>
                <a:off x="5453460" y="2241032"/>
                <a:ext cx="3269400" cy="1402162"/>
              </a:xfrm>
              <a:prstGeom prst="rect">
                <a:avLst/>
              </a:prstGeom>
            </p:spPr>
            <p:txBody>
              <a:bodyPr vert="horz" lIns="91440" tIns="45720" rIns="91440" bIns="45720" rtlCol="0" anchor="ctr">
                <a:normAutofit/>
              </a:bodyPr>
              <a:lstStyle>
                <a:defPPr>
                  <a:defRPr lang="en-US"/>
                </a:defPPr>
                <a:lvl1pPr marL="285750" indent="-285750">
                  <a:lnSpc>
                    <a:spcPct val="100000"/>
                  </a:lnSpc>
                  <a:spcBef>
                    <a:spcPct val="0"/>
                  </a:spcBef>
                  <a:buFont typeface="Wingdings" pitchFamily="2" charset="2"/>
                  <a:buChar char="§"/>
                  <a:defRPr sz="1400" b="1">
                    <a:solidFill>
                      <a:schemeClr val="bg1">
                        <a:lumMod val="95000"/>
                      </a:schemeClr>
                    </a:solidFill>
                    <a:latin typeface="Segoe UI" panose="020B0502040204020203" pitchFamily="34" charset="0"/>
                    <a:ea typeface="+mj-ea"/>
                    <a:cs typeface="Segoe UI" panose="020B0502040204020203" pitchFamily="34" charset="0"/>
                  </a:defRPr>
                </a:lvl1pPr>
              </a:lstStyle>
              <a:p>
                <a:pPr>
                  <a:lnSpc>
                    <a:spcPct val="150000"/>
                  </a:lnSpc>
                  <a:buClr>
                    <a:srgbClr val="008864"/>
                  </a:buClr>
                </a:pPr>
                <a:endParaRPr lang="en-US" sz="1100" b="0">
                  <a:solidFill>
                    <a:srgbClr val="00503E"/>
                  </a:solidFill>
                </a:endParaRPr>
              </a:p>
            </p:txBody>
          </p:sp>
        </p:grpSp>
        <p:sp>
          <p:nvSpPr>
            <p:cNvPr id="3" name="Rectangle 2">
              <a:extLst>
                <a:ext uri="{FF2B5EF4-FFF2-40B4-BE49-F238E27FC236}">
                  <a16:creationId xmlns:a16="http://schemas.microsoft.com/office/drawing/2014/main" id="{1C28AD01-8DA7-6AEE-597F-D9E9F7BB22D0}"/>
                </a:ext>
              </a:extLst>
            </p:cNvPr>
            <p:cNvSpPr/>
            <p:nvPr/>
          </p:nvSpPr>
          <p:spPr>
            <a:xfrm>
              <a:off x="3174083" y="3121068"/>
              <a:ext cx="833717" cy="1036284"/>
            </a:xfrm>
            <a:prstGeom prst="rect">
              <a:avLst/>
            </a:prstGeom>
            <a:no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8800" b="1" i="0" u="none" strike="noStrike" kern="0" cap="none" spc="0" normalizeH="0" baseline="0" noProof="0">
                  <a:ln>
                    <a:noFill/>
                  </a:ln>
                  <a:solidFill>
                    <a:srgbClr val="008864"/>
                  </a:solidFill>
                  <a:effectLst/>
                  <a:uLnTx/>
                  <a:uFillTx/>
                  <a:latin typeface="Segoe UI"/>
                  <a:ea typeface="+mn-ea"/>
                  <a:cs typeface="+mn-cs"/>
                </a:rPr>
                <a:t>+</a:t>
              </a:r>
            </a:p>
          </p:txBody>
        </p:sp>
        <p:sp>
          <p:nvSpPr>
            <p:cNvPr id="4" name="TextBox 3">
              <a:extLst>
                <a:ext uri="{FF2B5EF4-FFF2-40B4-BE49-F238E27FC236}">
                  <a16:creationId xmlns:a16="http://schemas.microsoft.com/office/drawing/2014/main" id="{7B801DBE-E560-BED3-4157-4EEFCD93B583}"/>
                </a:ext>
              </a:extLst>
            </p:cNvPr>
            <p:cNvSpPr txBox="1"/>
            <p:nvPr/>
          </p:nvSpPr>
          <p:spPr>
            <a:xfrm>
              <a:off x="7574234" y="3548136"/>
              <a:ext cx="1383469" cy="400110"/>
            </a:xfrm>
            <a:prstGeom prst="rect">
              <a:avLst/>
            </a:prstGeom>
            <a:noFill/>
          </p:spPr>
          <p:txBody>
            <a:bodyPr wrap="square" rtlCol="0">
              <a:spAutoFit/>
            </a:bodyPr>
            <a:lstStyle>
              <a:defPPr>
                <a:defRPr lang="en-US"/>
              </a:defPPr>
              <a:lvl1pPr algn="ctr">
                <a:defRPr sz="4000" b="1">
                  <a:solidFill>
                    <a:schemeClr val="tx2"/>
                  </a:solidFill>
                </a:defRPr>
              </a:lvl1pPr>
            </a:lstStyle>
            <a:p>
              <a:r>
                <a:rPr lang="en-US" sz="2000"/>
                <a:t>$295.51</a:t>
              </a:r>
              <a:endParaRPr lang="en-CA" sz="2000"/>
            </a:p>
          </p:txBody>
        </p:sp>
        <p:sp>
          <p:nvSpPr>
            <p:cNvPr id="6" name="TextBox 5">
              <a:extLst>
                <a:ext uri="{FF2B5EF4-FFF2-40B4-BE49-F238E27FC236}">
                  <a16:creationId xmlns:a16="http://schemas.microsoft.com/office/drawing/2014/main" id="{B305CBA0-F8EF-9EB2-6305-DD776B86A400}"/>
                </a:ext>
              </a:extLst>
            </p:cNvPr>
            <p:cNvSpPr txBox="1"/>
            <p:nvPr/>
          </p:nvSpPr>
          <p:spPr>
            <a:xfrm>
              <a:off x="273709" y="1390556"/>
              <a:ext cx="2945423" cy="307777"/>
            </a:xfrm>
            <a:prstGeom prst="rect">
              <a:avLst/>
            </a:prstGeom>
            <a:noFill/>
          </p:spPr>
          <p:txBody>
            <a:bodyPr wrap="square" rtlCol="0">
              <a:spAutoFit/>
            </a:bodyPr>
            <a:lstStyle/>
            <a:p>
              <a:pPr algn="ctr"/>
              <a:r>
                <a:rPr lang="en-US" sz="1400" b="1">
                  <a:solidFill>
                    <a:srgbClr val="000000"/>
                  </a:solidFill>
                  <a:latin typeface="+mj-lt"/>
                </a:rPr>
                <a:t>Enterprise Value</a:t>
              </a:r>
              <a:endParaRPr lang="en-CA" sz="1400" b="1">
                <a:solidFill>
                  <a:srgbClr val="000000"/>
                </a:solidFill>
                <a:latin typeface="+mj-lt"/>
              </a:endParaRPr>
            </a:p>
          </p:txBody>
        </p:sp>
        <p:sp>
          <p:nvSpPr>
            <p:cNvPr id="7" name="TextBox 6">
              <a:extLst>
                <a:ext uri="{FF2B5EF4-FFF2-40B4-BE49-F238E27FC236}">
                  <a16:creationId xmlns:a16="http://schemas.microsoft.com/office/drawing/2014/main" id="{EDAD607D-5F99-1259-E101-D4690743DCD5}"/>
                </a:ext>
              </a:extLst>
            </p:cNvPr>
            <p:cNvSpPr txBox="1"/>
            <p:nvPr/>
          </p:nvSpPr>
          <p:spPr>
            <a:xfrm>
              <a:off x="3912263" y="1414772"/>
              <a:ext cx="2944800" cy="307777"/>
            </a:xfrm>
            <a:prstGeom prst="rect">
              <a:avLst/>
            </a:prstGeom>
            <a:noFill/>
          </p:spPr>
          <p:txBody>
            <a:bodyPr wrap="square" rtlCol="0">
              <a:spAutoFit/>
            </a:bodyPr>
            <a:lstStyle/>
            <a:p>
              <a:pPr algn="ctr"/>
              <a:r>
                <a:rPr lang="en-US" sz="1400" b="1">
                  <a:solidFill>
                    <a:srgbClr val="000000"/>
                  </a:solidFill>
                  <a:latin typeface="+mj-lt"/>
                </a:rPr>
                <a:t>Adjustments to Equity Value</a:t>
              </a:r>
              <a:endParaRPr lang="en-CA" sz="1400" b="1">
                <a:solidFill>
                  <a:srgbClr val="000000"/>
                </a:solidFill>
                <a:latin typeface="+mj-lt"/>
              </a:endParaRPr>
            </a:p>
          </p:txBody>
        </p:sp>
        <p:sp>
          <p:nvSpPr>
            <p:cNvPr id="9" name="TextBox 8">
              <a:extLst>
                <a:ext uri="{FF2B5EF4-FFF2-40B4-BE49-F238E27FC236}">
                  <a16:creationId xmlns:a16="http://schemas.microsoft.com/office/drawing/2014/main" id="{6EDEE70E-0DC8-F513-1F6B-C2753C19C907}"/>
                </a:ext>
              </a:extLst>
            </p:cNvPr>
            <p:cNvSpPr txBox="1"/>
            <p:nvPr/>
          </p:nvSpPr>
          <p:spPr>
            <a:xfrm>
              <a:off x="7574234" y="1390556"/>
              <a:ext cx="1399756" cy="307777"/>
            </a:xfrm>
            <a:prstGeom prst="rect">
              <a:avLst/>
            </a:prstGeom>
            <a:noFill/>
          </p:spPr>
          <p:txBody>
            <a:bodyPr wrap="square" rtlCol="0">
              <a:spAutoFit/>
            </a:bodyPr>
            <a:lstStyle/>
            <a:p>
              <a:pPr algn="ctr"/>
              <a:r>
                <a:rPr lang="en-US" sz="1400" b="1">
                  <a:solidFill>
                    <a:srgbClr val="000000"/>
                  </a:solidFill>
                  <a:latin typeface="+mj-lt"/>
                </a:rPr>
                <a:t>Equity Value</a:t>
              </a:r>
              <a:endParaRPr lang="en-CA" sz="1400" b="1">
                <a:solidFill>
                  <a:srgbClr val="000000"/>
                </a:solidFill>
                <a:latin typeface="+mj-lt"/>
              </a:endParaRPr>
            </a:p>
          </p:txBody>
        </p:sp>
        <p:sp>
          <p:nvSpPr>
            <p:cNvPr id="12" name="Rectangle 11">
              <a:extLst>
                <a:ext uri="{FF2B5EF4-FFF2-40B4-BE49-F238E27FC236}">
                  <a16:creationId xmlns:a16="http://schemas.microsoft.com/office/drawing/2014/main" id="{38F31616-FCFE-DE44-864C-2B324BEE8779}"/>
                </a:ext>
              </a:extLst>
            </p:cNvPr>
            <p:cNvSpPr/>
            <p:nvPr/>
          </p:nvSpPr>
          <p:spPr>
            <a:xfrm>
              <a:off x="1001817" y="1689405"/>
              <a:ext cx="1489209" cy="289761"/>
            </a:xfrm>
            <a:prstGeom prst="rect">
              <a:avLst/>
            </a:prstGeom>
            <a:no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200" b="0" i="1" u="none" strike="noStrike" kern="0" cap="none" spc="0" normalizeH="0" baseline="0" noProof="0">
                  <a:ln>
                    <a:noFill/>
                  </a:ln>
                  <a:solidFill>
                    <a:srgbClr val="000000"/>
                  </a:solidFill>
                  <a:effectLst/>
                  <a:uLnTx/>
                  <a:uFillTx/>
                  <a:latin typeface="+mj-lt"/>
                  <a:ea typeface="+mn-ea"/>
                  <a:cs typeface="+mn-cs"/>
                </a:rPr>
                <a:t>(USD mm)</a:t>
              </a:r>
            </a:p>
          </p:txBody>
        </p:sp>
        <p:sp>
          <p:nvSpPr>
            <p:cNvPr id="13" name="Rectangle 12">
              <a:extLst>
                <a:ext uri="{FF2B5EF4-FFF2-40B4-BE49-F238E27FC236}">
                  <a16:creationId xmlns:a16="http://schemas.microsoft.com/office/drawing/2014/main" id="{089C5C09-11AF-5FD7-DB5B-29085E8CF7DF}"/>
                </a:ext>
              </a:extLst>
            </p:cNvPr>
            <p:cNvSpPr/>
            <p:nvPr/>
          </p:nvSpPr>
          <p:spPr>
            <a:xfrm>
              <a:off x="4643714" y="1692857"/>
              <a:ext cx="1489209" cy="289761"/>
            </a:xfrm>
            <a:prstGeom prst="rect">
              <a:avLst/>
            </a:prstGeom>
            <a:no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200" b="0" i="1" u="none" strike="noStrike" kern="0" cap="none" spc="0" normalizeH="0" baseline="0" noProof="0">
                  <a:ln>
                    <a:noFill/>
                  </a:ln>
                  <a:solidFill>
                    <a:srgbClr val="000000"/>
                  </a:solidFill>
                  <a:effectLst/>
                  <a:uLnTx/>
                  <a:uFillTx/>
                  <a:latin typeface="+mj-lt"/>
                  <a:ea typeface="+mn-ea"/>
                  <a:cs typeface="+mn-cs"/>
                </a:rPr>
                <a:t>(USD </a:t>
              </a:r>
              <a:r>
                <a:rPr lang="en-CA" sz="1200" i="1" kern="0">
                  <a:solidFill>
                    <a:srgbClr val="000000"/>
                  </a:solidFill>
                  <a:latin typeface="+mj-lt"/>
                </a:rPr>
                <a:t>mm</a:t>
              </a:r>
              <a:r>
                <a:rPr kumimoji="0" lang="en-CA" sz="1200" b="0" i="1" u="none" strike="noStrike" kern="0" cap="none" spc="0" normalizeH="0" baseline="0" noProof="0">
                  <a:ln>
                    <a:noFill/>
                  </a:ln>
                  <a:solidFill>
                    <a:srgbClr val="000000"/>
                  </a:solidFill>
                  <a:effectLst/>
                  <a:uLnTx/>
                  <a:uFillTx/>
                  <a:latin typeface="+mj-lt"/>
                  <a:ea typeface="+mn-ea"/>
                  <a:cs typeface="+mn-cs"/>
                </a:rPr>
                <a:t>)</a:t>
              </a:r>
            </a:p>
          </p:txBody>
        </p:sp>
        <p:sp>
          <p:nvSpPr>
            <p:cNvPr id="14" name="Rectangle 13">
              <a:extLst>
                <a:ext uri="{FF2B5EF4-FFF2-40B4-BE49-F238E27FC236}">
                  <a16:creationId xmlns:a16="http://schemas.microsoft.com/office/drawing/2014/main" id="{CAAAC3B6-9D18-E0E9-88C2-FFA164D2D544}"/>
                </a:ext>
              </a:extLst>
            </p:cNvPr>
            <p:cNvSpPr/>
            <p:nvPr/>
          </p:nvSpPr>
          <p:spPr>
            <a:xfrm>
              <a:off x="7588514" y="1693679"/>
              <a:ext cx="1375708" cy="289761"/>
            </a:xfrm>
            <a:prstGeom prst="rect">
              <a:avLst/>
            </a:prstGeom>
            <a:no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200" b="0" i="1" u="none" strike="noStrike" kern="0" cap="none" spc="0" normalizeH="0" baseline="0" noProof="0">
                  <a:ln>
                    <a:noFill/>
                  </a:ln>
                  <a:solidFill>
                    <a:srgbClr val="000000"/>
                  </a:solidFill>
                  <a:effectLst/>
                  <a:uLnTx/>
                  <a:uFillTx/>
                  <a:latin typeface="+mj-lt"/>
                  <a:ea typeface="+mn-ea"/>
                  <a:cs typeface="+mn-cs"/>
                </a:rPr>
                <a:t>($ per share)</a:t>
              </a:r>
            </a:p>
          </p:txBody>
        </p:sp>
        <mc:AlternateContent xmlns:mc="http://schemas.openxmlformats.org/markup-compatibility/2006">
          <mc:Choice xmlns:cx1="http://schemas.microsoft.com/office/drawing/2015/9/8/chartex" Requires="cx1">
            <p:graphicFrame>
              <p:nvGraphicFramePr>
                <p:cNvPr id="19" name="Chart 18">
                  <a:extLst>
                    <a:ext uri="{FF2B5EF4-FFF2-40B4-BE49-F238E27FC236}">
                      <a16:creationId xmlns:a16="http://schemas.microsoft.com/office/drawing/2014/main" id="{C564B2B3-CBAC-BA4D-D555-2F61109D9B1D}"/>
                    </a:ext>
                  </a:extLst>
                </p:cNvPr>
                <p:cNvGraphicFramePr/>
                <p:nvPr>
                  <p:extLst>
                    <p:ext uri="{D42A27DB-BD31-4B8C-83A1-F6EECF244321}">
                      <p14:modId xmlns:p14="http://schemas.microsoft.com/office/powerpoint/2010/main" val="4197380133"/>
                    </p:ext>
                  </p:extLst>
                </p:nvPr>
              </p:nvGraphicFramePr>
              <p:xfrm>
                <a:off x="3912263" y="1984197"/>
                <a:ext cx="3046398" cy="3477690"/>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19" name="Chart 18">
                  <a:extLst>
                    <a:ext uri="{FF2B5EF4-FFF2-40B4-BE49-F238E27FC236}">
                      <a16:creationId xmlns:a16="http://schemas.microsoft.com/office/drawing/2014/main" id="{C564B2B3-CBAC-BA4D-D555-2F61109D9B1D}"/>
                    </a:ext>
                  </a:extLst>
                </p:cNvPr>
                <p:cNvPicPr>
                  <a:picLocks noGrp="1" noRot="1" noChangeAspect="1" noMove="1" noResize="1" noEditPoints="1" noAdjustHandles="1" noChangeArrowheads="1" noChangeShapeType="1"/>
                </p:cNvPicPr>
                <p:nvPr/>
              </p:nvPicPr>
              <p:blipFill>
                <a:blip r:embed="rId6"/>
                <a:stretch>
                  <a:fillRect/>
                </a:stretch>
              </p:blipFill>
              <p:spPr>
                <a:xfrm>
                  <a:off x="3894162" y="2075887"/>
                  <a:ext cx="3008655" cy="3477690"/>
                </a:xfrm>
                <a:prstGeom prst="rect">
                  <a:avLst/>
                </a:prstGeom>
              </p:spPr>
            </p:pic>
          </mc:Fallback>
        </mc:AlternateContent>
        <p:sp>
          <p:nvSpPr>
            <p:cNvPr id="16" name="Isosceles Triangle 10">
              <a:extLst>
                <a:ext uri="{FF2B5EF4-FFF2-40B4-BE49-F238E27FC236}">
                  <a16:creationId xmlns:a16="http://schemas.microsoft.com/office/drawing/2014/main" id="{46F34D58-5AD0-82E0-51C4-749774147398}"/>
                </a:ext>
              </a:extLst>
            </p:cNvPr>
            <p:cNvSpPr/>
            <p:nvPr/>
          </p:nvSpPr>
          <p:spPr>
            <a:xfrm rot="5400000">
              <a:off x="6992333" y="3581137"/>
              <a:ext cx="548229" cy="334107"/>
            </a:xfrm>
            <a:prstGeom prst="triangle">
              <a:avLst>
                <a:gd name="adj" fmla="val 49392"/>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5974804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246F6-2BA5-7D03-7795-CA602822EC41}"/>
            </a:ext>
          </a:extLst>
        </p:cNvPr>
        <p:cNvGrpSpPr/>
        <p:nvPr/>
      </p:nvGrpSpPr>
      <p:grpSpPr>
        <a:xfrm>
          <a:off x="0" y="0"/>
          <a:ext cx="0" cy="0"/>
          <a:chOff x="0" y="0"/>
          <a:chExt cx="0" cy="0"/>
        </a:xfrm>
      </p:grpSpPr>
      <p:pic>
        <p:nvPicPr>
          <p:cNvPr id="4" name="Picture Placeholder 3" descr="A room with chairs and a table&#10;&#10;AI-generated content may be incorrect.">
            <a:extLst>
              <a:ext uri="{FF2B5EF4-FFF2-40B4-BE49-F238E27FC236}">
                <a16:creationId xmlns:a16="http://schemas.microsoft.com/office/drawing/2014/main" id="{635866DA-3249-4B3D-C63A-14F4F526C4FE}"/>
              </a:ext>
            </a:extLst>
          </p:cNvPr>
          <p:cNvPicPr>
            <a:picLocks noGrp="1" noChangeAspect="1"/>
          </p:cNvPicPr>
          <p:nvPr>
            <p:ph type="pic" sz="quarter" idx="10"/>
          </p:nvPr>
        </p:nvPicPr>
        <p:blipFill>
          <a:blip r:embed="rId2"/>
          <a:srcRect l="5500" r="5499" b="-1"/>
          <a:stretch/>
        </p:blipFill>
        <p:spPr>
          <a:xfrm>
            <a:off x="20" y="10"/>
            <a:ext cx="9143980" cy="6857990"/>
          </a:xfrm>
          <a:noFill/>
        </p:spPr>
      </p:pic>
      <p:sp>
        <p:nvSpPr>
          <p:cNvPr id="39" name="Text Placeholder 2">
            <a:extLst>
              <a:ext uri="{FF2B5EF4-FFF2-40B4-BE49-F238E27FC236}">
                <a16:creationId xmlns:a16="http://schemas.microsoft.com/office/drawing/2014/main" id="{7F733C86-A169-55FA-A9D5-C3EA01CF1DAA}"/>
              </a:ext>
            </a:extLst>
          </p:cNvPr>
          <p:cNvSpPr>
            <a:spLocks noGrp="1"/>
          </p:cNvSpPr>
          <p:nvPr>
            <p:ph type="body" sz="quarter" idx="13"/>
          </p:nvPr>
        </p:nvSpPr>
        <p:spPr>
          <a:xfrm>
            <a:off x="0" y="5121275"/>
            <a:ext cx="9144000" cy="1736724"/>
          </a:xfrm>
        </p:spPr>
        <p:txBody>
          <a:bodyPr/>
          <a:lstStyle/>
          <a:p>
            <a:endParaRPr lang="en-US"/>
          </a:p>
        </p:txBody>
      </p:sp>
      <p:sp>
        <p:nvSpPr>
          <p:cNvPr id="9" name="Title 8">
            <a:extLst>
              <a:ext uri="{FF2B5EF4-FFF2-40B4-BE49-F238E27FC236}">
                <a16:creationId xmlns:a16="http://schemas.microsoft.com/office/drawing/2014/main" id="{FA2955D8-B74B-DA7A-5189-E1F5BBA47E68}"/>
              </a:ext>
            </a:extLst>
          </p:cNvPr>
          <p:cNvSpPr>
            <a:spLocks noGrp="1"/>
          </p:cNvSpPr>
          <p:nvPr>
            <p:ph type="ctrTitle"/>
          </p:nvPr>
        </p:nvSpPr>
        <p:spPr>
          <a:xfrm>
            <a:off x="250825" y="5339798"/>
            <a:ext cx="8642349" cy="810730"/>
          </a:xfrm>
        </p:spPr>
        <p:txBody>
          <a:bodyPr anchor="ctr">
            <a:normAutofit/>
          </a:bodyPr>
          <a:lstStyle/>
          <a:p>
            <a:pPr>
              <a:lnSpc>
                <a:spcPct val="90000"/>
              </a:lnSpc>
            </a:pPr>
            <a:r>
              <a:rPr lang="en-US" sz="5100"/>
              <a:t>Synergies</a:t>
            </a:r>
          </a:p>
        </p:txBody>
      </p:sp>
      <p:sp>
        <p:nvSpPr>
          <p:cNvPr id="41" name="Subtitle 4">
            <a:extLst>
              <a:ext uri="{FF2B5EF4-FFF2-40B4-BE49-F238E27FC236}">
                <a16:creationId xmlns:a16="http://schemas.microsoft.com/office/drawing/2014/main" id="{F287332C-C641-CFE7-3D08-FAA67146A319}"/>
              </a:ext>
            </a:extLst>
          </p:cNvPr>
          <p:cNvSpPr>
            <a:spLocks noGrp="1"/>
          </p:cNvSpPr>
          <p:nvPr>
            <p:ph type="subTitle" idx="1"/>
          </p:nvPr>
        </p:nvSpPr>
        <p:spPr>
          <a:xfrm>
            <a:off x="250827" y="6237292"/>
            <a:ext cx="8642348" cy="395287"/>
          </a:xfrm>
        </p:spPr>
        <p:txBody>
          <a:bodyPr/>
          <a:lstStyle/>
          <a:p>
            <a:endParaRPr lang="en-US"/>
          </a:p>
        </p:txBody>
      </p:sp>
      <p:sp>
        <p:nvSpPr>
          <p:cNvPr id="43" name="Content Placeholder 5">
            <a:extLst>
              <a:ext uri="{FF2B5EF4-FFF2-40B4-BE49-F238E27FC236}">
                <a16:creationId xmlns:a16="http://schemas.microsoft.com/office/drawing/2014/main" id="{E61E87D5-C92B-BD0C-BA52-F4CFD871FBD3}"/>
              </a:ext>
            </a:extLst>
          </p:cNvPr>
          <p:cNvSpPr>
            <a:spLocks noGrp="1"/>
          </p:cNvSpPr>
          <p:nvPr>
            <p:ph sz="quarter" idx="12"/>
          </p:nvPr>
        </p:nvSpPr>
        <p:spPr>
          <a:xfrm>
            <a:off x="395399" y="6165850"/>
            <a:ext cx="1614097" cy="71438"/>
          </a:xfrm>
        </p:spPr>
        <p:txBody>
          <a:bodyPr/>
          <a:lstStyle/>
          <a:p>
            <a:endParaRPr lang="en-US"/>
          </a:p>
        </p:txBody>
      </p:sp>
    </p:spTree>
    <p:extLst>
      <p:ext uri="{BB962C8B-B14F-4D97-AF65-F5344CB8AC3E}">
        <p14:creationId xmlns:p14="http://schemas.microsoft.com/office/powerpoint/2010/main" val="12807283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EAB25D-9770-5568-CCD0-346CB6D2F6BD}"/>
              </a:ext>
            </a:extLst>
          </p:cNvPr>
          <p:cNvSpPr>
            <a:spLocks noGrp="1"/>
          </p:cNvSpPr>
          <p:nvPr>
            <p:ph type="body" sz="quarter" idx="21"/>
          </p:nvPr>
        </p:nvSpPr>
        <p:spPr/>
        <p:txBody>
          <a:bodyPr/>
          <a:lstStyle/>
          <a:p>
            <a:r>
              <a:rPr lang="en-CA"/>
              <a:t>Why Shopify May Want To Acquire </a:t>
            </a:r>
            <a:r>
              <a:rPr lang="en-CA" err="1"/>
              <a:t>AppLovin</a:t>
            </a:r>
            <a:endParaRPr lang="en-CA"/>
          </a:p>
        </p:txBody>
      </p:sp>
      <p:sp>
        <p:nvSpPr>
          <p:cNvPr id="4" name="Title 3">
            <a:extLst>
              <a:ext uri="{FF2B5EF4-FFF2-40B4-BE49-F238E27FC236}">
                <a16:creationId xmlns:a16="http://schemas.microsoft.com/office/drawing/2014/main" id="{7FF5CFB3-AA40-DE1D-4FFF-A7376F32E2D9}"/>
              </a:ext>
            </a:extLst>
          </p:cNvPr>
          <p:cNvSpPr>
            <a:spLocks noGrp="1"/>
          </p:cNvSpPr>
          <p:nvPr>
            <p:ph type="title"/>
          </p:nvPr>
        </p:nvSpPr>
        <p:spPr/>
        <p:txBody>
          <a:bodyPr/>
          <a:lstStyle/>
          <a:p>
            <a:r>
              <a:rPr lang="en-US"/>
              <a:t>Acquisition Rationale and Synergies</a:t>
            </a:r>
            <a:endParaRPr lang="en-CA"/>
          </a:p>
        </p:txBody>
      </p:sp>
      <p:sp>
        <p:nvSpPr>
          <p:cNvPr id="5" name="Text Placeholder 4">
            <a:extLst>
              <a:ext uri="{FF2B5EF4-FFF2-40B4-BE49-F238E27FC236}">
                <a16:creationId xmlns:a16="http://schemas.microsoft.com/office/drawing/2014/main" id="{F681E6FF-58C5-73A9-413E-DD1A22E2408C}"/>
              </a:ext>
            </a:extLst>
          </p:cNvPr>
          <p:cNvSpPr>
            <a:spLocks noGrp="1"/>
          </p:cNvSpPr>
          <p:nvPr>
            <p:ph type="body" sz="quarter" idx="13"/>
          </p:nvPr>
        </p:nvSpPr>
        <p:spPr/>
        <p:txBody>
          <a:bodyPr/>
          <a:lstStyle/>
          <a:p>
            <a:endParaRPr lang="en-CA"/>
          </a:p>
        </p:txBody>
      </p:sp>
      <p:sp>
        <p:nvSpPr>
          <p:cNvPr id="6" name="Rectangle 5">
            <a:extLst>
              <a:ext uri="{FF2B5EF4-FFF2-40B4-BE49-F238E27FC236}">
                <a16:creationId xmlns:a16="http://schemas.microsoft.com/office/drawing/2014/main" id="{F414B54D-F947-BA8E-605B-7AD5F393A4AE}"/>
              </a:ext>
            </a:extLst>
          </p:cNvPr>
          <p:cNvSpPr/>
          <p:nvPr/>
        </p:nvSpPr>
        <p:spPr>
          <a:xfrm>
            <a:off x="250826" y="947422"/>
            <a:ext cx="8642350" cy="4222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b="1"/>
              <a:t>Acquisition Rationale </a:t>
            </a:r>
          </a:p>
        </p:txBody>
      </p:sp>
      <p:sp>
        <p:nvSpPr>
          <p:cNvPr id="7" name="Rectangle 6">
            <a:extLst>
              <a:ext uri="{FF2B5EF4-FFF2-40B4-BE49-F238E27FC236}">
                <a16:creationId xmlns:a16="http://schemas.microsoft.com/office/drawing/2014/main" id="{D00CAA80-CB04-81AB-3CAD-9FAF44F08745}"/>
              </a:ext>
            </a:extLst>
          </p:cNvPr>
          <p:cNvSpPr/>
          <p:nvPr/>
        </p:nvSpPr>
        <p:spPr>
          <a:xfrm>
            <a:off x="250824" y="3770267"/>
            <a:ext cx="8642351" cy="4222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b="1"/>
              <a:t>Synergies</a:t>
            </a:r>
          </a:p>
        </p:txBody>
      </p:sp>
      <p:sp>
        <p:nvSpPr>
          <p:cNvPr id="9" name="Rectangle 8">
            <a:extLst>
              <a:ext uri="{FF2B5EF4-FFF2-40B4-BE49-F238E27FC236}">
                <a16:creationId xmlns:a16="http://schemas.microsoft.com/office/drawing/2014/main" id="{05FFDCBB-D9FC-349B-9BE6-C3C3F48F8E06}"/>
              </a:ext>
            </a:extLst>
          </p:cNvPr>
          <p:cNvSpPr/>
          <p:nvPr/>
        </p:nvSpPr>
        <p:spPr>
          <a:xfrm>
            <a:off x="250825" y="1422830"/>
            <a:ext cx="8642350" cy="2271517"/>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35" name="Rectangle 34">
            <a:extLst>
              <a:ext uri="{FF2B5EF4-FFF2-40B4-BE49-F238E27FC236}">
                <a16:creationId xmlns:a16="http://schemas.microsoft.com/office/drawing/2014/main" id="{65B8F884-A2C4-C2E4-C37A-E966B971F62D}"/>
              </a:ext>
            </a:extLst>
          </p:cNvPr>
          <p:cNvSpPr/>
          <p:nvPr/>
        </p:nvSpPr>
        <p:spPr>
          <a:xfrm>
            <a:off x="250823" y="4725563"/>
            <a:ext cx="2753556" cy="1504366"/>
          </a:xfrm>
          <a:prstGeom prst="rect">
            <a:avLst/>
          </a:prstGeom>
          <a:solidFill>
            <a:srgbClr val="D8FB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tx1"/>
                </a:solidFill>
              </a:rPr>
              <a:t>Axon AI will directly increase the reach of merchants’ ad spend</a:t>
            </a:r>
          </a:p>
          <a:p>
            <a:pPr algn="ctr"/>
            <a:endParaRPr lang="en-CA" sz="1200">
              <a:solidFill>
                <a:schemeClr val="tx1"/>
              </a:solidFill>
            </a:endParaRPr>
          </a:p>
        </p:txBody>
      </p:sp>
      <p:sp>
        <p:nvSpPr>
          <p:cNvPr id="36" name="Rectangle 35">
            <a:extLst>
              <a:ext uri="{FF2B5EF4-FFF2-40B4-BE49-F238E27FC236}">
                <a16:creationId xmlns:a16="http://schemas.microsoft.com/office/drawing/2014/main" id="{0AA035A6-11D7-1E2C-A047-C4731A8195D1}"/>
              </a:ext>
            </a:extLst>
          </p:cNvPr>
          <p:cNvSpPr/>
          <p:nvPr/>
        </p:nvSpPr>
        <p:spPr>
          <a:xfrm>
            <a:off x="3079519" y="4725563"/>
            <a:ext cx="2869259" cy="1494208"/>
          </a:xfrm>
          <a:prstGeom prst="rect">
            <a:avLst/>
          </a:prstGeom>
          <a:solidFill>
            <a:srgbClr val="D8FB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tx1"/>
                </a:solidFill>
              </a:rPr>
              <a:t>APP planned to skim its headcount, but with SHOP’s higher margins, layoffs are irrefutable</a:t>
            </a:r>
          </a:p>
          <a:p>
            <a:pPr algn="ctr"/>
            <a:endParaRPr lang="en-CA" sz="1200">
              <a:solidFill>
                <a:schemeClr val="tx1"/>
              </a:solidFill>
            </a:endParaRPr>
          </a:p>
        </p:txBody>
      </p:sp>
      <p:sp>
        <p:nvSpPr>
          <p:cNvPr id="37" name="Rectangle 36">
            <a:extLst>
              <a:ext uri="{FF2B5EF4-FFF2-40B4-BE49-F238E27FC236}">
                <a16:creationId xmlns:a16="http://schemas.microsoft.com/office/drawing/2014/main" id="{31E73160-9553-D9DB-59C6-4DFD1889418D}"/>
              </a:ext>
            </a:extLst>
          </p:cNvPr>
          <p:cNvSpPr/>
          <p:nvPr/>
        </p:nvSpPr>
        <p:spPr>
          <a:xfrm>
            <a:off x="6023918" y="4725562"/>
            <a:ext cx="2869257" cy="1486359"/>
          </a:xfrm>
          <a:prstGeom prst="rect">
            <a:avLst/>
          </a:prstGeom>
          <a:solidFill>
            <a:srgbClr val="D8FA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tx1"/>
                </a:solidFill>
              </a:rPr>
              <a:t>Real-time data from Shopify’s merchants would continuously improve the model </a:t>
            </a:r>
          </a:p>
          <a:p>
            <a:pPr algn="ctr"/>
            <a:endParaRPr lang="en-CA" sz="1200">
              <a:solidFill>
                <a:schemeClr val="tx1"/>
              </a:solidFill>
            </a:endParaRPr>
          </a:p>
        </p:txBody>
      </p:sp>
      <p:sp>
        <p:nvSpPr>
          <p:cNvPr id="39" name="Rectangle 38">
            <a:extLst>
              <a:ext uri="{FF2B5EF4-FFF2-40B4-BE49-F238E27FC236}">
                <a16:creationId xmlns:a16="http://schemas.microsoft.com/office/drawing/2014/main" id="{BD19B092-6FEA-A491-6BBE-6B3D0BCF1A88}"/>
              </a:ext>
            </a:extLst>
          </p:cNvPr>
          <p:cNvSpPr/>
          <p:nvPr/>
        </p:nvSpPr>
        <p:spPr>
          <a:xfrm>
            <a:off x="250823" y="4271337"/>
            <a:ext cx="2753556" cy="3754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1400" b="1">
                <a:solidFill>
                  <a:srgbClr val="D8FAE5"/>
                </a:solidFill>
              </a:rPr>
              <a:t>Revenue</a:t>
            </a:r>
          </a:p>
        </p:txBody>
      </p:sp>
      <p:sp>
        <p:nvSpPr>
          <p:cNvPr id="41" name="Rectangle 40">
            <a:extLst>
              <a:ext uri="{FF2B5EF4-FFF2-40B4-BE49-F238E27FC236}">
                <a16:creationId xmlns:a16="http://schemas.microsoft.com/office/drawing/2014/main" id="{7A1616D4-F606-99E8-A993-0C32A960BFBA}"/>
              </a:ext>
            </a:extLst>
          </p:cNvPr>
          <p:cNvSpPr/>
          <p:nvPr/>
        </p:nvSpPr>
        <p:spPr>
          <a:xfrm>
            <a:off x="3079519" y="4268133"/>
            <a:ext cx="2869258" cy="3754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accent3"/>
                </a:solidFill>
              </a:rPr>
              <a:t>Headcount Reduction</a:t>
            </a:r>
          </a:p>
        </p:txBody>
      </p:sp>
      <p:sp>
        <p:nvSpPr>
          <p:cNvPr id="42" name="Rectangle 41">
            <a:extLst>
              <a:ext uri="{FF2B5EF4-FFF2-40B4-BE49-F238E27FC236}">
                <a16:creationId xmlns:a16="http://schemas.microsoft.com/office/drawing/2014/main" id="{1EBDA04D-4090-DDDD-A0EB-EEA000D080F7}"/>
              </a:ext>
            </a:extLst>
          </p:cNvPr>
          <p:cNvSpPr/>
          <p:nvPr/>
        </p:nvSpPr>
        <p:spPr>
          <a:xfrm>
            <a:off x="6023917" y="4268133"/>
            <a:ext cx="2869258" cy="3754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accent3"/>
                </a:solidFill>
              </a:rPr>
              <a:t>Axon Improvement</a:t>
            </a:r>
          </a:p>
        </p:txBody>
      </p:sp>
      <p:sp>
        <p:nvSpPr>
          <p:cNvPr id="46" name="Oval 45">
            <a:extLst>
              <a:ext uri="{FF2B5EF4-FFF2-40B4-BE49-F238E27FC236}">
                <a16:creationId xmlns:a16="http://schemas.microsoft.com/office/drawing/2014/main" id="{1D39456A-8660-839B-8592-8D80A83E8146}"/>
              </a:ext>
            </a:extLst>
          </p:cNvPr>
          <p:cNvSpPr/>
          <p:nvPr/>
        </p:nvSpPr>
        <p:spPr>
          <a:xfrm>
            <a:off x="3684156" y="1669975"/>
            <a:ext cx="1775683" cy="181644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b="1">
                <a:solidFill>
                  <a:schemeClr val="bg1"/>
                </a:solidFill>
              </a:rPr>
              <a:t>Growing</a:t>
            </a:r>
          </a:p>
          <a:p>
            <a:pPr algn="ctr"/>
            <a:r>
              <a:rPr lang="en-CA" b="1">
                <a:solidFill>
                  <a:schemeClr val="bg1"/>
                </a:solidFill>
              </a:rPr>
              <a:t>TAM</a:t>
            </a:r>
          </a:p>
        </p:txBody>
      </p:sp>
      <p:cxnSp>
        <p:nvCxnSpPr>
          <p:cNvPr id="48" name="Connector: Elbow 47">
            <a:extLst>
              <a:ext uri="{FF2B5EF4-FFF2-40B4-BE49-F238E27FC236}">
                <a16:creationId xmlns:a16="http://schemas.microsoft.com/office/drawing/2014/main" id="{0F99C6A0-F12F-9198-11A7-247B363DFEC6}"/>
              </a:ext>
            </a:extLst>
          </p:cNvPr>
          <p:cNvCxnSpPr>
            <a:cxnSpLocks/>
          </p:cNvCxnSpPr>
          <p:nvPr/>
        </p:nvCxnSpPr>
        <p:spPr>
          <a:xfrm rot="10800000">
            <a:off x="1224560" y="1965686"/>
            <a:ext cx="2355614" cy="612510"/>
          </a:xfrm>
          <a:prstGeom prst="bentConnector3">
            <a:avLst/>
          </a:prstGeom>
          <a:ln w="12700">
            <a:tailEnd type="triangle"/>
          </a:ln>
        </p:spPr>
        <p:style>
          <a:lnRef idx="1">
            <a:schemeClr val="accent2"/>
          </a:lnRef>
          <a:fillRef idx="0">
            <a:schemeClr val="accent2"/>
          </a:fillRef>
          <a:effectRef idx="0">
            <a:schemeClr val="accent2"/>
          </a:effectRef>
          <a:fontRef idx="minor">
            <a:schemeClr val="tx1"/>
          </a:fontRef>
        </p:style>
      </p:cxnSp>
      <p:cxnSp>
        <p:nvCxnSpPr>
          <p:cNvPr id="49" name="Connector: Elbow 48">
            <a:extLst>
              <a:ext uri="{FF2B5EF4-FFF2-40B4-BE49-F238E27FC236}">
                <a16:creationId xmlns:a16="http://schemas.microsoft.com/office/drawing/2014/main" id="{6108E124-8706-9CEB-2EEE-0DB76CA792E7}"/>
              </a:ext>
            </a:extLst>
          </p:cNvPr>
          <p:cNvCxnSpPr>
            <a:cxnSpLocks/>
          </p:cNvCxnSpPr>
          <p:nvPr/>
        </p:nvCxnSpPr>
        <p:spPr>
          <a:xfrm rot="10800000" flipV="1">
            <a:off x="1224562" y="2600254"/>
            <a:ext cx="2355613" cy="530035"/>
          </a:xfrm>
          <a:prstGeom prst="bentConnector3">
            <a:avLst/>
          </a:prstGeom>
          <a:ln w="12700">
            <a:tailEnd type="triangle"/>
          </a:ln>
        </p:spPr>
        <p:style>
          <a:lnRef idx="1">
            <a:schemeClr val="accent2"/>
          </a:lnRef>
          <a:fillRef idx="0">
            <a:schemeClr val="accent2"/>
          </a:fillRef>
          <a:effectRef idx="0">
            <a:schemeClr val="accent2"/>
          </a:effectRef>
          <a:fontRef idx="minor">
            <a:schemeClr val="tx1"/>
          </a:fontRef>
        </p:style>
      </p:cxnSp>
      <p:sp>
        <p:nvSpPr>
          <p:cNvPr id="55" name="Oval 54">
            <a:extLst>
              <a:ext uri="{FF2B5EF4-FFF2-40B4-BE49-F238E27FC236}">
                <a16:creationId xmlns:a16="http://schemas.microsoft.com/office/drawing/2014/main" id="{D43BB493-3D21-0461-69BB-DE102C3C6804}"/>
              </a:ext>
            </a:extLst>
          </p:cNvPr>
          <p:cNvSpPr/>
          <p:nvPr/>
        </p:nvSpPr>
        <p:spPr>
          <a:xfrm>
            <a:off x="308212" y="2699514"/>
            <a:ext cx="851663" cy="84797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800" b="1">
                <a:solidFill>
                  <a:schemeClr val="bg1"/>
                </a:solidFill>
              </a:rPr>
              <a:t>4.23% Mobile Games CAGR</a:t>
            </a:r>
          </a:p>
        </p:txBody>
      </p:sp>
      <p:sp>
        <p:nvSpPr>
          <p:cNvPr id="56" name="Oval 55">
            <a:extLst>
              <a:ext uri="{FF2B5EF4-FFF2-40B4-BE49-F238E27FC236}">
                <a16:creationId xmlns:a16="http://schemas.microsoft.com/office/drawing/2014/main" id="{1D857426-AD1A-6827-26F3-A6632A477C5A}"/>
              </a:ext>
            </a:extLst>
          </p:cNvPr>
          <p:cNvSpPr/>
          <p:nvPr/>
        </p:nvSpPr>
        <p:spPr>
          <a:xfrm>
            <a:off x="308211" y="1547367"/>
            <a:ext cx="851663" cy="84797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800" b="1">
                <a:solidFill>
                  <a:schemeClr val="bg1"/>
                </a:solidFill>
              </a:rPr>
              <a:t>1.4B</a:t>
            </a:r>
          </a:p>
          <a:p>
            <a:pPr lvl="0" algn="ctr"/>
            <a:r>
              <a:rPr lang="en-US" sz="800" b="1">
                <a:solidFill>
                  <a:schemeClr val="bg1"/>
                </a:solidFill>
              </a:rPr>
              <a:t>DAU’s</a:t>
            </a:r>
          </a:p>
        </p:txBody>
      </p:sp>
      <p:cxnSp>
        <p:nvCxnSpPr>
          <p:cNvPr id="59" name="Straight Arrow Connector 58">
            <a:extLst>
              <a:ext uri="{FF2B5EF4-FFF2-40B4-BE49-F238E27FC236}">
                <a16:creationId xmlns:a16="http://schemas.microsoft.com/office/drawing/2014/main" id="{4A12486D-5EAC-0105-21DE-3307ECE6356E}"/>
              </a:ext>
            </a:extLst>
          </p:cNvPr>
          <p:cNvCxnSpPr>
            <a:cxnSpLocks/>
          </p:cNvCxnSpPr>
          <p:nvPr/>
        </p:nvCxnSpPr>
        <p:spPr>
          <a:xfrm>
            <a:off x="5636823" y="2589016"/>
            <a:ext cx="479323" cy="0"/>
          </a:xfrm>
          <a:prstGeom prst="straightConnector1">
            <a:avLst/>
          </a:prstGeom>
          <a:ln w="12700">
            <a:tailEnd type="triangle"/>
          </a:ln>
        </p:spPr>
        <p:style>
          <a:lnRef idx="1">
            <a:schemeClr val="accent2"/>
          </a:lnRef>
          <a:fillRef idx="0">
            <a:schemeClr val="accent2"/>
          </a:fillRef>
          <a:effectRef idx="0">
            <a:schemeClr val="accent2"/>
          </a:effectRef>
          <a:fontRef idx="minor">
            <a:schemeClr val="tx1"/>
          </a:fontRef>
        </p:style>
      </p:cxnSp>
      <p:sp>
        <p:nvSpPr>
          <p:cNvPr id="68" name="Oval 67">
            <a:extLst>
              <a:ext uri="{FF2B5EF4-FFF2-40B4-BE49-F238E27FC236}">
                <a16:creationId xmlns:a16="http://schemas.microsoft.com/office/drawing/2014/main" id="{147AF058-B3F5-D501-3EB4-ABDB0B82C98D}"/>
              </a:ext>
            </a:extLst>
          </p:cNvPr>
          <p:cNvSpPr/>
          <p:nvPr/>
        </p:nvSpPr>
        <p:spPr>
          <a:xfrm>
            <a:off x="6286879" y="1428750"/>
            <a:ext cx="1106274" cy="107667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b="1">
                <a:solidFill>
                  <a:schemeClr val="accent3"/>
                </a:solidFill>
              </a:rPr>
              <a:t>Massive user base, increasing SHOP’s ad market</a:t>
            </a:r>
          </a:p>
        </p:txBody>
      </p:sp>
      <p:sp>
        <p:nvSpPr>
          <p:cNvPr id="69" name="Oval 68">
            <a:extLst>
              <a:ext uri="{FF2B5EF4-FFF2-40B4-BE49-F238E27FC236}">
                <a16:creationId xmlns:a16="http://schemas.microsoft.com/office/drawing/2014/main" id="{D6A157A9-2F52-8F4D-7290-F558D2536530}"/>
              </a:ext>
            </a:extLst>
          </p:cNvPr>
          <p:cNvSpPr/>
          <p:nvPr/>
        </p:nvSpPr>
        <p:spPr>
          <a:xfrm>
            <a:off x="7354803" y="2003578"/>
            <a:ext cx="1082843" cy="105443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b="1">
                <a:solidFill>
                  <a:schemeClr val="accent3"/>
                </a:solidFill>
              </a:rPr>
              <a:t>Boost customer acquisition and monetization</a:t>
            </a:r>
          </a:p>
          <a:p>
            <a:pPr algn="ctr"/>
            <a:endParaRPr lang="en-US" sz="700" b="1">
              <a:solidFill>
                <a:schemeClr val="accent3"/>
              </a:solidFill>
            </a:endParaRPr>
          </a:p>
        </p:txBody>
      </p:sp>
      <p:sp>
        <p:nvSpPr>
          <p:cNvPr id="70" name="Oval 69">
            <a:extLst>
              <a:ext uri="{FF2B5EF4-FFF2-40B4-BE49-F238E27FC236}">
                <a16:creationId xmlns:a16="http://schemas.microsoft.com/office/drawing/2014/main" id="{2975B488-FCEF-8D9B-8828-36B846266404}"/>
              </a:ext>
            </a:extLst>
          </p:cNvPr>
          <p:cNvSpPr/>
          <p:nvPr/>
        </p:nvSpPr>
        <p:spPr>
          <a:xfrm>
            <a:off x="6293130" y="2541465"/>
            <a:ext cx="1129707" cy="110214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b="1">
                <a:solidFill>
                  <a:schemeClr val="accent3"/>
                </a:solidFill>
              </a:rPr>
              <a:t>Diversification of SHOP’s LT growth</a:t>
            </a:r>
          </a:p>
        </p:txBody>
      </p:sp>
    </p:spTree>
    <p:extLst>
      <p:ext uri="{BB962C8B-B14F-4D97-AF65-F5344CB8AC3E}">
        <p14:creationId xmlns:p14="http://schemas.microsoft.com/office/powerpoint/2010/main" val="30209802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3C31FC-4371-FC7D-F8FA-7E5A35254940}"/>
              </a:ext>
            </a:extLst>
          </p:cNvPr>
          <p:cNvSpPr>
            <a:spLocks noGrp="1"/>
          </p:cNvSpPr>
          <p:nvPr>
            <p:ph type="body" sz="quarter" idx="13"/>
          </p:nvPr>
        </p:nvSpPr>
        <p:spPr/>
        <p:txBody>
          <a:bodyPr/>
          <a:lstStyle/>
          <a:p>
            <a:r>
              <a:rPr lang="en-US"/>
              <a:t>Source: Wedbush 02/’25 ER on APP, SEC 10Ks/10Qs</a:t>
            </a:r>
          </a:p>
        </p:txBody>
      </p:sp>
      <p:sp>
        <p:nvSpPr>
          <p:cNvPr id="3" name="Text Placeholder 2">
            <a:extLst>
              <a:ext uri="{FF2B5EF4-FFF2-40B4-BE49-F238E27FC236}">
                <a16:creationId xmlns:a16="http://schemas.microsoft.com/office/drawing/2014/main" id="{12EE2067-7A26-58F9-7108-69AE9D6DBC21}"/>
              </a:ext>
            </a:extLst>
          </p:cNvPr>
          <p:cNvSpPr>
            <a:spLocks noGrp="1"/>
          </p:cNvSpPr>
          <p:nvPr>
            <p:ph type="body" sz="quarter" idx="21"/>
          </p:nvPr>
        </p:nvSpPr>
        <p:spPr/>
        <p:txBody>
          <a:bodyPr/>
          <a:lstStyle/>
          <a:p>
            <a:r>
              <a:rPr lang="en-US"/>
              <a:t>Axon AI Engine Will Expand Merchants’ TAM</a:t>
            </a:r>
          </a:p>
        </p:txBody>
      </p:sp>
      <p:sp>
        <p:nvSpPr>
          <p:cNvPr id="4" name="Title 3">
            <a:extLst>
              <a:ext uri="{FF2B5EF4-FFF2-40B4-BE49-F238E27FC236}">
                <a16:creationId xmlns:a16="http://schemas.microsoft.com/office/drawing/2014/main" id="{977CAD91-B626-27A5-68B6-F5C8F19F01F8}"/>
              </a:ext>
            </a:extLst>
          </p:cNvPr>
          <p:cNvSpPr>
            <a:spLocks noGrp="1"/>
          </p:cNvSpPr>
          <p:nvPr>
            <p:ph type="title"/>
          </p:nvPr>
        </p:nvSpPr>
        <p:spPr/>
        <p:txBody>
          <a:bodyPr/>
          <a:lstStyle/>
          <a:p>
            <a:r>
              <a:rPr lang="en-US"/>
              <a:t>Revenue Synergies</a:t>
            </a:r>
          </a:p>
        </p:txBody>
      </p:sp>
      <p:sp>
        <p:nvSpPr>
          <p:cNvPr id="6" name="Text Placeholder 5">
            <a:extLst>
              <a:ext uri="{FF2B5EF4-FFF2-40B4-BE49-F238E27FC236}">
                <a16:creationId xmlns:a16="http://schemas.microsoft.com/office/drawing/2014/main" id="{7C93E1F0-4D15-7420-1D16-B04C8648E051}"/>
              </a:ext>
            </a:extLst>
          </p:cNvPr>
          <p:cNvSpPr>
            <a:spLocks noGrp="1"/>
          </p:cNvSpPr>
          <p:nvPr>
            <p:ph type="body" idx="26"/>
          </p:nvPr>
        </p:nvSpPr>
        <p:spPr/>
        <p:txBody>
          <a:bodyPr/>
          <a:lstStyle/>
          <a:p>
            <a:r>
              <a:rPr lang="en-US"/>
              <a:t>Axon’s Powerful ROI on Ad Spend</a:t>
            </a:r>
          </a:p>
        </p:txBody>
      </p:sp>
      <p:sp>
        <p:nvSpPr>
          <p:cNvPr id="7" name="Text Placeholder 6">
            <a:extLst>
              <a:ext uri="{FF2B5EF4-FFF2-40B4-BE49-F238E27FC236}">
                <a16:creationId xmlns:a16="http://schemas.microsoft.com/office/drawing/2014/main" id="{CD1B8F4D-6B49-B2EF-6DDF-609B87BE6C33}"/>
              </a:ext>
            </a:extLst>
          </p:cNvPr>
          <p:cNvSpPr>
            <a:spLocks noGrp="1"/>
          </p:cNvSpPr>
          <p:nvPr>
            <p:ph type="body" idx="27"/>
          </p:nvPr>
        </p:nvSpPr>
        <p:spPr/>
        <p:txBody>
          <a:bodyPr/>
          <a:lstStyle/>
          <a:p>
            <a:r>
              <a:rPr lang="en-US"/>
              <a:t>Synergistic Merchant Sales </a:t>
            </a:r>
            <a:r>
              <a:rPr lang="en-US" b="0" i="1"/>
              <a:t>(USD bn)</a:t>
            </a:r>
          </a:p>
        </p:txBody>
      </p:sp>
      <p:graphicFrame>
        <p:nvGraphicFramePr>
          <p:cNvPr id="13" name="Content Placeholder 12">
            <a:extLst>
              <a:ext uri="{FF2B5EF4-FFF2-40B4-BE49-F238E27FC236}">
                <a16:creationId xmlns:a16="http://schemas.microsoft.com/office/drawing/2014/main" id="{50D4ED66-01E7-9601-030D-3FBC166F6479}"/>
              </a:ext>
            </a:extLst>
          </p:cNvPr>
          <p:cNvGraphicFramePr>
            <a:graphicFrameLocks noGrp="1"/>
          </p:cNvGraphicFramePr>
          <p:nvPr>
            <p:ph sz="quarter" idx="23"/>
            <p:extLst>
              <p:ext uri="{D42A27DB-BD31-4B8C-83A1-F6EECF244321}">
                <p14:modId xmlns:p14="http://schemas.microsoft.com/office/powerpoint/2010/main" val="480464355"/>
              </p:ext>
            </p:extLst>
          </p:nvPr>
        </p:nvGraphicFramePr>
        <p:xfrm>
          <a:off x="250825" y="1384300"/>
          <a:ext cx="8642350" cy="21780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Content Placeholder 15">
            <a:extLst>
              <a:ext uri="{FF2B5EF4-FFF2-40B4-BE49-F238E27FC236}">
                <a16:creationId xmlns:a16="http://schemas.microsoft.com/office/drawing/2014/main" id="{EEA5DA10-21F4-CD7C-D81B-0F651397744A}"/>
              </a:ext>
            </a:extLst>
          </p:cNvPr>
          <p:cNvGraphicFramePr>
            <a:graphicFrameLocks noGrp="1"/>
          </p:cNvGraphicFramePr>
          <p:nvPr>
            <p:ph sz="quarter" idx="29"/>
            <p:extLst>
              <p:ext uri="{D42A27DB-BD31-4B8C-83A1-F6EECF244321}">
                <p14:modId xmlns:p14="http://schemas.microsoft.com/office/powerpoint/2010/main" val="2249044934"/>
              </p:ext>
            </p:extLst>
          </p:nvPr>
        </p:nvGraphicFramePr>
        <p:xfrm>
          <a:off x="250825" y="4014788"/>
          <a:ext cx="8642350" cy="2178050"/>
        </p:xfrm>
        <a:graphic>
          <a:graphicData uri="http://schemas.openxmlformats.org/drawingml/2006/chart">
            <c:chart xmlns:c="http://schemas.openxmlformats.org/drawingml/2006/chart" xmlns:r="http://schemas.openxmlformats.org/officeDocument/2006/relationships" r:id="rId3"/>
          </a:graphicData>
        </a:graphic>
      </p:graphicFrame>
      <p:cxnSp>
        <p:nvCxnSpPr>
          <p:cNvPr id="18" name="Straight Arrow Connector 17">
            <a:extLst>
              <a:ext uri="{FF2B5EF4-FFF2-40B4-BE49-F238E27FC236}">
                <a16:creationId xmlns:a16="http://schemas.microsoft.com/office/drawing/2014/main" id="{4A1F15B3-351B-A7E3-0EDD-7F11D381C45C}"/>
              </a:ext>
            </a:extLst>
          </p:cNvPr>
          <p:cNvCxnSpPr/>
          <p:nvPr/>
        </p:nvCxnSpPr>
        <p:spPr>
          <a:xfrm flipV="1">
            <a:off x="1287379" y="4102768"/>
            <a:ext cx="7074568" cy="974558"/>
          </a:xfrm>
          <a:prstGeom prst="straightConnector1">
            <a:avLst/>
          </a:prstGeom>
          <a:ln w="19050">
            <a:solidFill>
              <a:srgbClr val="008864"/>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AC97E72-32BA-8FDF-6E01-16C1650F1C9C}"/>
              </a:ext>
            </a:extLst>
          </p:cNvPr>
          <p:cNvSpPr txBox="1"/>
          <p:nvPr/>
        </p:nvSpPr>
        <p:spPr>
          <a:xfrm rot="21105820">
            <a:off x="3833036" y="4354398"/>
            <a:ext cx="1191352" cy="276999"/>
          </a:xfrm>
          <a:prstGeom prst="rect">
            <a:avLst/>
          </a:prstGeom>
          <a:noFill/>
        </p:spPr>
        <p:txBody>
          <a:bodyPr wrap="none" rtlCol="0">
            <a:spAutoFit/>
          </a:bodyPr>
          <a:lstStyle/>
          <a:p>
            <a:r>
              <a:rPr lang="en-US" sz="1200"/>
              <a:t>15.15% CAGR</a:t>
            </a:r>
          </a:p>
        </p:txBody>
      </p:sp>
    </p:spTree>
    <p:extLst>
      <p:ext uri="{BB962C8B-B14F-4D97-AF65-F5344CB8AC3E}">
        <p14:creationId xmlns:p14="http://schemas.microsoft.com/office/powerpoint/2010/main" val="32146869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43EFD3A-1EA1-45F0-6388-EE55D8945232}"/>
              </a:ext>
            </a:extLst>
          </p:cNvPr>
          <p:cNvSpPr>
            <a:spLocks noGrp="1"/>
          </p:cNvSpPr>
          <p:nvPr>
            <p:ph type="body" sz="quarter" idx="13"/>
          </p:nvPr>
        </p:nvSpPr>
        <p:spPr/>
        <p:txBody>
          <a:bodyPr/>
          <a:lstStyle/>
          <a:p>
            <a:endParaRPr lang="en-US"/>
          </a:p>
        </p:txBody>
      </p:sp>
      <p:sp>
        <p:nvSpPr>
          <p:cNvPr id="3" name="Text Placeholder 2">
            <a:extLst>
              <a:ext uri="{FF2B5EF4-FFF2-40B4-BE49-F238E27FC236}">
                <a16:creationId xmlns:a16="http://schemas.microsoft.com/office/drawing/2014/main" id="{0F25ECEB-1DFA-13B2-08D3-66A6D1EA1309}"/>
              </a:ext>
            </a:extLst>
          </p:cNvPr>
          <p:cNvSpPr>
            <a:spLocks noGrp="1"/>
          </p:cNvSpPr>
          <p:nvPr>
            <p:ph type="body" sz="quarter" idx="21"/>
          </p:nvPr>
        </p:nvSpPr>
        <p:spPr/>
        <p:txBody>
          <a:bodyPr/>
          <a:lstStyle/>
          <a:p>
            <a:r>
              <a:rPr lang="en-US" err="1"/>
              <a:t>OpEx</a:t>
            </a:r>
            <a:r>
              <a:rPr lang="en-US"/>
              <a:t> Consolidation and Gradual Reductions</a:t>
            </a:r>
          </a:p>
        </p:txBody>
      </p:sp>
      <p:sp>
        <p:nvSpPr>
          <p:cNvPr id="4" name="Title 3">
            <a:extLst>
              <a:ext uri="{FF2B5EF4-FFF2-40B4-BE49-F238E27FC236}">
                <a16:creationId xmlns:a16="http://schemas.microsoft.com/office/drawing/2014/main" id="{CAE0AFD2-9A5E-D174-444C-171F53FBDFA0}"/>
              </a:ext>
            </a:extLst>
          </p:cNvPr>
          <p:cNvSpPr>
            <a:spLocks noGrp="1"/>
          </p:cNvSpPr>
          <p:nvPr>
            <p:ph type="title"/>
          </p:nvPr>
        </p:nvSpPr>
        <p:spPr/>
        <p:txBody>
          <a:bodyPr/>
          <a:lstStyle/>
          <a:p>
            <a:r>
              <a:rPr lang="en-US"/>
              <a:t>Cost Synergies</a:t>
            </a:r>
          </a:p>
        </p:txBody>
      </p:sp>
      <p:sp>
        <p:nvSpPr>
          <p:cNvPr id="6" name="Text Placeholder 5">
            <a:extLst>
              <a:ext uri="{FF2B5EF4-FFF2-40B4-BE49-F238E27FC236}">
                <a16:creationId xmlns:a16="http://schemas.microsoft.com/office/drawing/2014/main" id="{14706D1D-B262-9522-A3ED-1FC2712BCBCA}"/>
              </a:ext>
            </a:extLst>
          </p:cNvPr>
          <p:cNvSpPr>
            <a:spLocks noGrp="1"/>
          </p:cNvSpPr>
          <p:nvPr>
            <p:ph type="body" idx="26"/>
          </p:nvPr>
        </p:nvSpPr>
        <p:spPr/>
        <p:txBody>
          <a:bodyPr/>
          <a:lstStyle/>
          <a:p>
            <a:r>
              <a:rPr lang="en-US"/>
              <a:t>(10%) APP Headcount, Per Year for Next 10 Years</a:t>
            </a:r>
          </a:p>
        </p:txBody>
      </p:sp>
      <p:sp>
        <p:nvSpPr>
          <p:cNvPr id="7" name="Text Placeholder 6">
            <a:extLst>
              <a:ext uri="{FF2B5EF4-FFF2-40B4-BE49-F238E27FC236}">
                <a16:creationId xmlns:a16="http://schemas.microsoft.com/office/drawing/2014/main" id="{7964A91A-402C-3360-FF0D-047E8EC1046E}"/>
              </a:ext>
            </a:extLst>
          </p:cNvPr>
          <p:cNvSpPr>
            <a:spLocks noGrp="1"/>
          </p:cNvSpPr>
          <p:nvPr>
            <p:ph type="body" idx="27"/>
          </p:nvPr>
        </p:nvSpPr>
        <p:spPr/>
        <p:txBody>
          <a:bodyPr/>
          <a:lstStyle/>
          <a:p>
            <a:r>
              <a:rPr lang="en-US"/>
              <a:t>(10%) of APP’s R&amp;D, Per Year for Next 10 Years </a:t>
            </a:r>
            <a:r>
              <a:rPr lang="en-CA" sz="1200" b="0" i="1">
                <a:solidFill>
                  <a:schemeClr val="tx1"/>
                </a:solidFill>
              </a:rPr>
              <a:t>(in USD mm)</a:t>
            </a:r>
            <a:endParaRPr lang="en-US" b="0"/>
          </a:p>
        </p:txBody>
      </p:sp>
      <p:graphicFrame>
        <p:nvGraphicFramePr>
          <p:cNvPr id="9" name="Content Placeholder 8">
            <a:extLst>
              <a:ext uri="{FF2B5EF4-FFF2-40B4-BE49-F238E27FC236}">
                <a16:creationId xmlns:a16="http://schemas.microsoft.com/office/drawing/2014/main" id="{3F1250A4-A9CF-4B94-762F-8DA34893A2CF}"/>
              </a:ext>
            </a:extLst>
          </p:cNvPr>
          <p:cNvGraphicFramePr>
            <a:graphicFrameLocks noGrp="1"/>
          </p:cNvGraphicFramePr>
          <p:nvPr>
            <p:ph sz="quarter" idx="23"/>
            <p:extLst>
              <p:ext uri="{D42A27DB-BD31-4B8C-83A1-F6EECF244321}">
                <p14:modId xmlns:p14="http://schemas.microsoft.com/office/powerpoint/2010/main" val="4028367856"/>
              </p:ext>
            </p:extLst>
          </p:nvPr>
        </p:nvGraphicFramePr>
        <p:xfrm>
          <a:off x="250825" y="1384300"/>
          <a:ext cx="8642350" cy="21780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ontent Placeholder 9">
            <a:extLst>
              <a:ext uri="{FF2B5EF4-FFF2-40B4-BE49-F238E27FC236}">
                <a16:creationId xmlns:a16="http://schemas.microsoft.com/office/drawing/2014/main" id="{CFD77A0A-6787-1953-83E7-144ED7F65541}"/>
              </a:ext>
            </a:extLst>
          </p:cNvPr>
          <p:cNvGraphicFramePr>
            <a:graphicFrameLocks noGrp="1"/>
          </p:cNvGraphicFramePr>
          <p:nvPr>
            <p:ph sz="quarter" idx="29"/>
            <p:extLst>
              <p:ext uri="{D42A27DB-BD31-4B8C-83A1-F6EECF244321}">
                <p14:modId xmlns:p14="http://schemas.microsoft.com/office/powerpoint/2010/main" val="1876429534"/>
              </p:ext>
            </p:extLst>
          </p:nvPr>
        </p:nvGraphicFramePr>
        <p:xfrm>
          <a:off x="250825" y="4014788"/>
          <a:ext cx="8642350" cy="21780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515296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4E372A0-0237-FA9F-3EBA-CF64FAE97C4F}"/>
              </a:ext>
            </a:extLst>
          </p:cNvPr>
          <p:cNvSpPr>
            <a:spLocks noGrp="1"/>
          </p:cNvSpPr>
          <p:nvPr>
            <p:ph type="body" sz="quarter" idx="21"/>
          </p:nvPr>
        </p:nvSpPr>
        <p:spPr/>
        <p:txBody>
          <a:bodyPr/>
          <a:lstStyle/>
          <a:p>
            <a:r>
              <a:rPr lang="en-US"/>
              <a:t>Impactful Bottom-Line Results From The M&amp;A</a:t>
            </a:r>
          </a:p>
        </p:txBody>
      </p:sp>
      <p:sp>
        <p:nvSpPr>
          <p:cNvPr id="4" name="Title 3">
            <a:extLst>
              <a:ext uri="{FF2B5EF4-FFF2-40B4-BE49-F238E27FC236}">
                <a16:creationId xmlns:a16="http://schemas.microsoft.com/office/drawing/2014/main" id="{5108E0E9-DC02-0C11-7C6A-1FB3A595536C}"/>
              </a:ext>
            </a:extLst>
          </p:cNvPr>
          <p:cNvSpPr>
            <a:spLocks noGrp="1"/>
          </p:cNvSpPr>
          <p:nvPr>
            <p:ph type="title"/>
          </p:nvPr>
        </p:nvSpPr>
        <p:spPr/>
        <p:txBody>
          <a:bodyPr/>
          <a:lstStyle/>
          <a:p>
            <a:r>
              <a:rPr lang="en-US"/>
              <a:t>Synergies Snapshot</a:t>
            </a:r>
          </a:p>
        </p:txBody>
      </p:sp>
      <p:sp>
        <p:nvSpPr>
          <p:cNvPr id="6" name="Text Placeholder 5">
            <a:extLst>
              <a:ext uri="{FF2B5EF4-FFF2-40B4-BE49-F238E27FC236}">
                <a16:creationId xmlns:a16="http://schemas.microsoft.com/office/drawing/2014/main" id="{938BD273-5760-FF45-F027-61A7DF0CDE72}"/>
              </a:ext>
            </a:extLst>
          </p:cNvPr>
          <p:cNvSpPr>
            <a:spLocks noGrp="1"/>
          </p:cNvSpPr>
          <p:nvPr>
            <p:ph type="body" idx="26"/>
          </p:nvPr>
        </p:nvSpPr>
        <p:spPr/>
        <p:txBody>
          <a:bodyPr/>
          <a:lstStyle/>
          <a:p>
            <a:r>
              <a:rPr lang="en-US"/>
              <a:t>Shopify and </a:t>
            </a:r>
            <a:r>
              <a:rPr lang="en-US" err="1"/>
              <a:t>AppLovin’s</a:t>
            </a:r>
            <a:r>
              <a:rPr lang="en-US"/>
              <a:t> Respective EPS Forecasts</a:t>
            </a:r>
          </a:p>
        </p:txBody>
      </p:sp>
      <p:sp>
        <p:nvSpPr>
          <p:cNvPr id="7" name="Text Placeholder 6">
            <a:extLst>
              <a:ext uri="{FF2B5EF4-FFF2-40B4-BE49-F238E27FC236}">
                <a16:creationId xmlns:a16="http://schemas.microsoft.com/office/drawing/2014/main" id="{6DB23456-D880-480E-FF9E-13188D4E0284}"/>
              </a:ext>
            </a:extLst>
          </p:cNvPr>
          <p:cNvSpPr>
            <a:spLocks noGrp="1"/>
          </p:cNvSpPr>
          <p:nvPr>
            <p:ph type="body" idx="27"/>
          </p:nvPr>
        </p:nvSpPr>
        <p:spPr/>
        <p:txBody>
          <a:bodyPr/>
          <a:lstStyle/>
          <a:p>
            <a:r>
              <a:rPr lang="en-US"/>
              <a:t>EPS Accretion Justifies the M&amp;A</a:t>
            </a:r>
          </a:p>
        </p:txBody>
      </p:sp>
      <p:graphicFrame>
        <p:nvGraphicFramePr>
          <p:cNvPr id="12" name="Content Placeholder 11">
            <a:extLst>
              <a:ext uri="{FF2B5EF4-FFF2-40B4-BE49-F238E27FC236}">
                <a16:creationId xmlns:a16="http://schemas.microsoft.com/office/drawing/2014/main" id="{4643EF8F-277F-3ACE-087A-242F66565044}"/>
              </a:ext>
            </a:extLst>
          </p:cNvPr>
          <p:cNvGraphicFramePr>
            <a:graphicFrameLocks noGrp="1"/>
          </p:cNvGraphicFramePr>
          <p:nvPr>
            <p:ph sz="quarter" idx="23"/>
            <p:extLst>
              <p:ext uri="{D42A27DB-BD31-4B8C-83A1-F6EECF244321}">
                <p14:modId xmlns:p14="http://schemas.microsoft.com/office/powerpoint/2010/main" val="1496863746"/>
              </p:ext>
            </p:extLst>
          </p:nvPr>
        </p:nvGraphicFramePr>
        <p:xfrm>
          <a:off x="250825" y="1384300"/>
          <a:ext cx="8642350" cy="21780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ontent Placeholder 8">
            <a:extLst>
              <a:ext uri="{FF2B5EF4-FFF2-40B4-BE49-F238E27FC236}">
                <a16:creationId xmlns:a16="http://schemas.microsoft.com/office/drawing/2014/main" id="{E64F697E-B73E-5A30-07BA-E74755D1FE7C}"/>
              </a:ext>
            </a:extLst>
          </p:cNvPr>
          <p:cNvGraphicFramePr>
            <a:graphicFrameLocks noGrp="1"/>
          </p:cNvGraphicFramePr>
          <p:nvPr>
            <p:ph sz="quarter" idx="29"/>
          </p:nvPr>
        </p:nvGraphicFramePr>
        <p:xfrm>
          <a:off x="250825" y="4014788"/>
          <a:ext cx="8642350" cy="21780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800444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6C752D03-E2C9-111A-9365-431090561172}"/>
              </a:ext>
            </a:extLst>
          </p:cNvPr>
          <p:cNvSpPr>
            <a:spLocks noGrp="1"/>
          </p:cNvSpPr>
          <p:nvPr>
            <p:ph type="body" sz="quarter" idx="21"/>
          </p:nvPr>
        </p:nvSpPr>
        <p:spPr/>
        <p:txBody>
          <a:bodyPr/>
          <a:lstStyle/>
          <a:p>
            <a:r>
              <a:rPr lang="en-US"/>
              <a:t>Visualizing the Synergized Income Flow of </a:t>
            </a:r>
            <a:r>
              <a:rPr lang="en-US" err="1"/>
              <a:t>AppLovin</a:t>
            </a:r>
            <a:r>
              <a:rPr lang="en-US"/>
              <a:t> &amp; Shopify</a:t>
            </a:r>
          </a:p>
        </p:txBody>
      </p:sp>
      <p:sp>
        <p:nvSpPr>
          <p:cNvPr id="9" name="Title 8">
            <a:extLst>
              <a:ext uri="{FF2B5EF4-FFF2-40B4-BE49-F238E27FC236}">
                <a16:creationId xmlns:a16="http://schemas.microsoft.com/office/drawing/2014/main" id="{21B003B6-239A-E3AF-BFB6-534AC6601BD1}"/>
              </a:ext>
            </a:extLst>
          </p:cNvPr>
          <p:cNvSpPr>
            <a:spLocks noGrp="1"/>
          </p:cNvSpPr>
          <p:nvPr>
            <p:ph type="title"/>
          </p:nvPr>
        </p:nvSpPr>
        <p:spPr/>
        <p:txBody>
          <a:bodyPr/>
          <a:lstStyle/>
          <a:p>
            <a:r>
              <a:rPr lang="en-US"/>
              <a:t>Merged Income Flow </a:t>
            </a:r>
            <a:r>
              <a:rPr lang="en-CA" sz="2000" i="1">
                <a:solidFill>
                  <a:schemeClr val="tx1"/>
                </a:solidFill>
              </a:rPr>
              <a:t>(in USD mm)</a:t>
            </a:r>
            <a:endParaRPr lang="en-US"/>
          </a:p>
        </p:txBody>
      </p:sp>
      <p:sp>
        <p:nvSpPr>
          <p:cNvPr id="10" name="Text Placeholder 9">
            <a:extLst>
              <a:ext uri="{FF2B5EF4-FFF2-40B4-BE49-F238E27FC236}">
                <a16:creationId xmlns:a16="http://schemas.microsoft.com/office/drawing/2014/main" id="{A426D26C-5FCF-B8AA-534E-70D0517B0F24}"/>
              </a:ext>
            </a:extLst>
          </p:cNvPr>
          <p:cNvSpPr>
            <a:spLocks noGrp="1"/>
          </p:cNvSpPr>
          <p:nvPr>
            <p:ph type="body" sz="quarter" idx="13"/>
          </p:nvPr>
        </p:nvSpPr>
        <p:spPr/>
        <p:txBody>
          <a:bodyPr/>
          <a:lstStyle/>
          <a:p>
            <a:endParaRPr lang="en-US"/>
          </a:p>
        </p:txBody>
      </p:sp>
      <p:pic>
        <p:nvPicPr>
          <p:cNvPr id="13" name="Table Placeholder 12">
            <a:extLst>
              <a:ext uri="{FF2B5EF4-FFF2-40B4-BE49-F238E27FC236}">
                <a16:creationId xmlns:a16="http://schemas.microsoft.com/office/drawing/2014/main" id="{1EA8868E-F1BF-C8EB-D40A-40508ED8C304}"/>
              </a:ext>
            </a:extLst>
          </p:cNvPr>
          <p:cNvPicPr>
            <a:picLocks noGrp="1" noChangeAspect="1"/>
          </p:cNvPicPr>
          <p:nvPr>
            <p:ph type="tbl" sz="quarter" idx="14"/>
          </p:nvPr>
        </p:nvPicPr>
        <p:blipFill>
          <a:blip r:embed="rId2">
            <a:extLst>
              <a:ext uri="{96DAC541-7B7A-43D3-8B79-37D633B846F1}">
                <asvg:svgBlip xmlns:asvg="http://schemas.microsoft.com/office/drawing/2016/SVG/main" r:embed="rId3"/>
              </a:ext>
            </a:extLst>
          </a:blip>
          <a:stretch>
            <a:fillRect/>
          </a:stretch>
        </p:blipFill>
        <p:spPr>
          <a:xfrm>
            <a:off x="250825" y="1031821"/>
            <a:ext cx="8642350" cy="5241979"/>
          </a:xfrm>
          <a:prstGeom prst="rect">
            <a:avLst/>
          </a:prstGeom>
        </p:spPr>
      </p:pic>
    </p:spTree>
    <p:extLst>
      <p:ext uri="{BB962C8B-B14F-4D97-AF65-F5344CB8AC3E}">
        <p14:creationId xmlns:p14="http://schemas.microsoft.com/office/powerpoint/2010/main" val="35353509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0E334F-DBA6-FC51-0FD6-39FF25ADD8A6}"/>
            </a:ext>
          </a:extLst>
        </p:cNvPr>
        <p:cNvGrpSpPr/>
        <p:nvPr/>
      </p:nvGrpSpPr>
      <p:grpSpPr>
        <a:xfrm>
          <a:off x="0" y="0"/>
          <a:ext cx="0" cy="0"/>
          <a:chOff x="0" y="0"/>
          <a:chExt cx="0" cy="0"/>
        </a:xfrm>
      </p:grpSpPr>
      <p:pic>
        <p:nvPicPr>
          <p:cNvPr id="8" name="Picture Placeholder 7" descr="A small plant next to a bag&#10;&#10;AI-generated content may be incorrect.">
            <a:extLst>
              <a:ext uri="{FF2B5EF4-FFF2-40B4-BE49-F238E27FC236}">
                <a16:creationId xmlns:a16="http://schemas.microsoft.com/office/drawing/2014/main" id="{D732DBA9-4769-2AA4-7751-D43801785E1E}"/>
              </a:ext>
            </a:extLst>
          </p:cNvPr>
          <p:cNvPicPr>
            <a:picLocks noGrp="1" noChangeAspect="1"/>
          </p:cNvPicPr>
          <p:nvPr>
            <p:ph type="pic" sz="quarter" idx="10"/>
          </p:nvPr>
        </p:nvPicPr>
        <p:blipFill>
          <a:blip r:embed="rId2"/>
          <a:srcRect l="12500" r="12500"/>
          <a:stretch/>
        </p:blipFill>
        <p:spPr>
          <a:xfrm>
            <a:off x="0" y="0"/>
            <a:ext cx="9144000" cy="6858000"/>
          </a:xfrm>
          <a:noFill/>
        </p:spPr>
      </p:pic>
      <p:sp>
        <p:nvSpPr>
          <p:cNvPr id="47" name="Text Placeholder 2">
            <a:extLst>
              <a:ext uri="{FF2B5EF4-FFF2-40B4-BE49-F238E27FC236}">
                <a16:creationId xmlns:a16="http://schemas.microsoft.com/office/drawing/2014/main" id="{AFEE2323-CD36-8B12-189C-BFB3F98BF8E6}"/>
              </a:ext>
            </a:extLst>
          </p:cNvPr>
          <p:cNvSpPr>
            <a:spLocks noGrp="1"/>
          </p:cNvSpPr>
          <p:nvPr>
            <p:ph type="body" sz="quarter" idx="13"/>
          </p:nvPr>
        </p:nvSpPr>
        <p:spPr>
          <a:xfrm>
            <a:off x="0" y="5121275"/>
            <a:ext cx="9144000" cy="1736724"/>
          </a:xfrm>
        </p:spPr>
        <p:txBody>
          <a:bodyPr/>
          <a:lstStyle/>
          <a:p>
            <a:endParaRPr lang="en-US"/>
          </a:p>
        </p:txBody>
      </p:sp>
      <p:sp>
        <p:nvSpPr>
          <p:cNvPr id="9" name="Title 8">
            <a:extLst>
              <a:ext uri="{FF2B5EF4-FFF2-40B4-BE49-F238E27FC236}">
                <a16:creationId xmlns:a16="http://schemas.microsoft.com/office/drawing/2014/main" id="{F8EDB48E-6FB3-F57D-6052-E99BF9757E71}"/>
              </a:ext>
            </a:extLst>
          </p:cNvPr>
          <p:cNvSpPr>
            <a:spLocks noGrp="1"/>
          </p:cNvSpPr>
          <p:nvPr>
            <p:ph type="ctrTitle"/>
          </p:nvPr>
        </p:nvSpPr>
        <p:spPr>
          <a:xfrm>
            <a:off x="250825" y="5339798"/>
            <a:ext cx="8642349" cy="810730"/>
          </a:xfrm>
        </p:spPr>
        <p:txBody>
          <a:bodyPr anchor="ctr">
            <a:normAutofit/>
          </a:bodyPr>
          <a:lstStyle/>
          <a:p>
            <a:pPr>
              <a:lnSpc>
                <a:spcPct val="90000"/>
              </a:lnSpc>
            </a:pPr>
            <a:r>
              <a:rPr lang="en-US" sz="5100"/>
              <a:t>Value Creation Strategy</a:t>
            </a:r>
          </a:p>
        </p:txBody>
      </p:sp>
      <p:sp>
        <p:nvSpPr>
          <p:cNvPr id="49" name="Subtitle 4">
            <a:extLst>
              <a:ext uri="{FF2B5EF4-FFF2-40B4-BE49-F238E27FC236}">
                <a16:creationId xmlns:a16="http://schemas.microsoft.com/office/drawing/2014/main" id="{B2DE9183-AEFD-2F43-1098-F3926949CBF2}"/>
              </a:ext>
            </a:extLst>
          </p:cNvPr>
          <p:cNvSpPr>
            <a:spLocks noGrp="1"/>
          </p:cNvSpPr>
          <p:nvPr>
            <p:ph type="subTitle" idx="1"/>
          </p:nvPr>
        </p:nvSpPr>
        <p:spPr>
          <a:xfrm>
            <a:off x="250827" y="6237292"/>
            <a:ext cx="8642348" cy="395287"/>
          </a:xfrm>
        </p:spPr>
        <p:txBody>
          <a:bodyPr/>
          <a:lstStyle/>
          <a:p>
            <a:endParaRPr lang="en-US"/>
          </a:p>
        </p:txBody>
      </p:sp>
      <p:sp>
        <p:nvSpPr>
          <p:cNvPr id="51" name="Content Placeholder 5">
            <a:extLst>
              <a:ext uri="{FF2B5EF4-FFF2-40B4-BE49-F238E27FC236}">
                <a16:creationId xmlns:a16="http://schemas.microsoft.com/office/drawing/2014/main" id="{55528B5E-D8A1-45AA-281F-9967C4CE8D51}"/>
              </a:ext>
            </a:extLst>
          </p:cNvPr>
          <p:cNvSpPr>
            <a:spLocks noGrp="1"/>
          </p:cNvSpPr>
          <p:nvPr>
            <p:ph sz="quarter" idx="12"/>
          </p:nvPr>
        </p:nvSpPr>
        <p:spPr>
          <a:xfrm>
            <a:off x="395399" y="6165850"/>
            <a:ext cx="1614097" cy="71438"/>
          </a:xfrm>
        </p:spPr>
        <p:txBody>
          <a:bodyPr/>
          <a:lstStyle/>
          <a:p>
            <a:endParaRPr lang="en-US"/>
          </a:p>
        </p:txBody>
      </p:sp>
    </p:spTree>
    <p:extLst>
      <p:ext uri="{BB962C8B-B14F-4D97-AF65-F5344CB8AC3E}">
        <p14:creationId xmlns:p14="http://schemas.microsoft.com/office/powerpoint/2010/main" val="28074722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E17C25-2BAD-F33F-5EC3-139C431C17F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244C3C0-EAE3-283C-B564-B946640FF8A1}"/>
              </a:ext>
            </a:extLst>
          </p:cNvPr>
          <p:cNvSpPr>
            <a:spLocks noGrp="1"/>
          </p:cNvSpPr>
          <p:nvPr>
            <p:ph type="title"/>
          </p:nvPr>
        </p:nvSpPr>
        <p:spPr/>
        <p:txBody>
          <a:bodyPr/>
          <a:lstStyle/>
          <a:p>
            <a:r>
              <a:rPr lang="en-US"/>
              <a:t>SWOT Analysis Shopify</a:t>
            </a:r>
          </a:p>
        </p:txBody>
      </p:sp>
      <p:sp>
        <p:nvSpPr>
          <p:cNvPr id="7" name="Rectangle 6">
            <a:extLst>
              <a:ext uri="{FF2B5EF4-FFF2-40B4-BE49-F238E27FC236}">
                <a16:creationId xmlns:a16="http://schemas.microsoft.com/office/drawing/2014/main" id="{8E579D29-D90B-7CDA-D806-F9DEFE9792C5}"/>
              </a:ext>
            </a:extLst>
          </p:cNvPr>
          <p:cNvSpPr/>
          <p:nvPr/>
        </p:nvSpPr>
        <p:spPr>
          <a:xfrm>
            <a:off x="343015" y="1717296"/>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a:solidFill>
                  <a:schemeClr val="tx1"/>
                </a:solidFill>
                <a:cs typeface="Arial"/>
              </a:rPr>
              <a:t>Scalability &amp; Flexibility</a:t>
            </a:r>
            <a:endParaRPr lang="en-US" sz="900" b="1">
              <a:solidFill>
                <a:schemeClr val="tx1"/>
              </a:solidFill>
            </a:endParaRPr>
          </a:p>
        </p:txBody>
      </p:sp>
      <p:sp>
        <p:nvSpPr>
          <p:cNvPr id="11" name="Content Placeholder 9">
            <a:extLst>
              <a:ext uri="{FF2B5EF4-FFF2-40B4-BE49-F238E27FC236}">
                <a16:creationId xmlns:a16="http://schemas.microsoft.com/office/drawing/2014/main" id="{ABF38811-E4F4-6600-80D1-E9DD1434E62E}"/>
              </a:ext>
            </a:extLst>
          </p:cNvPr>
          <p:cNvSpPr txBox="1">
            <a:spLocks/>
          </p:cNvSpPr>
          <p:nvPr/>
        </p:nvSpPr>
        <p:spPr>
          <a:xfrm>
            <a:off x="7417474" y="1700672"/>
            <a:ext cx="3933090" cy="1619060"/>
          </a:xfrm>
          <a:prstGeom prst="rect">
            <a:avLst/>
          </a:prstGeom>
        </p:spPr>
        <p:txBody>
          <a:bodyPr lIns="91440" tIns="45720" rIns="91440" bIns="45720" anchor="ct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endParaRPr lang="en-US" sz="1400">
              <a:cs typeface="Arial"/>
            </a:endParaRPr>
          </a:p>
          <a:p>
            <a:pPr marL="0" indent="0" algn="ctr">
              <a:lnSpc>
                <a:spcPct val="100000"/>
              </a:lnSpc>
              <a:spcBef>
                <a:spcPts val="0"/>
              </a:spcBef>
              <a:buNone/>
            </a:pPr>
            <a:endParaRPr lang="en-US" sz="1400">
              <a:cs typeface="Arial"/>
            </a:endParaRPr>
          </a:p>
        </p:txBody>
      </p:sp>
      <p:sp>
        <p:nvSpPr>
          <p:cNvPr id="3" name="Rectangle 2">
            <a:extLst>
              <a:ext uri="{FF2B5EF4-FFF2-40B4-BE49-F238E27FC236}">
                <a16:creationId xmlns:a16="http://schemas.microsoft.com/office/drawing/2014/main" id="{1A7AFD17-C786-0C9D-BB40-B243376A7EC4}"/>
              </a:ext>
            </a:extLst>
          </p:cNvPr>
          <p:cNvSpPr/>
          <p:nvPr/>
        </p:nvSpPr>
        <p:spPr>
          <a:xfrm>
            <a:off x="351228" y="3704447"/>
            <a:ext cx="3949060" cy="3335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cs typeface="Arial"/>
              </a:rPr>
              <a:t>Opportunities</a:t>
            </a:r>
          </a:p>
        </p:txBody>
      </p:sp>
      <p:sp>
        <p:nvSpPr>
          <p:cNvPr id="13" name="Rectangle 12">
            <a:extLst>
              <a:ext uri="{FF2B5EF4-FFF2-40B4-BE49-F238E27FC236}">
                <a16:creationId xmlns:a16="http://schemas.microsoft.com/office/drawing/2014/main" id="{4C1C654B-F485-EFAA-1652-3B40ED57F7A2}"/>
              </a:ext>
            </a:extLst>
          </p:cNvPr>
          <p:cNvSpPr/>
          <p:nvPr/>
        </p:nvSpPr>
        <p:spPr>
          <a:xfrm>
            <a:off x="343014" y="1357531"/>
            <a:ext cx="3947152" cy="2904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cs typeface="Arial"/>
              </a:rPr>
              <a:t>Strengths</a:t>
            </a:r>
          </a:p>
        </p:txBody>
      </p:sp>
      <p:sp>
        <p:nvSpPr>
          <p:cNvPr id="5" name="Rectangle 4">
            <a:extLst>
              <a:ext uri="{FF2B5EF4-FFF2-40B4-BE49-F238E27FC236}">
                <a16:creationId xmlns:a16="http://schemas.microsoft.com/office/drawing/2014/main" id="{7DB86494-3B41-1A3F-7A1F-957CD6E475A2}"/>
              </a:ext>
            </a:extLst>
          </p:cNvPr>
          <p:cNvSpPr/>
          <p:nvPr/>
        </p:nvSpPr>
        <p:spPr>
          <a:xfrm>
            <a:off x="333684" y="2190979"/>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a:solidFill>
                  <a:schemeClr val="tx1"/>
                </a:solidFill>
                <a:cs typeface="Arial"/>
              </a:rPr>
              <a:t>Brand Recognition &amp; Customer Trust</a:t>
            </a:r>
          </a:p>
        </p:txBody>
      </p:sp>
      <p:sp>
        <p:nvSpPr>
          <p:cNvPr id="6" name="Rectangle 5">
            <a:extLst>
              <a:ext uri="{FF2B5EF4-FFF2-40B4-BE49-F238E27FC236}">
                <a16:creationId xmlns:a16="http://schemas.microsoft.com/office/drawing/2014/main" id="{7AC7805F-8A9F-4FA0-A27D-401412A109E1}"/>
              </a:ext>
            </a:extLst>
          </p:cNvPr>
          <p:cNvSpPr/>
          <p:nvPr/>
        </p:nvSpPr>
        <p:spPr>
          <a:xfrm>
            <a:off x="341267" y="2662948"/>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a:solidFill>
                  <a:schemeClr val="tx1"/>
                </a:solidFill>
                <a:cs typeface="Arial"/>
              </a:rPr>
              <a:t>Global Reach</a:t>
            </a:r>
          </a:p>
        </p:txBody>
      </p:sp>
      <p:sp>
        <p:nvSpPr>
          <p:cNvPr id="10" name="Rectangle 9">
            <a:extLst>
              <a:ext uri="{FF2B5EF4-FFF2-40B4-BE49-F238E27FC236}">
                <a16:creationId xmlns:a16="http://schemas.microsoft.com/office/drawing/2014/main" id="{D6A51ADD-51E8-4298-7515-BFF55090178E}"/>
              </a:ext>
            </a:extLst>
          </p:cNvPr>
          <p:cNvSpPr/>
          <p:nvPr/>
        </p:nvSpPr>
        <p:spPr>
          <a:xfrm>
            <a:off x="344432" y="4101870"/>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Growth in BNPL &amp; Fintech </a:t>
            </a:r>
            <a:endParaRPr lang="en-US" sz="900" b="1">
              <a:solidFill>
                <a:schemeClr val="tx1"/>
              </a:solidFill>
            </a:endParaRPr>
          </a:p>
        </p:txBody>
      </p:sp>
      <p:sp>
        <p:nvSpPr>
          <p:cNvPr id="12" name="Rectangle 11">
            <a:extLst>
              <a:ext uri="{FF2B5EF4-FFF2-40B4-BE49-F238E27FC236}">
                <a16:creationId xmlns:a16="http://schemas.microsoft.com/office/drawing/2014/main" id="{C6B2235C-AF34-7E9E-4FDE-03F650343570}"/>
              </a:ext>
            </a:extLst>
          </p:cNvPr>
          <p:cNvSpPr/>
          <p:nvPr/>
        </p:nvSpPr>
        <p:spPr>
          <a:xfrm>
            <a:off x="335101" y="4575553"/>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AI &amp; Automation</a:t>
            </a:r>
          </a:p>
        </p:txBody>
      </p:sp>
      <p:sp>
        <p:nvSpPr>
          <p:cNvPr id="14" name="Rectangle 13">
            <a:extLst>
              <a:ext uri="{FF2B5EF4-FFF2-40B4-BE49-F238E27FC236}">
                <a16:creationId xmlns:a16="http://schemas.microsoft.com/office/drawing/2014/main" id="{E5CB4D51-6570-DF3F-C3FB-A2B0E4CB6F9F}"/>
              </a:ext>
            </a:extLst>
          </p:cNvPr>
          <p:cNvSpPr/>
          <p:nvPr/>
        </p:nvSpPr>
        <p:spPr>
          <a:xfrm>
            <a:off x="342684" y="5047522"/>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Expansion into Emerging Markets</a:t>
            </a:r>
          </a:p>
        </p:txBody>
      </p:sp>
      <p:sp>
        <p:nvSpPr>
          <p:cNvPr id="17" name="Rectangle 16">
            <a:extLst>
              <a:ext uri="{FF2B5EF4-FFF2-40B4-BE49-F238E27FC236}">
                <a16:creationId xmlns:a16="http://schemas.microsoft.com/office/drawing/2014/main" id="{B9A8D6C6-C735-0835-25BD-1309E48424DB}"/>
              </a:ext>
            </a:extLst>
          </p:cNvPr>
          <p:cNvSpPr/>
          <p:nvPr/>
        </p:nvSpPr>
        <p:spPr>
          <a:xfrm>
            <a:off x="4816509" y="1720869"/>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High Competition</a:t>
            </a:r>
          </a:p>
        </p:txBody>
      </p:sp>
      <p:sp>
        <p:nvSpPr>
          <p:cNvPr id="22" name="Rectangle 21">
            <a:extLst>
              <a:ext uri="{FF2B5EF4-FFF2-40B4-BE49-F238E27FC236}">
                <a16:creationId xmlns:a16="http://schemas.microsoft.com/office/drawing/2014/main" id="{6D681EC4-D9C2-704F-E5DB-5C59E49B0C37}"/>
              </a:ext>
            </a:extLst>
          </p:cNvPr>
          <p:cNvSpPr/>
          <p:nvPr/>
        </p:nvSpPr>
        <p:spPr>
          <a:xfrm>
            <a:off x="4832636" y="3704447"/>
            <a:ext cx="3949060" cy="3335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cs typeface="Arial"/>
              </a:rPr>
              <a:t>Threats</a:t>
            </a:r>
          </a:p>
        </p:txBody>
      </p:sp>
      <p:sp>
        <p:nvSpPr>
          <p:cNvPr id="23" name="Rectangle 22">
            <a:extLst>
              <a:ext uri="{FF2B5EF4-FFF2-40B4-BE49-F238E27FC236}">
                <a16:creationId xmlns:a16="http://schemas.microsoft.com/office/drawing/2014/main" id="{F00866A8-214D-6AD0-8340-C253ED2C6028}"/>
              </a:ext>
            </a:extLst>
          </p:cNvPr>
          <p:cNvSpPr/>
          <p:nvPr/>
        </p:nvSpPr>
        <p:spPr>
          <a:xfrm>
            <a:off x="4816508" y="1361104"/>
            <a:ext cx="3947152" cy="2904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cs typeface="Arial"/>
              </a:rPr>
              <a:t>Weaknesses</a:t>
            </a:r>
          </a:p>
        </p:txBody>
      </p:sp>
      <p:sp>
        <p:nvSpPr>
          <p:cNvPr id="25" name="Rectangle 24">
            <a:extLst>
              <a:ext uri="{FF2B5EF4-FFF2-40B4-BE49-F238E27FC236}">
                <a16:creationId xmlns:a16="http://schemas.microsoft.com/office/drawing/2014/main" id="{7D14BED9-E68A-BD9F-728E-BD717A6AC41B}"/>
              </a:ext>
            </a:extLst>
          </p:cNvPr>
          <p:cNvSpPr/>
          <p:nvPr/>
        </p:nvSpPr>
        <p:spPr>
          <a:xfrm>
            <a:off x="4807178" y="2194552"/>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Rising Operations Costs </a:t>
            </a:r>
          </a:p>
        </p:txBody>
      </p:sp>
      <p:sp>
        <p:nvSpPr>
          <p:cNvPr id="27" name="Rectangle 26">
            <a:extLst>
              <a:ext uri="{FF2B5EF4-FFF2-40B4-BE49-F238E27FC236}">
                <a16:creationId xmlns:a16="http://schemas.microsoft.com/office/drawing/2014/main" id="{96373ED2-5844-F965-C521-4DCD41F01CD8}"/>
              </a:ext>
            </a:extLst>
          </p:cNvPr>
          <p:cNvSpPr/>
          <p:nvPr/>
        </p:nvSpPr>
        <p:spPr>
          <a:xfrm>
            <a:off x="4814761" y="2666521"/>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Customer Acquisition Costs</a:t>
            </a:r>
          </a:p>
        </p:txBody>
      </p:sp>
      <p:sp>
        <p:nvSpPr>
          <p:cNvPr id="28" name="Rectangle 27">
            <a:extLst>
              <a:ext uri="{FF2B5EF4-FFF2-40B4-BE49-F238E27FC236}">
                <a16:creationId xmlns:a16="http://schemas.microsoft.com/office/drawing/2014/main" id="{310200D4-3B30-0178-89B0-446ADAB22343}"/>
              </a:ext>
            </a:extLst>
          </p:cNvPr>
          <p:cNvSpPr/>
          <p:nvPr/>
        </p:nvSpPr>
        <p:spPr>
          <a:xfrm>
            <a:off x="4825840" y="4101870"/>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Macroeconomic uncertainty</a:t>
            </a:r>
            <a:endParaRPr lang="en-US" sz="900" b="1">
              <a:solidFill>
                <a:schemeClr val="tx1"/>
              </a:solidFill>
            </a:endParaRPr>
          </a:p>
        </p:txBody>
      </p:sp>
      <p:sp>
        <p:nvSpPr>
          <p:cNvPr id="30" name="Rectangle 29">
            <a:extLst>
              <a:ext uri="{FF2B5EF4-FFF2-40B4-BE49-F238E27FC236}">
                <a16:creationId xmlns:a16="http://schemas.microsoft.com/office/drawing/2014/main" id="{CB338FB0-81A9-338E-31D9-D7BEEA252CDF}"/>
              </a:ext>
            </a:extLst>
          </p:cNvPr>
          <p:cNvSpPr/>
          <p:nvPr/>
        </p:nvSpPr>
        <p:spPr>
          <a:xfrm>
            <a:off x="4816509" y="4575553"/>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Regulatory &amp; Data Privacy Risks</a:t>
            </a:r>
          </a:p>
        </p:txBody>
      </p:sp>
      <p:sp>
        <p:nvSpPr>
          <p:cNvPr id="31" name="Rectangle 30">
            <a:extLst>
              <a:ext uri="{FF2B5EF4-FFF2-40B4-BE49-F238E27FC236}">
                <a16:creationId xmlns:a16="http://schemas.microsoft.com/office/drawing/2014/main" id="{8AB258AC-3B4D-5416-2BFA-127C3E3EF78A}"/>
              </a:ext>
            </a:extLst>
          </p:cNvPr>
          <p:cNvSpPr/>
          <p:nvPr/>
        </p:nvSpPr>
        <p:spPr>
          <a:xfrm>
            <a:off x="4824092" y="5047522"/>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Fluctuation in Payment Processing Revenue</a:t>
            </a:r>
          </a:p>
        </p:txBody>
      </p:sp>
      <p:cxnSp>
        <p:nvCxnSpPr>
          <p:cNvPr id="9" name="Straight Connector 8">
            <a:extLst>
              <a:ext uri="{FF2B5EF4-FFF2-40B4-BE49-F238E27FC236}">
                <a16:creationId xmlns:a16="http://schemas.microsoft.com/office/drawing/2014/main" id="{3F3F77B9-988D-D815-3CA6-816A42CB2BF8}"/>
              </a:ext>
            </a:extLst>
          </p:cNvPr>
          <p:cNvCxnSpPr>
            <a:cxnSpLocks/>
          </p:cNvCxnSpPr>
          <p:nvPr/>
        </p:nvCxnSpPr>
        <p:spPr>
          <a:xfrm>
            <a:off x="4572000" y="1349815"/>
            <a:ext cx="0" cy="4114013"/>
          </a:xfrm>
          <a:prstGeom prst="line">
            <a:avLst/>
          </a:prstGeom>
          <a:ln w="60325"/>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6D8110A-45BD-CA21-4ABB-C04F9E4A796E}"/>
              </a:ext>
            </a:extLst>
          </p:cNvPr>
          <p:cNvCxnSpPr>
            <a:cxnSpLocks/>
          </p:cNvCxnSpPr>
          <p:nvPr/>
        </p:nvCxnSpPr>
        <p:spPr>
          <a:xfrm flipH="1">
            <a:off x="335101" y="3429000"/>
            <a:ext cx="8442507" cy="0"/>
          </a:xfrm>
          <a:prstGeom prst="line">
            <a:avLst/>
          </a:prstGeom>
          <a:ln w="60325"/>
        </p:spPr>
        <p:style>
          <a:lnRef idx="1">
            <a:schemeClr val="accent1"/>
          </a:lnRef>
          <a:fillRef idx="0">
            <a:schemeClr val="accent1"/>
          </a:fillRef>
          <a:effectRef idx="0">
            <a:schemeClr val="accent1"/>
          </a:effectRef>
          <a:fontRef idx="minor">
            <a:schemeClr val="tx1"/>
          </a:fontRef>
        </p:style>
      </p:cxnSp>
      <p:sp>
        <p:nvSpPr>
          <p:cNvPr id="40" name="Text Placeholder 1">
            <a:extLst>
              <a:ext uri="{FF2B5EF4-FFF2-40B4-BE49-F238E27FC236}">
                <a16:creationId xmlns:a16="http://schemas.microsoft.com/office/drawing/2014/main" id="{E3EF2377-B9C2-0156-1B74-4BDCD183D334}"/>
              </a:ext>
            </a:extLst>
          </p:cNvPr>
          <p:cNvSpPr>
            <a:spLocks noGrp="1"/>
          </p:cNvSpPr>
          <p:nvPr>
            <p:ph type="body" sz="quarter" idx="21"/>
          </p:nvPr>
        </p:nvSpPr>
        <p:spPr>
          <a:xfrm>
            <a:off x="244806" y="621746"/>
            <a:ext cx="8642350" cy="422275"/>
          </a:xfrm>
        </p:spPr>
        <p:txBody>
          <a:bodyPr vert="horz" lIns="91440" tIns="45720" rIns="91440" bIns="45720" rtlCol="0" anchor="t">
            <a:normAutofit/>
          </a:bodyPr>
          <a:lstStyle/>
          <a:p>
            <a:r>
              <a:rPr lang="en-US" b="1"/>
              <a:t>Strategies, Weaknesses, Opportunities, Threats</a:t>
            </a:r>
          </a:p>
        </p:txBody>
      </p:sp>
    </p:spTree>
    <p:extLst>
      <p:ext uri="{BB962C8B-B14F-4D97-AF65-F5344CB8AC3E}">
        <p14:creationId xmlns:p14="http://schemas.microsoft.com/office/powerpoint/2010/main" val="42208114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49C195-9B70-B4D7-0BD0-188F2A28DF5A}"/>
              </a:ext>
            </a:extLst>
          </p:cNvPr>
          <p:cNvSpPr>
            <a:spLocks noGrp="1"/>
          </p:cNvSpPr>
          <p:nvPr>
            <p:ph type="body" sz="quarter" idx="13"/>
          </p:nvPr>
        </p:nvSpPr>
        <p:spPr/>
        <p:txBody>
          <a:bodyPr/>
          <a:lstStyle/>
          <a:p>
            <a:r>
              <a:rPr lang="en-US"/>
              <a:t>Placements reflect current members and alumni of TFS Investment Group</a:t>
            </a:r>
            <a:endParaRPr lang="en-CA"/>
          </a:p>
        </p:txBody>
      </p:sp>
      <p:sp>
        <p:nvSpPr>
          <p:cNvPr id="8" name="Text Placeholder 7">
            <a:extLst>
              <a:ext uri="{FF2B5EF4-FFF2-40B4-BE49-F238E27FC236}">
                <a16:creationId xmlns:a16="http://schemas.microsoft.com/office/drawing/2014/main" id="{226736EC-0BD8-4D56-E2C0-42FABE9795C1}"/>
              </a:ext>
            </a:extLst>
          </p:cNvPr>
          <p:cNvSpPr>
            <a:spLocks noGrp="1"/>
          </p:cNvSpPr>
          <p:nvPr>
            <p:ph type="body" sz="quarter" idx="21"/>
          </p:nvPr>
        </p:nvSpPr>
        <p:spPr/>
        <p:txBody>
          <a:bodyPr/>
          <a:lstStyle/>
          <a:p>
            <a:r>
              <a:rPr lang="en-US"/>
              <a:t>Our members and alumni land placements in investment banking, private equity, equity research, &amp; more</a:t>
            </a:r>
            <a:endParaRPr lang="en-CA"/>
          </a:p>
        </p:txBody>
      </p:sp>
      <p:sp>
        <p:nvSpPr>
          <p:cNvPr id="2" name="Title 1">
            <a:extLst>
              <a:ext uri="{FF2B5EF4-FFF2-40B4-BE49-F238E27FC236}">
                <a16:creationId xmlns:a16="http://schemas.microsoft.com/office/drawing/2014/main" id="{CE47AC5A-8EDE-155B-4CD9-FFCD031A65D7}"/>
              </a:ext>
            </a:extLst>
          </p:cNvPr>
          <p:cNvSpPr>
            <a:spLocks noGrp="1"/>
          </p:cNvSpPr>
          <p:nvPr>
            <p:ph type="title"/>
          </p:nvPr>
        </p:nvSpPr>
        <p:spPr/>
        <p:txBody>
          <a:bodyPr/>
          <a:lstStyle/>
          <a:p>
            <a:r>
              <a:rPr lang="en-US"/>
              <a:t>Select Member Placements</a:t>
            </a:r>
            <a:endParaRPr lang="en-CA"/>
          </a:p>
        </p:txBody>
      </p:sp>
      <p:sp>
        <p:nvSpPr>
          <p:cNvPr id="6" name="Text Placeholder 5">
            <a:extLst>
              <a:ext uri="{FF2B5EF4-FFF2-40B4-BE49-F238E27FC236}">
                <a16:creationId xmlns:a16="http://schemas.microsoft.com/office/drawing/2014/main" id="{5A1F385E-9B89-E9CF-80C4-D2F7257C10C3}"/>
              </a:ext>
            </a:extLst>
          </p:cNvPr>
          <p:cNvSpPr>
            <a:spLocks noGrp="1"/>
          </p:cNvSpPr>
          <p:nvPr>
            <p:ph type="body" idx="22"/>
          </p:nvPr>
        </p:nvSpPr>
        <p:spPr/>
        <p:txBody>
          <a:bodyPr/>
          <a:lstStyle/>
          <a:p>
            <a:r>
              <a:rPr lang="en-US">
                <a:solidFill>
                  <a:schemeClr val="tx2"/>
                </a:solidFill>
                <a:cs typeface="Arial"/>
              </a:rPr>
              <a:t>Private Equity &amp; REITS</a:t>
            </a:r>
            <a:endParaRPr lang="en-US">
              <a:solidFill>
                <a:srgbClr val="FFFFFF"/>
              </a:solidFill>
              <a:cs typeface="Arial"/>
            </a:endParaRPr>
          </a:p>
        </p:txBody>
      </p:sp>
      <p:sp>
        <p:nvSpPr>
          <p:cNvPr id="24" name="Text Placeholder 23">
            <a:extLst>
              <a:ext uri="{FF2B5EF4-FFF2-40B4-BE49-F238E27FC236}">
                <a16:creationId xmlns:a16="http://schemas.microsoft.com/office/drawing/2014/main" id="{BD2F81C0-C3E0-FF60-2C62-916E3BA1D555}"/>
              </a:ext>
            </a:extLst>
          </p:cNvPr>
          <p:cNvSpPr>
            <a:spLocks noGrp="1"/>
          </p:cNvSpPr>
          <p:nvPr>
            <p:ph type="body" idx="26"/>
          </p:nvPr>
        </p:nvSpPr>
        <p:spPr/>
        <p:txBody>
          <a:bodyPr/>
          <a:lstStyle/>
          <a:p>
            <a:r>
              <a:rPr lang="en-US">
                <a:solidFill>
                  <a:schemeClr val="tx2"/>
                </a:solidFill>
                <a:cs typeface="Arial"/>
              </a:rPr>
              <a:t>Investment Banking</a:t>
            </a:r>
            <a:endParaRPr lang="en-US">
              <a:solidFill>
                <a:srgbClr val="FFFFFF"/>
              </a:solidFill>
              <a:cs typeface="Arial"/>
            </a:endParaRPr>
          </a:p>
        </p:txBody>
      </p:sp>
      <p:sp>
        <p:nvSpPr>
          <p:cNvPr id="26" name="Text Placeholder 25">
            <a:extLst>
              <a:ext uri="{FF2B5EF4-FFF2-40B4-BE49-F238E27FC236}">
                <a16:creationId xmlns:a16="http://schemas.microsoft.com/office/drawing/2014/main" id="{5D4C7E49-4D05-B13B-7CE8-2EE20D1D68A0}"/>
              </a:ext>
            </a:extLst>
          </p:cNvPr>
          <p:cNvSpPr>
            <a:spLocks noGrp="1"/>
          </p:cNvSpPr>
          <p:nvPr>
            <p:ph type="body" idx="27"/>
          </p:nvPr>
        </p:nvSpPr>
        <p:spPr/>
        <p:txBody>
          <a:bodyPr/>
          <a:lstStyle/>
          <a:p>
            <a:r>
              <a:rPr lang="en-US">
                <a:solidFill>
                  <a:schemeClr val="tx2"/>
                </a:solidFill>
                <a:cs typeface="Arial"/>
              </a:rPr>
              <a:t>Equity Research &amp; Asset Management</a:t>
            </a:r>
            <a:endParaRPr lang="en-US">
              <a:solidFill>
                <a:srgbClr val="FFFFFF"/>
              </a:solidFill>
              <a:cs typeface="Arial"/>
            </a:endParaRPr>
          </a:p>
        </p:txBody>
      </p:sp>
      <p:sp>
        <p:nvSpPr>
          <p:cNvPr id="31" name="Text Placeholder 30">
            <a:extLst>
              <a:ext uri="{FF2B5EF4-FFF2-40B4-BE49-F238E27FC236}">
                <a16:creationId xmlns:a16="http://schemas.microsoft.com/office/drawing/2014/main" id="{EC958A6D-6C3A-14B5-74DE-907350960715}"/>
              </a:ext>
            </a:extLst>
          </p:cNvPr>
          <p:cNvSpPr>
            <a:spLocks noGrp="1"/>
          </p:cNvSpPr>
          <p:nvPr>
            <p:ph type="body" idx="31"/>
          </p:nvPr>
        </p:nvSpPr>
        <p:spPr/>
        <p:txBody>
          <a:bodyPr/>
          <a:lstStyle/>
          <a:p>
            <a:r>
              <a:rPr lang="en-US">
                <a:solidFill>
                  <a:schemeClr val="tx2"/>
                </a:solidFill>
                <a:cs typeface="Arial"/>
              </a:rPr>
              <a:t>Sales &amp; Trading + Other Finance Roles</a:t>
            </a:r>
            <a:endParaRPr lang="en-US">
              <a:solidFill>
                <a:srgbClr val="FFFFFF"/>
              </a:solidFill>
              <a:cs typeface="Arial"/>
            </a:endParaRPr>
          </a:p>
        </p:txBody>
      </p:sp>
      <p:pic>
        <p:nvPicPr>
          <p:cNvPr id="3074" name="Picture 2" descr="CIBC Capital Markets - We partner in key financial centres around the world  to develop customized solutions that enable our clients to access capital,  expand their operations and actively invest.">
            <a:extLst>
              <a:ext uri="{FF2B5EF4-FFF2-40B4-BE49-F238E27FC236}">
                <a16:creationId xmlns:a16="http://schemas.microsoft.com/office/drawing/2014/main" id="{D1EF41E3-7525-6C3D-F6B2-6110EB51B3A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0529" y="1461923"/>
            <a:ext cx="1482311" cy="363214"/>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Personal Banking - RBC Royal Bank">
            <a:extLst>
              <a:ext uri="{FF2B5EF4-FFF2-40B4-BE49-F238E27FC236}">
                <a16:creationId xmlns:a16="http://schemas.microsoft.com/office/drawing/2014/main" id="{AC758F23-43D4-26FD-8F70-BFBF4CBEA3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54157" y="1441490"/>
            <a:ext cx="476228" cy="55142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National Bank Financial Markets">
            <a:extLst>
              <a:ext uri="{FF2B5EF4-FFF2-40B4-BE49-F238E27FC236}">
                <a16:creationId xmlns:a16="http://schemas.microsoft.com/office/drawing/2014/main" id="{EC63494C-03F9-4E43-378A-ADF6A90E8EA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9269" y="2142776"/>
            <a:ext cx="2012419" cy="654036"/>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Welch Capital Partners Inc. | LinkedIn">
            <a:extLst>
              <a:ext uri="{FF2B5EF4-FFF2-40B4-BE49-F238E27FC236}">
                <a16:creationId xmlns:a16="http://schemas.microsoft.com/office/drawing/2014/main" id="{7B25E931-2B4F-DF70-CA59-69D7B4C44E9F}"/>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3783" t="11992" r="14086" b="16783"/>
          <a:stretch/>
        </p:blipFill>
        <p:spPr bwMode="auto">
          <a:xfrm>
            <a:off x="2277778" y="2067563"/>
            <a:ext cx="755950" cy="746445"/>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a:extLst>
              <a:ext uri="{FF2B5EF4-FFF2-40B4-BE49-F238E27FC236}">
                <a16:creationId xmlns:a16="http://schemas.microsoft.com/office/drawing/2014/main" id="{FAF38C23-98F7-E892-E8F7-D4AF64A00CF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57504" y="1435043"/>
            <a:ext cx="1406450" cy="750106"/>
          </a:xfrm>
          <a:prstGeom prst="rect">
            <a:avLst/>
          </a:prstGeom>
          <a:noFill/>
          <a:extLst>
            <a:ext uri="{909E8E84-426E-40DD-AFC4-6F175D3DCCD1}">
              <a14:hiddenFill xmlns:a14="http://schemas.microsoft.com/office/drawing/2010/main">
                <a:solidFill>
                  <a:srgbClr val="FFFFFF"/>
                </a:solidFill>
              </a14:hiddenFill>
            </a:ext>
          </a:extLst>
        </p:spPr>
      </p:pic>
      <p:pic>
        <p:nvPicPr>
          <p:cNvPr id="3094" name="Picture 22" descr="Ontario Teachers' Pension Plan - Wikipedia">
            <a:extLst>
              <a:ext uri="{FF2B5EF4-FFF2-40B4-BE49-F238E27FC236}">
                <a16:creationId xmlns:a16="http://schemas.microsoft.com/office/drawing/2014/main" id="{81BBDCC8-7AD2-D103-6355-6D6048E9DA8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81395" y="1479011"/>
            <a:ext cx="1475102" cy="566992"/>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descr="Dream Unlimited Corp (DRM-T) Quote - The Globe and Mail">
            <a:extLst>
              <a:ext uri="{FF2B5EF4-FFF2-40B4-BE49-F238E27FC236}">
                <a16:creationId xmlns:a16="http://schemas.microsoft.com/office/drawing/2014/main" id="{F52E4DB2-A334-652C-360E-32776D66CAA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937225" y="2793909"/>
            <a:ext cx="1618683" cy="321769"/>
          </a:xfrm>
          <a:prstGeom prst="rect">
            <a:avLst/>
          </a:prstGeom>
          <a:noFill/>
          <a:extLst>
            <a:ext uri="{909E8E84-426E-40DD-AFC4-6F175D3DCCD1}">
              <a14:hiddenFill xmlns:a14="http://schemas.microsoft.com/office/drawing/2010/main">
                <a:solidFill>
                  <a:srgbClr val="FFFFFF"/>
                </a:solidFill>
              </a14:hiddenFill>
            </a:ext>
          </a:extLst>
        </p:spPr>
      </p:pic>
      <p:pic>
        <p:nvPicPr>
          <p:cNvPr id="3100" name="Picture 28">
            <a:extLst>
              <a:ext uri="{FF2B5EF4-FFF2-40B4-BE49-F238E27FC236}">
                <a16:creationId xmlns:a16="http://schemas.microsoft.com/office/drawing/2014/main" id="{4B67A8B0-54D0-DDA5-A21F-C110825EB02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955557" y="3046774"/>
            <a:ext cx="1809092" cy="271365"/>
          </a:xfrm>
          <a:prstGeom prst="rect">
            <a:avLst/>
          </a:prstGeom>
          <a:noFill/>
          <a:extLst>
            <a:ext uri="{909E8E84-426E-40DD-AFC4-6F175D3DCCD1}">
              <a14:hiddenFill xmlns:a14="http://schemas.microsoft.com/office/drawing/2010/main">
                <a:solidFill>
                  <a:srgbClr val="FFFFFF"/>
                </a:solidFill>
              </a14:hiddenFill>
            </a:ext>
          </a:extLst>
        </p:spPr>
      </p:pic>
      <p:pic>
        <p:nvPicPr>
          <p:cNvPr id="3102" name="Picture 30" descr="Capital Markets">
            <a:extLst>
              <a:ext uri="{FF2B5EF4-FFF2-40B4-BE49-F238E27FC236}">
                <a16:creationId xmlns:a16="http://schemas.microsoft.com/office/drawing/2014/main" id="{F7734CDD-14D6-A4F8-22CC-D4769EBCE28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0246" y="4088771"/>
            <a:ext cx="1328695" cy="362372"/>
          </a:xfrm>
          <a:prstGeom prst="rect">
            <a:avLst/>
          </a:prstGeom>
          <a:noFill/>
          <a:extLst>
            <a:ext uri="{909E8E84-426E-40DD-AFC4-6F175D3DCCD1}">
              <a14:hiddenFill xmlns:a14="http://schemas.microsoft.com/office/drawing/2010/main">
                <a:solidFill>
                  <a:srgbClr val="FFFFFF"/>
                </a:solidFill>
              </a14:hiddenFill>
            </a:ext>
          </a:extLst>
        </p:spPr>
      </p:pic>
      <p:pic>
        <p:nvPicPr>
          <p:cNvPr id="3104" name="Picture 32" descr="RBC Global Asset Management - Responsible Investment Association">
            <a:extLst>
              <a:ext uri="{FF2B5EF4-FFF2-40B4-BE49-F238E27FC236}">
                <a16:creationId xmlns:a16="http://schemas.microsoft.com/office/drawing/2014/main" id="{31FBBCBD-8840-C905-8C2C-23E1A2295C81}"/>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909778" y="4032594"/>
            <a:ext cx="1422580" cy="498150"/>
          </a:xfrm>
          <a:prstGeom prst="rect">
            <a:avLst/>
          </a:prstGeom>
          <a:noFill/>
          <a:extLst>
            <a:ext uri="{909E8E84-426E-40DD-AFC4-6F175D3DCCD1}">
              <a14:hiddenFill xmlns:a14="http://schemas.microsoft.com/office/drawing/2010/main">
                <a:solidFill>
                  <a:srgbClr val="FFFFFF"/>
                </a:solidFill>
              </a14:hiddenFill>
            </a:ext>
          </a:extLst>
        </p:spPr>
      </p:pic>
      <p:pic>
        <p:nvPicPr>
          <p:cNvPr id="3106" name="Picture 34" descr="Money Managers Directory | Benefits Canada.com">
            <a:extLst>
              <a:ext uri="{FF2B5EF4-FFF2-40B4-BE49-F238E27FC236}">
                <a16:creationId xmlns:a16="http://schemas.microsoft.com/office/drawing/2014/main" id="{3D61C55C-DF36-9015-865C-692A7A12B684}"/>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70345" y="4720380"/>
            <a:ext cx="1510069" cy="275012"/>
          </a:xfrm>
          <a:prstGeom prst="rect">
            <a:avLst/>
          </a:prstGeom>
          <a:noFill/>
          <a:extLst>
            <a:ext uri="{909E8E84-426E-40DD-AFC4-6F175D3DCCD1}">
              <a14:hiddenFill xmlns:a14="http://schemas.microsoft.com/office/drawing/2010/main">
                <a:solidFill>
                  <a:srgbClr val="FFFFFF"/>
                </a:solidFill>
              </a14:hiddenFill>
            </a:ext>
          </a:extLst>
        </p:spPr>
      </p:pic>
      <p:pic>
        <p:nvPicPr>
          <p:cNvPr id="3108" name="Picture 36" descr="Raymond James Canada Launches Sustainability Investment ...">
            <a:extLst>
              <a:ext uri="{FF2B5EF4-FFF2-40B4-BE49-F238E27FC236}">
                <a16:creationId xmlns:a16="http://schemas.microsoft.com/office/drawing/2014/main" id="{BA8A2316-F5AD-0131-017B-4C7E2C75DFB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126770" y="4605579"/>
            <a:ext cx="1273752" cy="666951"/>
          </a:xfrm>
          <a:prstGeom prst="rect">
            <a:avLst/>
          </a:prstGeom>
          <a:noFill/>
          <a:extLst>
            <a:ext uri="{909E8E84-426E-40DD-AFC4-6F175D3DCCD1}">
              <a14:hiddenFill xmlns:a14="http://schemas.microsoft.com/office/drawing/2010/main">
                <a:solidFill>
                  <a:srgbClr val="FFFFFF"/>
                </a:solidFill>
              </a14:hiddenFill>
            </a:ext>
          </a:extLst>
        </p:spPr>
      </p:pic>
      <p:pic>
        <p:nvPicPr>
          <p:cNvPr id="3110" name="Picture 38" descr="Gluskin Sheff - Wikipedia">
            <a:extLst>
              <a:ext uri="{FF2B5EF4-FFF2-40B4-BE49-F238E27FC236}">
                <a16:creationId xmlns:a16="http://schemas.microsoft.com/office/drawing/2014/main" id="{EF877512-0CE5-1A22-7DFB-A61984F02739}"/>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829711" y="4046116"/>
            <a:ext cx="843955" cy="429156"/>
          </a:xfrm>
          <a:prstGeom prst="rect">
            <a:avLst/>
          </a:prstGeom>
          <a:noFill/>
          <a:extLst>
            <a:ext uri="{909E8E84-426E-40DD-AFC4-6F175D3DCCD1}">
              <a14:hiddenFill xmlns:a14="http://schemas.microsoft.com/office/drawing/2010/main">
                <a:solidFill>
                  <a:srgbClr val="FFFFFF"/>
                </a:solidFill>
              </a14:hiddenFill>
            </a:ext>
          </a:extLst>
        </p:spPr>
      </p:pic>
      <p:pic>
        <p:nvPicPr>
          <p:cNvPr id="3112" name="Picture 40" descr="iA Financial Group - Wikipedia">
            <a:extLst>
              <a:ext uri="{FF2B5EF4-FFF2-40B4-BE49-F238E27FC236}">
                <a16:creationId xmlns:a16="http://schemas.microsoft.com/office/drawing/2014/main" id="{6D03DE96-8BD2-8E89-E463-5625DC77DB22}"/>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110475" y="5469394"/>
            <a:ext cx="1021185" cy="55651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National Bank Financial Markets">
            <a:extLst>
              <a:ext uri="{FF2B5EF4-FFF2-40B4-BE49-F238E27FC236}">
                <a16:creationId xmlns:a16="http://schemas.microsoft.com/office/drawing/2014/main" id="{D71CFE85-6E22-2A87-768B-AA3E7A4B160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37225" y="4074652"/>
            <a:ext cx="1664792" cy="479877"/>
          </a:xfrm>
          <a:prstGeom prst="rect">
            <a:avLst/>
          </a:prstGeom>
          <a:noFill/>
          <a:extLst>
            <a:ext uri="{909E8E84-426E-40DD-AFC4-6F175D3DCCD1}">
              <a14:hiddenFill xmlns:a14="http://schemas.microsoft.com/office/drawing/2010/main">
                <a:solidFill>
                  <a:srgbClr val="FFFFFF"/>
                </a:solidFill>
              </a14:hiddenFill>
            </a:ext>
          </a:extLst>
        </p:spPr>
      </p:pic>
      <p:pic>
        <p:nvPicPr>
          <p:cNvPr id="3116" name="Picture 44" descr="Home | TD Securities">
            <a:extLst>
              <a:ext uri="{FF2B5EF4-FFF2-40B4-BE49-F238E27FC236}">
                <a16:creationId xmlns:a16="http://schemas.microsoft.com/office/drawing/2014/main" id="{7503876B-9F14-E313-36FA-BE71C41E68D4}"/>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875795" y="4115610"/>
            <a:ext cx="1743602" cy="37457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National Bank Financial Markets">
            <a:extLst>
              <a:ext uri="{FF2B5EF4-FFF2-40B4-BE49-F238E27FC236}">
                <a16:creationId xmlns:a16="http://schemas.microsoft.com/office/drawing/2014/main" id="{21FCA3C5-CFC4-5896-0EE1-DA7AC57443C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12731" y="5457165"/>
            <a:ext cx="1588930" cy="516402"/>
          </a:xfrm>
          <a:prstGeom prst="rect">
            <a:avLst/>
          </a:prstGeom>
          <a:noFill/>
          <a:extLst>
            <a:ext uri="{909E8E84-426E-40DD-AFC4-6F175D3DCCD1}">
              <a14:hiddenFill xmlns:a14="http://schemas.microsoft.com/office/drawing/2010/main">
                <a:solidFill>
                  <a:srgbClr val="FFFFFF"/>
                </a:solidFill>
              </a14:hiddenFill>
            </a:ext>
          </a:extLst>
        </p:spPr>
      </p:pic>
      <p:pic>
        <p:nvPicPr>
          <p:cNvPr id="3120" name="Picture 48">
            <a:extLst>
              <a:ext uri="{FF2B5EF4-FFF2-40B4-BE49-F238E27FC236}">
                <a16:creationId xmlns:a16="http://schemas.microsoft.com/office/drawing/2014/main" id="{38A7503F-C157-4F2D-B84A-2DE7AED276B3}"/>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981609" y="5594501"/>
            <a:ext cx="1021185" cy="399786"/>
          </a:xfrm>
          <a:prstGeom prst="rect">
            <a:avLst/>
          </a:prstGeom>
          <a:noFill/>
          <a:extLst>
            <a:ext uri="{909E8E84-426E-40DD-AFC4-6F175D3DCCD1}">
              <a14:hiddenFill xmlns:a14="http://schemas.microsoft.com/office/drawing/2010/main">
                <a:solidFill>
                  <a:srgbClr val="FFFFFF"/>
                </a:solidFill>
              </a14:hiddenFill>
            </a:ext>
          </a:extLst>
        </p:spPr>
      </p:pic>
      <p:pic>
        <p:nvPicPr>
          <p:cNvPr id="3122" name="Picture 50">
            <a:extLst>
              <a:ext uri="{FF2B5EF4-FFF2-40B4-BE49-F238E27FC236}">
                <a16:creationId xmlns:a16="http://schemas.microsoft.com/office/drawing/2014/main" id="{C980AAC9-99AC-269B-73F9-A8F96218AA4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794242" y="5404914"/>
            <a:ext cx="902198" cy="68546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597B7C10-7233-F640-ED88-5661A00CB2BB}"/>
              </a:ext>
            </a:extLst>
          </p:cNvPr>
          <p:cNvSpPr/>
          <p:nvPr/>
        </p:nvSpPr>
        <p:spPr>
          <a:xfrm>
            <a:off x="4751388" y="3993203"/>
            <a:ext cx="4141787" cy="653023"/>
          </a:xfrm>
          <a:prstGeom prst="rect">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solidFill>
                <a:schemeClr val="accent2"/>
              </a:solidFill>
            </a:endParaRPr>
          </a:p>
        </p:txBody>
      </p:sp>
      <p:sp>
        <p:nvSpPr>
          <p:cNvPr id="19" name="TextBox 18">
            <a:extLst>
              <a:ext uri="{FF2B5EF4-FFF2-40B4-BE49-F238E27FC236}">
                <a16:creationId xmlns:a16="http://schemas.microsoft.com/office/drawing/2014/main" id="{3B59CD58-A415-2656-B956-20025E33E3F8}"/>
              </a:ext>
            </a:extLst>
          </p:cNvPr>
          <p:cNvSpPr txBox="1"/>
          <p:nvPr/>
        </p:nvSpPr>
        <p:spPr>
          <a:xfrm>
            <a:off x="5420837" y="4629408"/>
            <a:ext cx="2750634" cy="276999"/>
          </a:xfrm>
          <a:prstGeom prst="rect">
            <a:avLst/>
          </a:prstGeom>
          <a:noFill/>
        </p:spPr>
        <p:txBody>
          <a:bodyPr wrap="square" rtlCol="0" anchor="ctr">
            <a:spAutoFit/>
          </a:bodyPr>
          <a:lstStyle/>
          <a:p>
            <a:pPr algn="ctr"/>
            <a:r>
              <a:rPr lang="en-US" sz="1200" b="1">
                <a:solidFill>
                  <a:schemeClr val="accent2"/>
                </a:solidFill>
              </a:rPr>
              <a:t>Sales &amp; Trading</a:t>
            </a:r>
            <a:endParaRPr lang="en-CA" sz="1200" b="1">
              <a:solidFill>
                <a:schemeClr val="accent2"/>
              </a:solidFill>
            </a:endParaRPr>
          </a:p>
        </p:txBody>
      </p:sp>
      <p:pic>
        <p:nvPicPr>
          <p:cNvPr id="3124" name="Picture 52">
            <a:extLst>
              <a:ext uri="{FF2B5EF4-FFF2-40B4-BE49-F238E27FC236}">
                <a16:creationId xmlns:a16="http://schemas.microsoft.com/office/drawing/2014/main" id="{6EA17173-4487-9FB3-7DCA-B5EBD4F04542}"/>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229924" y="5857341"/>
            <a:ext cx="1359197" cy="295673"/>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PSP Investments posts strong performance in fiscal year 2018 - Net return  of 9.8% brings net assets to $153.0 billion">
            <a:extLst>
              <a:ext uri="{FF2B5EF4-FFF2-40B4-BE49-F238E27FC236}">
                <a16:creationId xmlns:a16="http://schemas.microsoft.com/office/drawing/2014/main" id="{A39E5716-D481-017F-346A-29F5158BCDF3}"/>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091789" y="4753873"/>
            <a:ext cx="928350" cy="48641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black background with blue and gold text&#10;&#10;Description automatically generated">
            <a:extLst>
              <a:ext uri="{FF2B5EF4-FFF2-40B4-BE49-F238E27FC236}">
                <a16:creationId xmlns:a16="http://schemas.microsoft.com/office/drawing/2014/main" id="{6523A857-0BEC-FF0C-E6F0-B9EB948B416A}"/>
              </a:ext>
            </a:extLst>
          </p:cNvPr>
          <p:cNvPicPr>
            <a:picLocks noChangeAspect="1"/>
          </p:cNvPicPr>
          <p:nvPr/>
        </p:nvPicPr>
        <p:blipFill>
          <a:blip r:embed="rId22">
            <a:extLst>
              <a:ext uri="{28A0092B-C50C-407E-A947-70E740481C1C}">
                <a14:useLocalDpi xmlns:a14="http://schemas.microsoft.com/office/drawing/2010/main" val="0"/>
              </a:ext>
            </a:extLst>
          </a:blip>
          <a:srcRect t="31369" b="31948"/>
          <a:stretch/>
        </p:blipFill>
        <p:spPr>
          <a:xfrm>
            <a:off x="370120" y="2845189"/>
            <a:ext cx="1750716" cy="642210"/>
          </a:xfrm>
          <a:prstGeom prst="rect">
            <a:avLst/>
          </a:prstGeom>
        </p:spPr>
      </p:pic>
      <p:pic>
        <p:nvPicPr>
          <p:cNvPr id="7" name="Picture 6" descr="A red text on a black background&#10;&#10;Description automatically generated">
            <a:extLst>
              <a:ext uri="{FF2B5EF4-FFF2-40B4-BE49-F238E27FC236}">
                <a16:creationId xmlns:a16="http://schemas.microsoft.com/office/drawing/2014/main" id="{50BEF0D9-E049-D268-245A-B7B3E803C886}"/>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610862" y="1205466"/>
            <a:ext cx="1637126" cy="920883"/>
          </a:xfrm>
          <a:prstGeom prst="rect">
            <a:avLst/>
          </a:prstGeom>
        </p:spPr>
      </p:pic>
      <p:pic>
        <p:nvPicPr>
          <p:cNvPr id="11" name="Picture 10" descr="A black background with red text&#10;&#10;Description automatically generated">
            <a:extLst>
              <a:ext uri="{FF2B5EF4-FFF2-40B4-BE49-F238E27FC236}">
                <a16:creationId xmlns:a16="http://schemas.microsoft.com/office/drawing/2014/main" id="{ACDAD4FC-C8D9-3A12-7EB5-5D36E572DDED}"/>
              </a:ext>
            </a:extLst>
          </p:cNvPr>
          <p:cNvPicPr>
            <a:picLocks noChangeAspect="1"/>
          </p:cNvPicPr>
          <p:nvPr/>
        </p:nvPicPr>
        <p:blipFill>
          <a:blip r:embed="rId24" cstate="print">
            <a:extLst>
              <a:ext uri="{28A0092B-C50C-407E-A947-70E740481C1C}">
                <a14:useLocalDpi xmlns:a14="http://schemas.microsoft.com/office/drawing/2010/main" val="0"/>
              </a:ext>
            </a:extLst>
          </a:blip>
          <a:srcRect l="8905" t="16215" r="9020" b="15125"/>
          <a:stretch/>
        </p:blipFill>
        <p:spPr>
          <a:xfrm>
            <a:off x="4634955" y="4868364"/>
            <a:ext cx="1571763" cy="522930"/>
          </a:xfrm>
          <a:prstGeom prst="rect">
            <a:avLst/>
          </a:prstGeom>
        </p:spPr>
      </p:pic>
      <p:pic>
        <p:nvPicPr>
          <p:cNvPr id="21" name="Picture 20" descr="A yellow triangle with a pointy point&#10;&#10;Description automatically generated">
            <a:extLst>
              <a:ext uri="{FF2B5EF4-FFF2-40B4-BE49-F238E27FC236}">
                <a16:creationId xmlns:a16="http://schemas.microsoft.com/office/drawing/2014/main" id="{80C45C51-7AE5-47D5-F89D-C7A80D8A7F28}"/>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441151" y="5022746"/>
            <a:ext cx="659675" cy="659675"/>
          </a:xfrm>
          <a:prstGeom prst="rect">
            <a:avLst/>
          </a:prstGeom>
        </p:spPr>
      </p:pic>
      <p:pic>
        <p:nvPicPr>
          <p:cNvPr id="23" name="Picture 22" descr="A blue and black logo&#10;&#10;Description automatically generated">
            <a:extLst>
              <a:ext uri="{FF2B5EF4-FFF2-40B4-BE49-F238E27FC236}">
                <a16:creationId xmlns:a16="http://schemas.microsoft.com/office/drawing/2014/main" id="{0F74DAC4-1ECE-9814-4F9D-230D1186FAD8}"/>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6002794" y="2251618"/>
            <a:ext cx="1698582" cy="311535"/>
          </a:xfrm>
          <a:prstGeom prst="rect">
            <a:avLst/>
          </a:prstGeom>
        </p:spPr>
      </p:pic>
      <p:pic>
        <p:nvPicPr>
          <p:cNvPr id="4" name="Picture 2" descr="Home page - ComCap">
            <a:extLst>
              <a:ext uri="{FF2B5EF4-FFF2-40B4-BE49-F238E27FC236}">
                <a16:creationId xmlns:a16="http://schemas.microsoft.com/office/drawing/2014/main" id="{A248DF0B-8EC9-A062-6EE6-F5B0DF012347}"/>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520485" y="2945079"/>
            <a:ext cx="1557210" cy="50232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A close up of a logo&#10;&#10;Description automatically generated">
            <a:extLst>
              <a:ext uri="{FF2B5EF4-FFF2-40B4-BE49-F238E27FC236}">
                <a16:creationId xmlns:a16="http://schemas.microsoft.com/office/drawing/2014/main" id="{AC138772-3F54-6099-2755-781F9632CD1B}"/>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48722" y="5222931"/>
            <a:ext cx="1099114" cy="768154"/>
          </a:xfrm>
          <a:prstGeom prst="rect">
            <a:avLst/>
          </a:prstGeom>
        </p:spPr>
      </p:pic>
      <p:pic>
        <p:nvPicPr>
          <p:cNvPr id="25" name="Picture 24" descr="A blue and green logo&#10;&#10;Description automatically generated">
            <a:extLst>
              <a:ext uri="{FF2B5EF4-FFF2-40B4-BE49-F238E27FC236}">
                <a16:creationId xmlns:a16="http://schemas.microsoft.com/office/drawing/2014/main" id="{31ACEADB-968E-0E00-D96D-3960FD149926}"/>
              </a:ext>
            </a:extLst>
          </p:cNvPr>
          <p:cNvPicPr>
            <a:picLocks noChangeAspect="1"/>
          </p:cNvPicPr>
          <p:nvPr/>
        </p:nvPicPr>
        <p:blipFill>
          <a:blip r:embed="rId29">
            <a:extLst>
              <a:ext uri="{28A0092B-C50C-407E-A947-70E740481C1C}">
                <a14:useLocalDpi xmlns:a14="http://schemas.microsoft.com/office/drawing/2010/main" val="0"/>
              </a:ext>
            </a:extLst>
          </a:blip>
          <a:srcRect t="27098" b="33155"/>
          <a:stretch/>
        </p:blipFill>
        <p:spPr>
          <a:xfrm>
            <a:off x="7393985" y="4879578"/>
            <a:ext cx="1231361" cy="489429"/>
          </a:xfrm>
          <a:prstGeom prst="rect">
            <a:avLst/>
          </a:prstGeom>
        </p:spPr>
      </p:pic>
      <p:pic>
        <p:nvPicPr>
          <p:cNvPr id="27" name="Picture 26" descr="A logo with a crown and a red circle&#10;&#10;Description automatically generated">
            <a:extLst>
              <a:ext uri="{FF2B5EF4-FFF2-40B4-BE49-F238E27FC236}">
                <a16:creationId xmlns:a16="http://schemas.microsoft.com/office/drawing/2014/main" id="{1D103E7C-FD0A-000F-EC74-115383B69314}"/>
              </a:ext>
            </a:extLst>
          </p:cNvPr>
          <p:cNvPicPr>
            <a:picLocks noChangeAspect="1"/>
          </p:cNvPicPr>
          <p:nvPr/>
        </p:nvPicPr>
        <p:blipFill>
          <a:blip r:embed="rId30">
            <a:extLst>
              <a:ext uri="{28A0092B-C50C-407E-A947-70E740481C1C}">
                <a14:useLocalDpi xmlns:a14="http://schemas.microsoft.com/office/drawing/2010/main" val="0"/>
              </a:ext>
            </a:extLst>
          </a:blip>
          <a:srcRect l="7388" t="8661" r="6539" b="10474"/>
          <a:stretch/>
        </p:blipFill>
        <p:spPr>
          <a:xfrm>
            <a:off x="3219966" y="2018955"/>
            <a:ext cx="1172647" cy="786921"/>
          </a:xfrm>
          <a:prstGeom prst="rect">
            <a:avLst/>
          </a:prstGeom>
        </p:spPr>
      </p:pic>
    </p:spTree>
    <p:extLst>
      <p:ext uri="{BB962C8B-B14F-4D97-AF65-F5344CB8AC3E}">
        <p14:creationId xmlns:p14="http://schemas.microsoft.com/office/powerpoint/2010/main" val="7545746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70634-773F-DEFA-F72C-CDA6E153FED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D187A21-1729-BA4B-92B0-86A8141733EA}"/>
              </a:ext>
            </a:extLst>
          </p:cNvPr>
          <p:cNvSpPr>
            <a:spLocks noGrp="1"/>
          </p:cNvSpPr>
          <p:nvPr>
            <p:ph type="body" sz="quarter" idx="21"/>
          </p:nvPr>
        </p:nvSpPr>
        <p:spPr>
          <a:xfrm>
            <a:off x="244806" y="621746"/>
            <a:ext cx="8642350" cy="422275"/>
          </a:xfrm>
        </p:spPr>
        <p:txBody>
          <a:bodyPr vert="horz" lIns="91440" tIns="45720" rIns="91440" bIns="45720" rtlCol="0" anchor="t">
            <a:normAutofit/>
          </a:bodyPr>
          <a:lstStyle/>
          <a:p>
            <a:r>
              <a:rPr lang="en-US" b="1"/>
              <a:t>Strategies, Weaknesses, Opportunities, Threats</a:t>
            </a:r>
          </a:p>
        </p:txBody>
      </p:sp>
      <p:sp>
        <p:nvSpPr>
          <p:cNvPr id="4" name="Title 3">
            <a:extLst>
              <a:ext uri="{FF2B5EF4-FFF2-40B4-BE49-F238E27FC236}">
                <a16:creationId xmlns:a16="http://schemas.microsoft.com/office/drawing/2014/main" id="{3CE8B7BE-EB4D-C195-8714-77343E850288}"/>
              </a:ext>
            </a:extLst>
          </p:cNvPr>
          <p:cNvSpPr>
            <a:spLocks noGrp="1"/>
          </p:cNvSpPr>
          <p:nvPr>
            <p:ph type="title"/>
          </p:nvPr>
        </p:nvSpPr>
        <p:spPr/>
        <p:txBody>
          <a:bodyPr/>
          <a:lstStyle/>
          <a:p>
            <a:r>
              <a:rPr lang="en-US">
                <a:solidFill>
                  <a:schemeClr val="tx2"/>
                </a:solidFill>
              </a:rPr>
              <a:t>SWOT Analysis APP</a:t>
            </a:r>
          </a:p>
        </p:txBody>
      </p:sp>
      <p:sp>
        <p:nvSpPr>
          <p:cNvPr id="49" name="Rectangle 48">
            <a:extLst>
              <a:ext uri="{FF2B5EF4-FFF2-40B4-BE49-F238E27FC236}">
                <a16:creationId xmlns:a16="http://schemas.microsoft.com/office/drawing/2014/main" id="{5A9A0174-B59C-FE1F-9E09-9D8DE6E3000E}"/>
              </a:ext>
            </a:extLst>
          </p:cNvPr>
          <p:cNvSpPr/>
          <p:nvPr/>
        </p:nvSpPr>
        <p:spPr>
          <a:xfrm>
            <a:off x="344432" y="1714253"/>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Strong Market Position</a:t>
            </a:r>
            <a:endParaRPr lang="en-US" sz="900" b="1">
              <a:solidFill>
                <a:schemeClr val="tx1"/>
              </a:solidFill>
            </a:endParaRPr>
          </a:p>
        </p:txBody>
      </p:sp>
      <p:sp>
        <p:nvSpPr>
          <p:cNvPr id="50" name="Content Placeholder 9">
            <a:extLst>
              <a:ext uri="{FF2B5EF4-FFF2-40B4-BE49-F238E27FC236}">
                <a16:creationId xmlns:a16="http://schemas.microsoft.com/office/drawing/2014/main" id="{4AB7245C-9B9B-0661-A587-D28BE847ED9C}"/>
              </a:ext>
            </a:extLst>
          </p:cNvPr>
          <p:cNvSpPr txBox="1">
            <a:spLocks/>
          </p:cNvSpPr>
          <p:nvPr/>
        </p:nvSpPr>
        <p:spPr>
          <a:xfrm>
            <a:off x="695186" y="4443509"/>
            <a:ext cx="3286111" cy="1778485"/>
          </a:xfrm>
          <a:prstGeom prst="rect">
            <a:avLst/>
          </a:prstGeom>
        </p:spPr>
        <p:txBody>
          <a:bodyPr lIns="91440" tIns="45720" rIns="91440" bIns="45720" anchor="ct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endParaRPr lang="en-US" sz="1400" b="1">
              <a:cs typeface="Arial"/>
            </a:endParaRPr>
          </a:p>
          <a:p>
            <a:pPr marL="0" indent="0" algn="ctr">
              <a:lnSpc>
                <a:spcPct val="100000"/>
              </a:lnSpc>
              <a:spcBef>
                <a:spcPts val="0"/>
              </a:spcBef>
              <a:buNone/>
            </a:pPr>
            <a:endParaRPr lang="en-US" sz="1400" b="1">
              <a:cs typeface="Arial"/>
            </a:endParaRPr>
          </a:p>
        </p:txBody>
      </p:sp>
      <p:sp>
        <p:nvSpPr>
          <p:cNvPr id="55" name="Rectangle 54">
            <a:extLst>
              <a:ext uri="{FF2B5EF4-FFF2-40B4-BE49-F238E27FC236}">
                <a16:creationId xmlns:a16="http://schemas.microsoft.com/office/drawing/2014/main" id="{80925D2B-6C6B-E187-79BB-029427A23D94}"/>
              </a:ext>
            </a:extLst>
          </p:cNvPr>
          <p:cNvSpPr/>
          <p:nvPr/>
        </p:nvSpPr>
        <p:spPr>
          <a:xfrm>
            <a:off x="335101" y="2187936"/>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Software Revenue Growth</a:t>
            </a:r>
          </a:p>
        </p:txBody>
      </p:sp>
      <p:sp>
        <p:nvSpPr>
          <p:cNvPr id="56" name="Rectangle 55">
            <a:extLst>
              <a:ext uri="{FF2B5EF4-FFF2-40B4-BE49-F238E27FC236}">
                <a16:creationId xmlns:a16="http://schemas.microsoft.com/office/drawing/2014/main" id="{315F5284-8A08-C13E-CE0F-D3D9315EE917}"/>
              </a:ext>
            </a:extLst>
          </p:cNvPr>
          <p:cNvSpPr/>
          <p:nvPr/>
        </p:nvSpPr>
        <p:spPr>
          <a:xfrm>
            <a:off x="342684" y="2659905"/>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High Retention of Clients</a:t>
            </a:r>
            <a:endParaRPr lang="en-US" sz="900" b="1">
              <a:solidFill>
                <a:schemeClr val="tx1"/>
              </a:solidFill>
            </a:endParaRPr>
          </a:p>
        </p:txBody>
      </p:sp>
      <p:sp>
        <p:nvSpPr>
          <p:cNvPr id="57" name="Rectangle 56">
            <a:extLst>
              <a:ext uri="{FF2B5EF4-FFF2-40B4-BE49-F238E27FC236}">
                <a16:creationId xmlns:a16="http://schemas.microsoft.com/office/drawing/2014/main" id="{38875906-ACE6-DA08-FE5B-DB85EC2AE5AD}"/>
              </a:ext>
            </a:extLst>
          </p:cNvPr>
          <p:cNvSpPr/>
          <p:nvPr/>
        </p:nvSpPr>
        <p:spPr>
          <a:xfrm>
            <a:off x="353979" y="4093758"/>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Growth in Mobile Ad Spending</a:t>
            </a:r>
            <a:endParaRPr lang="en-US" sz="900" b="1">
              <a:solidFill>
                <a:schemeClr val="tx1"/>
              </a:solidFill>
            </a:endParaRPr>
          </a:p>
        </p:txBody>
      </p:sp>
      <p:sp>
        <p:nvSpPr>
          <p:cNvPr id="58" name="Rectangle 57">
            <a:extLst>
              <a:ext uri="{FF2B5EF4-FFF2-40B4-BE49-F238E27FC236}">
                <a16:creationId xmlns:a16="http://schemas.microsoft.com/office/drawing/2014/main" id="{506E1156-3DE7-9C4E-9EFB-91452AF28C28}"/>
              </a:ext>
            </a:extLst>
          </p:cNvPr>
          <p:cNvSpPr/>
          <p:nvPr/>
        </p:nvSpPr>
        <p:spPr>
          <a:xfrm>
            <a:off x="344648" y="4567441"/>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Expansion into non-gaming Sectors</a:t>
            </a:r>
          </a:p>
        </p:txBody>
      </p:sp>
      <p:sp>
        <p:nvSpPr>
          <p:cNvPr id="59" name="Rectangle 58">
            <a:extLst>
              <a:ext uri="{FF2B5EF4-FFF2-40B4-BE49-F238E27FC236}">
                <a16:creationId xmlns:a16="http://schemas.microsoft.com/office/drawing/2014/main" id="{729426D5-804E-B083-5C74-8987D821A83E}"/>
              </a:ext>
            </a:extLst>
          </p:cNvPr>
          <p:cNvSpPr/>
          <p:nvPr/>
        </p:nvSpPr>
        <p:spPr>
          <a:xfrm>
            <a:off x="352231" y="5039410"/>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Increased AI Integration</a:t>
            </a:r>
            <a:endParaRPr lang="en-US" sz="900" b="1">
              <a:solidFill>
                <a:schemeClr val="tx1"/>
              </a:solidFill>
            </a:endParaRPr>
          </a:p>
        </p:txBody>
      </p:sp>
      <p:sp>
        <p:nvSpPr>
          <p:cNvPr id="60" name="Rectangle 59">
            <a:extLst>
              <a:ext uri="{FF2B5EF4-FFF2-40B4-BE49-F238E27FC236}">
                <a16:creationId xmlns:a16="http://schemas.microsoft.com/office/drawing/2014/main" id="{AFA333C1-B9F9-CB68-72B4-5D8CC1366F33}"/>
              </a:ext>
            </a:extLst>
          </p:cNvPr>
          <p:cNvSpPr/>
          <p:nvPr/>
        </p:nvSpPr>
        <p:spPr>
          <a:xfrm>
            <a:off x="4826962" y="1707862"/>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Regulatory and Privacy Risks</a:t>
            </a:r>
            <a:endParaRPr lang="en-US" sz="900" b="1">
              <a:solidFill>
                <a:schemeClr val="tx1"/>
              </a:solidFill>
            </a:endParaRPr>
          </a:p>
        </p:txBody>
      </p:sp>
      <p:sp>
        <p:nvSpPr>
          <p:cNvPr id="64" name="Rectangle 63">
            <a:extLst>
              <a:ext uri="{FF2B5EF4-FFF2-40B4-BE49-F238E27FC236}">
                <a16:creationId xmlns:a16="http://schemas.microsoft.com/office/drawing/2014/main" id="{9C87AA95-F460-BDD0-EC13-661E2A878D74}"/>
              </a:ext>
            </a:extLst>
          </p:cNvPr>
          <p:cNvSpPr/>
          <p:nvPr/>
        </p:nvSpPr>
        <p:spPr>
          <a:xfrm>
            <a:off x="4817631" y="2181545"/>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Competition with Large Tech </a:t>
            </a:r>
          </a:p>
        </p:txBody>
      </p:sp>
      <p:sp>
        <p:nvSpPr>
          <p:cNvPr id="65" name="Rectangle 64">
            <a:extLst>
              <a:ext uri="{FF2B5EF4-FFF2-40B4-BE49-F238E27FC236}">
                <a16:creationId xmlns:a16="http://schemas.microsoft.com/office/drawing/2014/main" id="{B0F82CAC-20D0-6BFC-C434-1958006CA9A6}"/>
              </a:ext>
            </a:extLst>
          </p:cNvPr>
          <p:cNvSpPr/>
          <p:nvPr/>
        </p:nvSpPr>
        <p:spPr>
          <a:xfrm>
            <a:off x="4825214" y="2653514"/>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High R&amp;D</a:t>
            </a:r>
            <a:endParaRPr lang="en-US" sz="900" b="1">
              <a:solidFill>
                <a:schemeClr val="tx1"/>
              </a:solidFill>
            </a:endParaRPr>
          </a:p>
        </p:txBody>
      </p:sp>
      <p:sp>
        <p:nvSpPr>
          <p:cNvPr id="66" name="Rectangle 65">
            <a:extLst>
              <a:ext uri="{FF2B5EF4-FFF2-40B4-BE49-F238E27FC236}">
                <a16:creationId xmlns:a16="http://schemas.microsoft.com/office/drawing/2014/main" id="{76EB23F2-1BAA-EB00-A4DE-6D91E8AA8582}"/>
              </a:ext>
            </a:extLst>
          </p:cNvPr>
          <p:cNvSpPr/>
          <p:nvPr/>
        </p:nvSpPr>
        <p:spPr>
          <a:xfrm>
            <a:off x="4820004" y="4097111"/>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Economic Downturn</a:t>
            </a:r>
            <a:endParaRPr lang="en-US" sz="900" b="1">
              <a:solidFill>
                <a:schemeClr val="tx1"/>
              </a:solidFill>
            </a:endParaRPr>
          </a:p>
        </p:txBody>
      </p:sp>
      <p:sp>
        <p:nvSpPr>
          <p:cNvPr id="67" name="Rectangle 66">
            <a:extLst>
              <a:ext uri="{FF2B5EF4-FFF2-40B4-BE49-F238E27FC236}">
                <a16:creationId xmlns:a16="http://schemas.microsoft.com/office/drawing/2014/main" id="{C2BB1C63-4F96-DE67-BA8C-5F108C0EFEEE}"/>
              </a:ext>
            </a:extLst>
          </p:cNvPr>
          <p:cNvSpPr/>
          <p:nvPr/>
        </p:nvSpPr>
        <p:spPr>
          <a:xfrm>
            <a:off x="4810673" y="4570794"/>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Regulatory Challenge</a:t>
            </a:r>
          </a:p>
        </p:txBody>
      </p:sp>
      <p:sp>
        <p:nvSpPr>
          <p:cNvPr id="68" name="Rectangle 67">
            <a:extLst>
              <a:ext uri="{FF2B5EF4-FFF2-40B4-BE49-F238E27FC236}">
                <a16:creationId xmlns:a16="http://schemas.microsoft.com/office/drawing/2014/main" id="{51BF1A7D-743A-D0E6-2387-D67EA51CCD24}"/>
              </a:ext>
            </a:extLst>
          </p:cNvPr>
          <p:cNvSpPr/>
          <p:nvPr/>
        </p:nvSpPr>
        <p:spPr>
          <a:xfrm>
            <a:off x="4818256" y="5042763"/>
            <a:ext cx="3950646" cy="417693"/>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100000"/>
              </a:lnSpc>
              <a:spcBef>
                <a:spcPts val="0"/>
              </a:spcBef>
              <a:buNone/>
            </a:pPr>
            <a:r>
              <a:rPr lang="en-US" sz="900" b="1">
                <a:solidFill>
                  <a:schemeClr val="tx1"/>
                </a:solidFill>
                <a:cs typeface="Arial"/>
              </a:rPr>
              <a:t>Regulatory Challenge</a:t>
            </a:r>
          </a:p>
        </p:txBody>
      </p:sp>
      <p:cxnSp>
        <p:nvCxnSpPr>
          <p:cNvPr id="12" name="Straight Connector 11">
            <a:extLst>
              <a:ext uri="{FF2B5EF4-FFF2-40B4-BE49-F238E27FC236}">
                <a16:creationId xmlns:a16="http://schemas.microsoft.com/office/drawing/2014/main" id="{3A86E42B-4785-6206-7188-6ED332E8670B}"/>
              </a:ext>
            </a:extLst>
          </p:cNvPr>
          <p:cNvCxnSpPr>
            <a:cxnSpLocks/>
          </p:cNvCxnSpPr>
          <p:nvPr/>
        </p:nvCxnSpPr>
        <p:spPr>
          <a:xfrm>
            <a:off x="4572000" y="1349815"/>
            <a:ext cx="0" cy="4114013"/>
          </a:xfrm>
          <a:prstGeom prst="line">
            <a:avLst/>
          </a:prstGeom>
          <a:ln w="60325"/>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0E41A0F-43C7-71DF-3F43-AD79586B212B}"/>
              </a:ext>
            </a:extLst>
          </p:cNvPr>
          <p:cNvCxnSpPr>
            <a:cxnSpLocks/>
          </p:cNvCxnSpPr>
          <p:nvPr/>
        </p:nvCxnSpPr>
        <p:spPr>
          <a:xfrm flipH="1">
            <a:off x="335101" y="3429000"/>
            <a:ext cx="8442507" cy="0"/>
          </a:xfrm>
          <a:prstGeom prst="line">
            <a:avLst/>
          </a:prstGeom>
          <a:ln w="60325"/>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31F2B537-8905-05FD-07AB-A48E9A924D9B}"/>
              </a:ext>
            </a:extLst>
          </p:cNvPr>
          <p:cNvSpPr/>
          <p:nvPr/>
        </p:nvSpPr>
        <p:spPr>
          <a:xfrm>
            <a:off x="4816508" y="1361104"/>
            <a:ext cx="3947152" cy="2904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cs typeface="Arial"/>
              </a:rPr>
              <a:t>Weaknesses</a:t>
            </a:r>
          </a:p>
        </p:txBody>
      </p:sp>
      <p:sp>
        <p:nvSpPr>
          <p:cNvPr id="70" name="Rectangle 69">
            <a:extLst>
              <a:ext uri="{FF2B5EF4-FFF2-40B4-BE49-F238E27FC236}">
                <a16:creationId xmlns:a16="http://schemas.microsoft.com/office/drawing/2014/main" id="{B67FDAF7-8B37-77D4-432C-6F026496F523}"/>
              </a:ext>
            </a:extLst>
          </p:cNvPr>
          <p:cNvSpPr/>
          <p:nvPr/>
        </p:nvSpPr>
        <p:spPr>
          <a:xfrm>
            <a:off x="351228" y="3704447"/>
            <a:ext cx="3949060" cy="3335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cs typeface="Arial"/>
              </a:rPr>
              <a:t>Opportunities</a:t>
            </a:r>
          </a:p>
        </p:txBody>
      </p:sp>
      <p:sp>
        <p:nvSpPr>
          <p:cNvPr id="71" name="Rectangle 70">
            <a:extLst>
              <a:ext uri="{FF2B5EF4-FFF2-40B4-BE49-F238E27FC236}">
                <a16:creationId xmlns:a16="http://schemas.microsoft.com/office/drawing/2014/main" id="{F2B66F98-8D62-4536-D81F-0CA4CAE8C916}"/>
              </a:ext>
            </a:extLst>
          </p:cNvPr>
          <p:cNvSpPr/>
          <p:nvPr/>
        </p:nvSpPr>
        <p:spPr>
          <a:xfrm>
            <a:off x="4832636" y="3704447"/>
            <a:ext cx="3949060" cy="3335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cs typeface="Arial"/>
              </a:rPr>
              <a:t>Threats</a:t>
            </a:r>
          </a:p>
        </p:txBody>
      </p:sp>
      <p:sp>
        <p:nvSpPr>
          <p:cNvPr id="72" name="Rectangle 71">
            <a:extLst>
              <a:ext uri="{FF2B5EF4-FFF2-40B4-BE49-F238E27FC236}">
                <a16:creationId xmlns:a16="http://schemas.microsoft.com/office/drawing/2014/main" id="{750F8882-1DDE-FD55-2C73-035FE3AF3355}"/>
              </a:ext>
            </a:extLst>
          </p:cNvPr>
          <p:cNvSpPr/>
          <p:nvPr/>
        </p:nvSpPr>
        <p:spPr>
          <a:xfrm>
            <a:off x="343014" y="1357531"/>
            <a:ext cx="3947152" cy="2904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cs typeface="Arial"/>
              </a:rPr>
              <a:t>Strengths</a:t>
            </a:r>
          </a:p>
        </p:txBody>
      </p:sp>
    </p:spTree>
    <p:extLst>
      <p:ext uri="{BB962C8B-B14F-4D97-AF65-F5344CB8AC3E}">
        <p14:creationId xmlns:p14="http://schemas.microsoft.com/office/powerpoint/2010/main" val="5406441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F07FA6-E68B-3F36-9333-DB6524E354E6}"/>
            </a:ext>
          </a:extLst>
        </p:cNvPr>
        <p:cNvGrpSpPr/>
        <p:nvPr/>
      </p:nvGrpSpPr>
      <p:grpSpPr>
        <a:xfrm>
          <a:off x="0" y="0"/>
          <a:ext cx="0" cy="0"/>
          <a:chOff x="0" y="0"/>
          <a:chExt cx="0" cy="0"/>
        </a:xfrm>
      </p:grpSpPr>
      <p:sp>
        <p:nvSpPr>
          <p:cNvPr id="31" name="Rectangle 30">
            <a:extLst>
              <a:ext uri="{FF2B5EF4-FFF2-40B4-BE49-F238E27FC236}">
                <a16:creationId xmlns:a16="http://schemas.microsoft.com/office/drawing/2014/main" id="{66920EFA-5FFC-594C-B0F2-476E46F243FE}"/>
              </a:ext>
            </a:extLst>
          </p:cNvPr>
          <p:cNvSpPr/>
          <p:nvPr/>
        </p:nvSpPr>
        <p:spPr>
          <a:xfrm>
            <a:off x="4692764" y="1449943"/>
            <a:ext cx="4198034" cy="4522051"/>
          </a:xfrm>
          <a:prstGeom prst="rect">
            <a:avLst/>
          </a:prstGeom>
          <a:solidFill>
            <a:schemeClr val="tx2">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10" name="Text Placeholder 9">
            <a:extLst>
              <a:ext uri="{FF2B5EF4-FFF2-40B4-BE49-F238E27FC236}">
                <a16:creationId xmlns:a16="http://schemas.microsoft.com/office/drawing/2014/main" id="{2B78F9F8-FF44-5A62-5BD4-8BA73BF69045}"/>
              </a:ext>
            </a:extLst>
          </p:cNvPr>
          <p:cNvSpPr>
            <a:spLocks noGrp="1"/>
          </p:cNvSpPr>
          <p:nvPr>
            <p:ph type="body" sz="quarter" idx="21"/>
          </p:nvPr>
        </p:nvSpPr>
        <p:spPr/>
        <p:txBody>
          <a:bodyPr/>
          <a:lstStyle/>
          <a:p>
            <a:r>
              <a:rPr lang="en-US"/>
              <a:t>Increased Software Industry Exposure</a:t>
            </a:r>
          </a:p>
        </p:txBody>
      </p:sp>
      <p:sp>
        <p:nvSpPr>
          <p:cNvPr id="7" name="Title 6">
            <a:extLst>
              <a:ext uri="{FF2B5EF4-FFF2-40B4-BE49-F238E27FC236}">
                <a16:creationId xmlns:a16="http://schemas.microsoft.com/office/drawing/2014/main" id="{09A9939C-C644-22DD-3614-4D49CF27F217}"/>
              </a:ext>
            </a:extLst>
          </p:cNvPr>
          <p:cNvSpPr>
            <a:spLocks noGrp="1"/>
          </p:cNvSpPr>
          <p:nvPr>
            <p:ph type="title"/>
          </p:nvPr>
        </p:nvSpPr>
        <p:spPr/>
        <p:txBody>
          <a:bodyPr/>
          <a:lstStyle/>
          <a:p>
            <a:r>
              <a:rPr lang="en-US"/>
              <a:t>Strategic Product Offerings</a:t>
            </a:r>
          </a:p>
        </p:txBody>
      </p:sp>
      <p:sp>
        <p:nvSpPr>
          <p:cNvPr id="11" name="Rectangle 10">
            <a:extLst>
              <a:ext uri="{FF2B5EF4-FFF2-40B4-BE49-F238E27FC236}">
                <a16:creationId xmlns:a16="http://schemas.microsoft.com/office/drawing/2014/main" id="{946BBCFA-6E0A-9A95-B647-BCADC65D3C95}"/>
              </a:ext>
            </a:extLst>
          </p:cNvPr>
          <p:cNvSpPr/>
          <p:nvPr/>
        </p:nvSpPr>
        <p:spPr>
          <a:xfrm>
            <a:off x="250825" y="971547"/>
            <a:ext cx="8642350" cy="3566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1400" b="1"/>
              <a:t>Expanding Reach Through Ads &amp; New Products</a:t>
            </a:r>
          </a:p>
        </p:txBody>
      </p:sp>
      <p:sp>
        <p:nvSpPr>
          <p:cNvPr id="12" name="Rectangle 11">
            <a:extLst>
              <a:ext uri="{FF2B5EF4-FFF2-40B4-BE49-F238E27FC236}">
                <a16:creationId xmlns:a16="http://schemas.microsoft.com/office/drawing/2014/main" id="{FA2B9466-E622-66D7-8D37-36E636844BBC}"/>
              </a:ext>
            </a:extLst>
          </p:cNvPr>
          <p:cNvSpPr/>
          <p:nvPr/>
        </p:nvSpPr>
        <p:spPr>
          <a:xfrm>
            <a:off x="250826" y="1449943"/>
            <a:ext cx="4166778" cy="4522051"/>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19" name="Oval 18">
            <a:extLst>
              <a:ext uri="{FF2B5EF4-FFF2-40B4-BE49-F238E27FC236}">
                <a16:creationId xmlns:a16="http://schemas.microsoft.com/office/drawing/2014/main" id="{C1685A57-2BDF-BC9B-A38C-FD5C8F3D94CB}"/>
              </a:ext>
            </a:extLst>
          </p:cNvPr>
          <p:cNvSpPr/>
          <p:nvPr/>
        </p:nvSpPr>
        <p:spPr>
          <a:xfrm>
            <a:off x="1328883" y="1512375"/>
            <a:ext cx="1952956" cy="2000861"/>
          </a:xfrm>
          <a:prstGeom prst="ellipse">
            <a:avLst/>
          </a:prstGeom>
          <a:solidFill>
            <a:srgbClr val="102C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Table Placeholder 8">
            <a:extLst>
              <a:ext uri="{FF2B5EF4-FFF2-40B4-BE49-F238E27FC236}">
                <a16:creationId xmlns:a16="http://schemas.microsoft.com/office/drawing/2014/main" id="{6FF000F5-F3AD-F6E1-0A2C-3356F4E108FC}"/>
              </a:ext>
            </a:extLst>
          </p:cNvPr>
          <p:cNvSpPr>
            <a:spLocks noGrp="1"/>
          </p:cNvSpPr>
          <p:nvPr>
            <p:ph type="tbl" sz="quarter" idx="14"/>
          </p:nvPr>
        </p:nvSpPr>
        <p:spPr>
          <a:xfrm>
            <a:off x="1751833" y="2215033"/>
            <a:ext cx="1107056" cy="420497"/>
          </a:xfrm>
        </p:spPr>
        <p:txBody>
          <a:bodyPr vert="horz" lIns="91440" tIns="45720" rIns="91440" bIns="45720" rtlCol="0">
            <a:noAutofit/>
          </a:bodyPr>
          <a:lstStyle/>
          <a:p>
            <a:pPr marL="0" indent="0" algn="ctr">
              <a:lnSpc>
                <a:spcPct val="100000"/>
              </a:lnSpc>
              <a:buNone/>
            </a:pPr>
            <a:r>
              <a:rPr lang="en-US" sz="1200" b="1">
                <a:solidFill>
                  <a:srgbClr val="D8FAE5"/>
                </a:solidFill>
              </a:rPr>
              <a:t>Ad Industry Domination</a:t>
            </a:r>
          </a:p>
          <a:p>
            <a:pPr marL="448945" lvl="1" algn="ctr">
              <a:lnSpc>
                <a:spcPct val="100000"/>
              </a:lnSpc>
              <a:buFont typeface="Courier New" panose="05000000000000000000" pitchFamily="2" charset="2"/>
              <a:buChar char="o"/>
            </a:pPr>
            <a:endParaRPr lang="en-US" sz="1200" b="1"/>
          </a:p>
          <a:p>
            <a:pPr marL="448945" algn="ctr">
              <a:lnSpc>
                <a:spcPct val="100000"/>
              </a:lnSpc>
            </a:pPr>
            <a:endParaRPr lang="en-US" sz="1200" b="1"/>
          </a:p>
        </p:txBody>
      </p:sp>
      <p:sp>
        <p:nvSpPr>
          <p:cNvPr id="23" name="Oval 22">
            <a:extLst>
              <a:ext uri="{FF2B5EF4-FFF2-40B4-BE49-F238E27FC236}">
                <a16:creationId xmlns:a16="http://schemas.microsoft.com/office/drawing/2014/main" id="{B35C1B97-0281-3D00-0020-BE2E82DCB714}"/>
              </a:ext>
            </a:extLst>
          </p:cNvPr>
          <p:cNvSpPr/>
          <p:nvPr/>
        </p:nvSpPr>
        <p:spPr>
          <a:xfrm>
            <a:off x="5833662" y="1512375"/>
            <a:ext cx="1952956" cy="2000861"/>
          </a:xfrm>
          <a:prstGeom prst="ellipse">
            <a:avLst/>
          </a:prstGeom>
          <a:solidFill>
            <a:srgbClr val="102C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4" name="Oval 23">
            <a:extLst>
              <a:ext uri="{FF2B5EF4-FFF2-40B4-BE49-F238E27FC236}">
                <a16:creationId xmlns:a16="http://schemas.microsoft.com/office/drawing/2014/main" id="{B4A991DE-62E6-F96C-9272-D48646FF4DCD}"/>
              </a:ext>
            </a:extLst>
          </p:cNvPr>
          <p:cNvSpPr/>
          <p:nvPr/>
        </p:nvSpPr>
        <p:spPr>
          <a:xfrm>
            <a:off x="1328883" y="3879091"/>
            <a:ext cx="1952956" cy="2000860"/>
          </a:xfrm>
          <a:prstGeom prst="ellipse">
            <a:avLst/>
          </a:prstGeom>
          <a:solidFill>
            <a:srgbClr val="008864"/>
          </a:solidFill>
          <a:ln>
            <a:solidFill>
              <a:srgbClr val="102C2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aseline="0">
                <a:solidFill>
                  <a:srgbClr val="FFFFFF"/>
                </a:solidFill>
                <a:latin typeface="Arial"/>
              </a:rPr>
              <a:t>Integrate </a:t>
            </a:r>
            <a:r>
              <a:rPr lang="en-US" sz="1050" baseline="0" err="1">
                <a:solidFill>
                  <a:srgbClr val="FFFFFF"/>
                </a:solidFill>
                <a:latin typeface="Arial"/>
              </a:rPr>
              <a:t>AppLovin</a:t>
            </a:r>
            <a:r>
              <a:rPr lang="en-US" sz="1050" baseline="0">
                <a:solidFill>
                  <a:srgbClr val="FFFFFF"/>
                </a:solidFill>
                <a:latin typeface="Arial"/>
              </a:rPr>
              <a:t> software into the categories of </a:t>
            </a:r>
            <a:r>
              <a:rPr lang="en-US" sz="1050" b="1" baseline="0">
                <a:solidFill>
                  <a:srgbClr val="FFFFFF"/>
                </a:solidFill>
                <a:latin typeface="Arial"/>
              </a:rPr>
              <a:t>"start" </a:t>
            </a:r>
            <a:r>
              <a:rPr lang="en-US" sz="1050" baseline="0">
                <a:solidFill>
                  <a:srgbClr val="FFFFFF"/>
                </a:solidFill>
                <a:latin typeface="Arial"/>
              </a:rPr>
              <a:t>and </a:t>
            </a:r>
            <a:r>
              <a:rPr lang="en-US" sz="1050" b="1" baseline="0">
                <a:solidFill>
                  <a:srgbClr val="FFFFFF"/>
                </a:solidFill>
                <a:latin typeface="Arial"/>
              </a:rPr>
              <a:t>"market" </a:t>
            </a:r>
            <a:r>
              <a:rPr lang="en-US" sz="1050" baseline="0">
                <a:solidFill>
                  <a:srgbClr val="FFFFFF"/>
                </a:solidFill>
                <a:latin typeface="Arial"/>
              </a:rPr>
              <a:t>on the website </a:t>
            </a:r>
            <a:r>
              <a:rPr lang="en-US" sz="1050">
                <a:solidFill>
                  <a:srgbClr val="FFFFFF"/>
                </a:solidFill>
                <a:latin typeface="Arial"/>
              </a:rPr>
              <a:t> </a:t>
            </a:r>
            <a:r>
              <a:rPr lang="en-US" sz="1050" baseline="0">
                <a:solidFill>
                  <a:srgbClr val="FFFFFF"/>
                </a:solidFill>
                <a:latin typeface="Arial"/>
              </a:rPr>
              <a:t>to optimize tools for a wider population</a:t>
            </a:r>
            <a:endParaRPr lang="en-US" sz="2400"/>
          </a:p>
        </p:txBody>
      </p:sp>
      <p:sp>
        <p:nvSpPr>
          <p:cNvPr id="25" name="TextBox 24">
            <a:extLst>
              <a:ext uri="{FF2B5EF4-FFF2-40B4-BE49-F238E27FC236}">
                <a16:creationId xmlns:a16="http://schemas.microsoft.com/office/drawing/2014/main" id="{DB11B5D4-A27D-EC8D-579B-F62D68B4B927}"/>
              </a:ext>
            </a:extLst>
          </p:cNvPr>
          <p:cNvSpPr txBox="1"/>
          <p:nvPr/>
        </p:nvSpPr>
        <p:spPr>
          <a:xfrm>
            <a:off x="6029224" y="2215033"/>
            <a:ext cx="1593284" cy="461665"/>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200" b="1">
                <a:solidFill>
                  <a:srgbClr val="D8FAE5"/>
                </a:solidFill>
                <a:cs typeface="Arial"/>
              </a:rPr>
              <a:t>New Product Offerings</a:t>
            </a:r>
          </a:p>
        </p:txBody>
      </p:sp>
      <p:sp>
        <p:nvSpPr>
          <p:cNvPr id="22" name="Oval 21">
            <a:extLst>
              <a:ext uri="{FF2B5EF4-FFF2-40B4-BE49-F238E27FC236}">
                <a16:creationId xmlns:a16="http://schemas.microsoft.com/office/drawing/2014/main" id="{16F5E0C7-E821-7721-F854-ACFDF289F513}"/>
              </a:ext>
            </a:extLst>
          </p:cNvPr>
          <p:cNvSpPr/>
          <p:nvPr/>
        </p:nvSpPr>
        <p:spPr>
          <a:xfrm>
            <a:off x="5815303" y="3879091"/>
            <a:ext cx="1952956" cy="2000860"/>
          </a:xfrm>
          <a:prstGeom prst="ellipse">
            <a:avLst/>
          </a:prstGeom>
          <a:solidFill>
            <a:srgbClr val="008864"/>
          </a:solidFill>
          <a:ln>
            <a:solidFill>
              <a:srgbClr val="102C2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cs typeface="Arial"/>
              </a:rPr>
              <a:t>Expanding into a 213.91-Billion-dollar industry that Shopify had not touched on previously by offering these new products for developers and business owners</a:t>
            </a:r>
          </a:p>
        </p:txBody>
      </p:sp>
      <p:sp>
        <p:nvSpPr>
          <p:cNvPr id="44" name="Double Bracket 43">
            <a:extLst>
              <a:ext uri="{FF2B5EF4-FFF2-40B4-BE49-F238E27FC236}">
                <a16:creationId xmlns:a16="http://schemas.microsoft.com/office/drawing/2014/main" id="{314E9630-EAF6-738E-63F9-9C5E2DE4ACF7}"/>
              </a:ext>
            </a:extLst>
          </p:cNvPr>
          <p:cNvSpPr/>
          <p:nvPr/>
        </p:nvSpPr>
        <p:spPr>
          <a:xfrm>
            <a:off x="623420" y="2352547"/>
            <a:ext cx="3363881" cy="2526974"/>
          </a:xfrm>
          <a:prstGeom prst="bracketPair">
            <a:avLst/>
          </a:prstGeom>
          <a:ln>
            <a:solidFill>
              <a:srgbClr val="102C23"/>
            </a:solidFill>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CA"/>
          </a:p>
        </p:txBody>
      </p:sp>
      <p:sp>
        <p:nvSpPr>
          <p:cNvPr id="45" name="Double Bracket 44">
            <a:extLst>
              <a:ext uri="{FF2B5EF4-FFF2-40B4-BE49-F238E27FC236}">
                <a16:creationId xmlns:a16="http://schemas.microsoft.com/office/drawing/2014/main" id="{BADCCDE6-2632-35C7-1B32-4CE2326C9FD1}"/>
              </a:ext>
            </a:extLst>
          </p:cNvPr>
          <p:cNvSpPr/>
          <p:nvPr/>
        </p:nvSpPr>
        <p:spPr>
          <a:xfrm>
            <a:off x="5128199" y="2352547"/>
            <a:ext cx="3363881" cy="2526974"/>
          </a:xfrm>
          <a:prstGeom prst="bracketPair">
            <a:avLst/>
          </a:prstGeom>
          <a:noFill/>
          <a:ln>
            <a:solidFill>
              <a:schemeClr val="accent1"/>
            </a:solidFill>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CA"/>
          </a:p>
        </p:txBody>
      </p:sp>
      <p:cxnSp>
        <p:nvCxnSpPr>
          <p:cNvPr id="47" name="Straight Connector 46">
            <a:extLst>
              <a:ext uri="{FF2B5EF4-FFF2-40B4-BE49-F238E27FC236}">
                <a16:creationId xmlns:a16="http://schemas.microsoft.com/office/drawing/2014/main" id="{84CE12A2-4B85-EA71-0DEC-AC6F41C26FDF}"/>
              </a:ext>
            </a:extLst>
          </p:cNvPr>
          <p:cNvCxnSpPr>
            <a:cxnSpLocks/>
          </p:cNvCxnSpPr>
          <p:nvPr/>
        </p:nvCxnSpPr>
        <p:spPr>
          <a:xfrm>
            <a:off x="4551680" y="1449943"/>
            <a:ext cx="0" cy="4522051"/>
          </a:xfrm>
          <a:prstGeom prst="line">
            <a:avLst/>
          </a:prstGeom>
          <a:ln>
            <a:solidFill>
              <a:srgbClr val="3F685E"/>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6591313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832F5A-6C63-79A2-0118-61FE6176160A}"/>
              </a:ext>
            </a:extLst>
          </p:cNvPr>
          <p:cNvSpPr>
            <a:spLocks noGrp="1"/>
          </p:cNvSpPr>
          <p:nvPr>
            <p:ph type="body" sz="quarter" idx="21"/>
          </p:nvPr>
        </p:nvSpPr>
        <p:spPr/>
        <p:txBody>
          <a:bodyPr vert="horz" lIns="91440" tIns="45720" rIns="91440" bIns="45720" rtlCol="0" anchor="t">
            <a:normAutofit/>
          </a:bodyPr>
          <a:lstStyle/>
          <a:p>
            <a:r>
              <a:rPr lang="en-US">
                <a:ea typeface="+mj-lt"/>
                <a:cs typeface="+mj-lt"/>
              </a:rPr>
              <a:t>From Carts to Charts: Scaling with Smart Synergies</a:t>
            </a:r>
            <a:endParaRPr lang="en-US"/>
          </a:p>
        </p:txBody>
      </p:sp>
      <p:graphicFrame>
        <p:nvGraphicFramePr>
          <p:cNvPr id="13" name="Table Placeholder 12">
            <a:extLst>
              <a:ext uri="{FF2B5EF4-FFF2-40B4-BE49-F238E27FC236}">
                <a16:creationId xmlns:a16="http://schemas.microsoft.com/office/drawing/2014/main" id="{3AE01B04-D30D-0543-8971-49EB375687B8}"/>
              </a:ext>
            </a:extLst>
          </p:cNvPr>
          <p:cNvGraphicFramePr>
            <a:graphicFrameLocks noGrp="1"/>
          </p:cNvGraphicFramePr>
          <p:nvPr>
            <p:ph type="tbl" sz="quarter" idx="14"/>
            <p:extLst>
              <p:ext uri="{D42A27DB-BD31-4B8C-83A1-F6EECF244321}">
                <p14:modId xmlns:p14="http://schemas.microsoft.com/office/powerpoint/2010/main" val="1745771069"/>
              </p:ext>
            </p:extLst>
          </p:nvPr>
        </p:nvGraphicFramePr>
        <p:xfrm>
          <a:off x="250902" y="1904278"/>
          <a:ext cx="8642349" cy="3791316"/>
        </p:xfrm>
        <a:graphic>
          <a:graphicData uri="http://schemas.openxmlformats.org/drawingml/2006/table">
            <a:tbl>
              <a:tblPr firstRow="1" bandRow="1">
                <a:tableStyleId>{2D5ABB26-0587-4C30-8999-92F81FD0307C}</a:tableStyleId>
              </a:tblPr>
              <a:tblGrid>
                <a:gridCol w="2880783">
                  <a:extLst>
                    <a:ext uri="{9D8B030D-6E8A-4147-A177-3AD203B41FA5}">
                      <a16:colId xmlns:a16="http://schemas.microsoft.com/office/drawing/2014/main" val="1976260334"/>
                    </a:ext>
                  </a:extLst>
                </a:gridCol>
                <a:gridCol w="2880783">
                  <a:extLst>
                    <a:ext uri="{9D8B030D-6E8A-4147-A177-3AD203B41FA5}">
                      <a16:colId xmlns:a16="http://schemas.microsoft.com/office/drawing/2014/main" val="876213454"/>
                    </a:ext>
                  </a:extLst>
                </a:gridCol>
                <a:gridCol w="2880783">
                  <a:extLst>
                    <a:ext uri="{9D8B030D-6E8A-4147-A177-3AD203B41FA5}">
                      <a16:colId xmlns:a16="http://schemas.microsoft.com/office/drawing/2014/main" val="2444831404"/>
                    </a:ext>
                  </a:extLst>
                </a:gridCol>
              </a:tblGrid>
              <a:tr h="1263772">
                <a:tc>
                  <a:txBody>
                    <a:bodyPr/>
                    <a:lstStyle/>
                    <a:p>
                      <a:pPr marL="0" lvl="0" indent="0" algn="ctr">
                        <a:lnSpc>
                          <a:spcPct val="150000"/>
                        </a:lnSpc>
                        <a:spcBef>
                          <a:spcPts val="0"/>
                        </a:spcBef>
                        <a:spcAft>
                          <a:spcPts val="0"/>
                        </a:spcAft>
                        <a:buFont typeface="Wingdings" panose="05000000000000000000" pitchFamily="2" charset="2"/>
                        <a:buNone/>
                      </a:pPr>
                      <a:r>
                        <a:rPr lang="en-US" sz="900" b="1" i="0" u="none" strike="noStrike" noProof="0">
                          <a:solidFill>
                            <a:schemeClr val="tx2"/>
                          </a:solidFill>
                          <a:latin typeface="+mj-lt"/>
                        </a:rPr>
                        <a:t>Shopify AI tools enable:</a:t>
                      </a:r>
                    </a:p>
                    <a:p>
                      <a:pPr marL="0" lvl="0" indent="0" algn="ctr">
                        <a:lnSpc>
                          <a:spcPct val="150000"/>
                        </a:lnSpc>
                        <a:spcBef>
                          <a:spcPts val="0"/>
                        </a:spcBef>
                        <a:spcAft>
                          <a:spcPts val="0"/>
                        </a:spcAft>
                        <a:buFont typeface="Wingdings" panose="05000000000000000000" pitchFamily="2" charset="2"/>
                        <a:buNone/>
                      </a:pPr>
                      <a:r>
                        <a:rPr lang="en-US" sz="900" b="0" i="0" u="none" strike="noStrike" noProof="0">
                          <a:solidFill>
                            <a:schemeClr val="tx2"/>
                          </a:solidFill>
                          <a:latin typeface="+mj-lt"/>
                        </a:rPr>
                        <a:t>Automated product copywriting</a:t>
                      </a:r>
                    </a:p>
                    <a:p>
                      <a:pPr marL="0" lvl="0" indent="0" algn="ctr">
                        <a:lnSpc>
                          <a:spcPct val="150000"/>
                        </a:lnSpc>
                        <a:spcBef>
                          <a:spcPts val="0"/>
                        </a:spcBef>
                        <a:spcAft>
                          <a:spcPts val="0"/>
                        </a:spcAft>
                        <a:buFont typeface="Wingdings" panose="05000000000000000000" pitchFamily="2" charset="2"/>
                        <a:buNone/>
                      </a:pPr>
                      <a:r>
                        <a:rPr lang="en-US" sz="900" b="0" i="0" u="none" strike="noStrike" noProof="0">
                          <a:solidFill>
                            <a:schemeClr val="tx2"/>
                          </a:solidFill>
                          <a:latin typeface="+mj-lt"/>
                        </a:rPr>
                        <a:t>AI-powered customer chat</a:t>
                      </a:r>
                    </a:p>
                    <a:p>
                      <a:pPr marL="0" lvl="0" indent="0" algn="ctr">
                        <a:lnSpc>
                          <a:spcPct val="150000"/>
                        </a:lnSpc>
                        <a:spcBef>
                          <a:spcPts val="0"/>
                        </a:spcBef>
                        <a:spcAft>
                          <a:spcPts val="0"/>
                        </a:spcAft>
                        <a:buFont typeface="Wingdings" panose="05000000000000000000" pitchFamily="2" charset="2"/>
                        <a:buNone/>
                      </a:pPr>
                      <a:r>
                        <a:rPr lang="en-US" sz="900" b="0" i="0" u="none" strike="noStrike" noProof="0">
                          <a:solidFill>
                            <a:schemeClr val="tx2"/>
                          </a:solidFill>
                          <a:latin typeface="+mj-lt"/>
                        </a:rPr>
                        <a:t>Sales and inventory forecasting</a:t>
                      </a:r>
                      <a:endParaRPr lang="en-US" sz="900">
                        <a:solidFill>
                          <a:schemeClr val="tx2"/>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CF7EC"/>
                    </a:solidFill>
                  </a:tcPr>
                </a:tc>
                <a:tc>
                  <a:txBody>
                    <a:bodyPr/>
                    <a:lstStyle/>
                    <a:p>
                      <a:pPr lvl="0" algn="ctr">
                        <a:buNone/>
                      </a:pPr>
                      <a:r>
                        <a:rPr lang="en-US" sz="900" b="1" i="0" u="none" strike="noStrike" noProof="0">
                          <a:solidFill>
                            <a:schemeClr val="bg1"/>
                          </a:solidFill>
                          <a:latin typeface="+mj-lt"/>
                        </a:rPr>
                        <a:t>Advanced AI and Data Analytics</a:t>
                      </a:r>
                      <a:endParaRPr lang="en-US" sz="900" b="1">
                        <a:solidFill>
                          <a:schemeClr val="bg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lvl="0" algn="ctr">
                        <a:lnSpc>
                          <a:spcPct val="150000"/>
                        </a:lnSpc>
                        <a:spcBef>
                          <a:spcPts val="0"/>
                        </a:spcBef>
                        <a:spcAft>
                          <a:spcPts val="0"/>
                        </a:spcAft>
                        <a:buNone/>
                      </a:pPr>
                      <a:r>
                        <a:rPr lang="en-US" sz="900" b="1" i="0" u="none" strike="noStrike" noProof="0">
                          <a:solidFill>
                            <a:schemeClr val="tx2"/>
                          </a:solidFill>
                          <a:latin typeface="+mj-lt"/>
                        </a:rPr>
                        <a:t>Axon AI engine enables:</a:t>
                      </a:r>
                    </a:p>
                    <a:p>
                      <a:pPr lvl="0" algn="ctr">
                        <a:lnSpc>
                          <a:spcPct val="150000"/>
                        </a:lnSpc>
                        <a:spcBef>
                          <a:spcPts val="0"/>
                        </a:spcBef>
                        <a:spcAft>
                          <a:spcPts val="0"/>
                        </a:spcAft>
                        <a:buNone/>
                      </a:pPr>
                      <a:r>
                        <a:rPr lang="en-US" sz="900" b="0" i="0" u="none" strike="noStrike" noProof="0">
                          <a:solidFill>
                            <a:schemeClr val="tx2"/>
                          </a:solidFill>
                          <a:latin typeface="+mj-lt"/>
                        </a:rPr>
                        <a:t>Real-time ad targeting</a:t>
                      </a:r>
                    </a:p>
                    <a:p>
                      <a:pPr lvl="0" algn="ctr">
                        <a:lnSpc>
                          <a:spcPct val="150000"/>
                        </a:lnSpc>
                        <a:spcBef>
                          <a:spcPts val="0"/>
                        </a:spcBef>
                        <a:spcAft>
                          <a:spcPts val="0"/>
                        </a:spcAft>
                        <a:buNone/>
                      </a:pPr>
                      <a:r>
                        <a:rPr lang="en-US" sz="900" b="0" i="0" u="none" strike="noStrike" noProof="0">
                          <a:solidFill>
                            <a:schemeClr val="tx2"/>
                          </a:solidFill>
                          <a:latin typeface="+mj-lt"/>
                        </a:rPr>
                        <a:t>User behavior modeling</a:t>
                      </a:r>
                    </a:p>
                    <a:p>
                      <a:pPr lvl="0" algn="ctr">
                        <a:lnSpc>
                          <a:spcPct val="150000"/>
                        </a:lnSpc>
                        <a:spcBef>
                          <a:spcPts val="0"/>
                        </a:spcBef>
                        <a:spcAft>
                          <a:spcPts val="0"/>
                        </a:spcAft>
                        <a:buNone/>
                      </a:pPr>
                      <a:r>
                        <a:rPr lang="en-US" sz="900" b="0" i="0" u="none" strike="noStrike" noProof="0">
                          <a:solidFill>
                            <a:schemeClr val="tx2"/>
                          </a:solidFill>
                          <a:latin typeface="+mj-lt"/>
                        </a:rPr>
                        <a:t>Bidding optimization</a:t>
                      </a:r>
                      <a:endParaRPr lang="en-US" sz="900" b="0">
                        <a:solidFill>
                          <a:schemeClr val="tx2"/>
                        </a:solidFill>
                        <a:latin typeface="+mj-lt"/>
                      </a:endParaRPr>
                    </a:p>
                    <a:p>
                      <a:pPr lvl="0" algn="ctr">
                        <a:lnSpc>
                          <a:spcPct val="150000"/>
                        </a:lnSpc>
                        <a:buNone/>
                      </a:pPr>
                      <a:endParaRPr lang="en-US" sz="900" b="0" i="0" u="none" strike="noStrike" noProof="0">
                        <a:solidFill>
                          <a:schemeClr val="tx2"/>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CF7EC"/>
                    </a:solidFill>
                  </a:tcPr>
                </a:tc>
                <a:extLst>
                  <a:ext uri="{0D108BD9-81ED-4DB2-BD59-A6C34878D82A}">
                    <a16:rowId xmlns:a16="http://schemas.microsoft.com/office/drawing/2014/main" val="2485842464"/>
                  </a:ext>
                </a:extLst>
              </a:tr>
              <a:tr h="1263772">
                <a:tc>
                  <a:txBody>
                    <a:bodyPr/>
                    <a:lstStyle/>
                    <a:p>
                      <a:pPr marL="0" lvl="0" indent="0" algn="ctr">
                        <a:lnSpc>
                          <a:spcPct val="150000"/>
                        </a:lnSpc>
                        <a:spcBef>
                          <a:spcPts val="0"/>
                        </a:spcBef>
                        <a:spcAft>
                          <a:spcPts val="0"/>
                        </a:spcAft>
                        <a:buFont typeface="Wingdings" panose="05000000000000000000" pitchFamily="2" charset="2"/>
                        <a:buNone/>
                      </a:pPr>
                      <a:r>
                        <a:rPr lang="en-US" sz="900" b="1" i="0" u="none" strike="noStrike" noProof="0">
                          <a:solidFill>
                            <a:schemeClr val="tx2"/>
                          </a:solidFill>
                          <a:latin typeface="+mj-lt"/>
                        </a:rPr>
                        <a:t>Shopify Audiences enables:</a:t>
                      </a:r>
                    </a:p>
                    <a:p>
                      <a:pPr marL="0" lvl="0" indent="0" algn="ctr">
                        <a:lnSpc>
                          <a:spcPct val="150000"/>
                        </a:lnSpc>
                        <a:spcBef>
                          <a:spcPts val="0"/>
                        </a:spcBef>
                        <a:spcAft>
                          <a:spcPts val="0"/>
                        </a:spcAft>
                        <a:buFont typeface="Wingdings" panose="05000000000000000000" pitchFamily="2" charset="2"/>
                        <a:buNone/>
                      </a:pPr>
                      <a:r>
                        <a:rPr lang="en-US" sz="900" b="0" i="0" u="none" strike="noStrike" noProof="0">
                          <a:solidFill>
                            <a:schemeClr val="tx2"/>
                          </a:solidFill>
                          <a:latin typeface="+mj-lt"/>
                        </a:rPr>
                        <a:t>Smarter ad targeting on social platforms</a:t>
                      </a:r>
                    </a:p>
                    <a:p>
                      <a:pPr marL="0" lvl="0" indent="0" algn="ctr">
                        <a:lnSpc>
                          <a:spcPct val="150000"/>
                        </a:lnSpc>
                        <a:spcBef>
                          <a:spcPts val="0"/>
                        </a:spcBef>
                        <a:spcAft>
                          <a:spcPts val="0"/>
                        </a:spcAft>
                        <a:buFont typeface="Wingdings" panose="05000000000000000000" pitchFamily="2" charset="2"/>
                        <a:buNone/>
                      </a:pPr>
                      <a:r>
                        <a:rPr lang="en-US" sz="900" b="0" i="0" u="none" strike="noStrike" noProof="0">
                          <a:solidFill>
                            <a:schemeClr val="tx2"/>
                          </a:solidFill>
                          <a:latin typeface="+mj-lt"/>
                        </a:rPr>
                        <a:t>Enhanced performance in search advertising</a:t>
                      </a:r>
                      <a:endParaRPr lang="en-US" sz="900">
                        <a:solidFill>
                          <a:schemeClr val="tx2"/>
                        </a:solidFill>
                        <a:latin typeface="+mj-lt"/>
                      </a:endParaRPr>
                    </a:p>
                    <a:p>
                      <a:pPr marL="285750" lvl="0" indent="-285750" algn="ctr">
                        <a:lnSpc>
                          <a:spcPct val="150000"/>
                        </a:lnSpc>
                        <a:spcBef>
                          <a:spcPts val="0"/>
                        </a:spcBef>
                        <a:spcAft>
                          <a:spcPts val="0"/>
                        </a:spcAft>
                        <a:buFont typeface="Wingdings" panose="05000000000000000000" pitchFamily="2" charset="2"/>
                        <a:buChar char="§"/>
                      </a:pPr>
                      <a:endParaRPr lang="en-US" sz="900" b="0" i="0" u="none" strike="noStrike" noProof="0">
                        <a:solidFill>
                          <a:schemeClr val="tx2"/>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CF7EC"/>
                    </a:solidFill>
                  </a:tcPr>
                </a:tc>
                <a:tc>
                  <a:txBody>
                    <a:bodyPr/>
                    <a:lstStyle/>
                    <a:p>
                      <a:pPr lvl="0" algn="ctr">
                        <a:buNone/>
                      </a:pPr>
                      <a:r>
                        <a:rPr lang="en-US" sz="900" b="1" i="0" u="none" strike="noStrike" noProof="0">
                          <a:solidFill>
                            <a:schemeClr val="bg1"/>
                          </a:solidFill>
                          <a:latin typeface="+mj-lt"/>
                        </a:rPr>
                        <a:t>Enhanced Advertising &amp; User Acquisition</a:t>
                      </a:r>
                      <a:endParaRPr lang="en-US" sz="900" b="1">
                        <a:solidFill>
                          <a:schemeClr val="bg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lvl="0" indent="0" algn="ctr">
                        <a:lnSpc>
                          <a:spcPct val="150000"/>
                        </a:lnSpc>
                        <a:spcBef>
                          <a:spcPts val="0"/>
                        </a:spcBef>
                        <a:spcAft>
                          <a:spcPts val="0"/>
                        </a:spcAft>
                        <a:buFont typeface="Wingdings" panose="05000000000000000000" pitchFamily="2" charset="2"/>
                        <a:buNone/>
                      </a:pPr>
                      <a:r>
                        <a:rPr lang="en-US" sz="900" b="1" i="0" u="none" strike="noStrike" noProof="0">
                          <a:solidFill>
                            <a:schemeClr val="tx2"/>
                          </a:solidFill>
                          <a:latin typeface="+mj-lt"/>
                        </a:rPr>
                        <a:t>AppDiscovery and MAX provide:</a:t>
                      </a:r>
                    </a:p>
                    <a:p>
                      <a:pPr marL="0" lvl="0" indent="0" algn="ctr">
                        <a:lnSpc>
                          <a:spcPct val="150000"/>
                        </a:lnSpc>
                        <a:spcBef>
                          <a:spcPts val="0"/>
                        </a:spcBef>
                        <a:spcAft>
                          <a:spcPts val="0"/>
                        </a:spcAft>
                        <a:buFont typeface="Wingdings" panose="05000000000000000000" pitchFamily="2" charset="2"/>
                        <a:buNone/>
                      </a:pPr>
                      <a:r>
                        <a:rPr lang="en-US" sz="900" b="0" i="0" u="none" strike="noStrike" noProof="0">
                          <a:solidFill>
                            <a:schemeClr val="tx2"/>
                          </a:solidFill>
                          <a:latin typeface="+mj-lt"/>
                        </a:rPr>
                        <a:t>High-performance ad monetization</a:t>
                      </a:r>
                    </a:p>
                    <a:p>
                      <a:pPr marL="0" lvl="0" indent="0" algn="ctr">
                        <a:lnSpc>
                          <a:spcPct val="150000"/>
                        </a:lnSpc>
                        <a:spcBef>
                          <a:spcPts val="0"/>
                        </a:spcBef>
                        <a:spcAft>
                          <a:spcPts val="0"/>
                        </a:spcAft>
                        <a:buFont typeface="Wingdings" panose="05000000000000000000" pitchFamily="2" charset="2"/>
                        <a:buNone/>
                      </a:pPr>
                      <a:r>
                        <a:rPr lang="en-US" sz="900" b="0" i="0" u="none" strike="noStrike" noProof="0">
                          <a:solidFill>
                            <a:schemeClr val="tx2"/>
                          </a:solidFill>
                          <a:latin typeface="+mj-lt"/>
                        </a:rPr>
                        <a:t>Global reach across 1.4B+ devices</a:t>
                      </a:r>
                      <a:endParaRPr lang="en-US" sz="900">
                        <a:solidFill>
                          <a:schemeClr val="tx2"/>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CF7EC"/>
                    </a:solidFill>
                  </a:tcPr>
                </a:tc>
                <a:extLst>
                  <a:ext uri="{0D108BD9-81ED-4DB2-BD59-A6C34878D82A}">
                    <a16:rowId xmlns:a16="http://schemas.microsoft.com/office/drawing/2014/main" val="3567759902"/>
                  </a:ext>
                </a:extLst>
              </a:tr>
              <a:tr h="1263772">
                <a:tc>
                  <a:txBody>
                    <a:bodyPr/>
                    <a:lstStyle/>
                    <a:p>
                      <a:pPr marL="0" lvl="0" indent="0" algn="ctr">
                        <a:lnSpc>
                          <a:spcPct val="150000"/>
                        </a:lnSpc>
                        <a:buFont typeface="Wingdings" panose="05000000000000000000" pitchFamily="2" charset="2"/>
                        <a:buNone/>
                      </a:pPr>
                      <a:r>
                        <a:rPr lang="en-US" sz="900" b="1" i="0" u="none" strike="noStrike" noProof="0">
                          <a:solidFill>
                            <a:schemeClr val="tx2"/>
                          </a:solidFill>
                          <a:latin typeface="+mj-lt"/>
                        </a:rPr>
                        <a:t>Shopify’s Commerce structure enables:</a:t>
                      </a:r>
                    </a:p>
                    <a:p>
                      <a:pPr marL="0" lvl="0" indent="0" algn="ctr">
                        <a:lnSpc>
                          <a:spcPct val="150000"/>
                        </a:lnSpc>
                        <a:buFont typeface="Wingdings" panose="05000000000000000000" pitchFamily="2" charset="2"/>
                        <a:buNone/>
                      </a:pPr>
                      <a:r>
                        <a:rPr lang="en-US" sz="900" b="0" i="0" u="none" strike="noStrike" noProof="0">
                          <a:solidFill>
                            <a:schemeClr val="tx2"/>
                          </a:solidFill>
                          <a:latin typeface="+mj-lt"/>
                        </a:rPr>
                        <a:t>Omnichannel commerce infrastructure is built </a:t>
                      </a:r>
                    </a:p>
                    <a:p>
                      <a:pPr marL="0" lvl="0" indent="0" algn="ctr">
                        <a:lnSpc>
                          <a:spcPct val="150000"/>
                        </a:lnSpc>
                        <a:buFont typeface="Wingdings" panose="05000000000000000000" pitchFamily="2" charset="2"/>
                        <a:buNone/>
                      </a:pPr>
                      <a:r>
                        <a:rPr lang="en-US" sz="900" b="0" i="0" u="none" strike="noStrike" noProof="0">
                          <a:solidFill>
                            <a:schemeClr val="tx2"/>
                          </a:solidFill>
                          <a:latin typeface="+mj-lt"/>
                        </a:rPr>
                        <a:t>for SMBs to enterprises</a:t>
                      </a:r>
                      <a:endParaRPr lang="en-US" sz="900">
                        <a:solidFill>
                          <a:schemeClr val="tx2"/>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CF7EC"/>
                    </a:solidFill>
                  </a:tcPr>
                </a:tc>
                <a:tc>
                  <a:txBody>
                    <a:bodyPr/>
                    <a:lstStyle/>
                    <a:p>
                      <a:pPr lvl="0" algn="ctr">
                        <a:buNone/>
                      </a:pPr>
                      <a:r>
                        <a:rPr lang="en-US" sz="900" b="1" i="0" u="none" strike="noStrike" noProof="0">
                          <a:solidFill>
                            <a:schemeClr val="bg1"/>
                          </a:solidFill>
                          <a:latin typeface="+mj-lt"/>
                        </a:rPr>
                        <a:t>Cross-Platform Expansion</a:t>
                      </a:r>
                      <a:endParaRPr lang="en-US" sz="900" b="1">
                        <a:solidFill>
                          <a:schemeClr val="bg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lvl="0" indent="0" algn="ctr">
                        <a:lnSpc>
                          <a:spcPct val="150000"/>
                        </a:lnSpc>
                        <a:spcBef>
                          <a:spcPts val="0"/>
                        </a:spcBef>
                        <a:spcAft>
                          <a:spcPts val="0"/>
                        </a:spcAft>
                        <a:buNone/>
                      </a:pPr>
                      <a:r>
                        <a:rPr lang="en-US" sz="900" b="1" i="0" u="none" strike="noStrike" noProof="0">
                          <a:solidFill>
                            <a:schemeClr val="tx2"/>
                          </a:solidFill>
                          <a:latin typeface="+mj-lt"/>
                        </a:rPr>
                        <a:t>Operates a global network of:</a:t>
                      </a:r>
                    </a:p>
                    <a:p>
                      <a:pPr marL="0" lvl="0" indent="0" algn="ctr">
                        <a:lnSpc>
                          <a:spcPct val="150000"/>
                        </a:lnSpc>
                        <a:spcBef>
                          <a:spcPts val="0"/>
                        </a:spcBef>
                        <a:spcAft>
                          <a:spcPts val="0"/>
                        </a:spcAft>
                        <a:buNone/>
                      </a:pPr>
                      <a:r>
                        <a:rPr lang="en-US" sz="900" b="0" i="0" u="none" strike="noStrike" noProof="0">
                          <a:solidFill>
                            <a:schemeClr val="tx2"/>
                          </a:solidFill>
                          <a:latin typeface="+mj-lt"/>
                        </a:rPr>
                        <a:t>Mobile apps</a:t>
                      </a:r>
                    </a:p>
                    <a:p>
                      <a:pPr marL="0" lvl="0" indent="0" algn="ctr">
                        <a:lnSpc>
                          <a:spcPct val="150000"/>
                        </a:lnSpc>
                        <a:spcBef>
                          <a:spcPts val="0"/>
                        </a:spcBef>
                        <a:spcAft>
                          <a:spcPts val="0"/>
                        </a:spcAft>
                        <a:buNone/>
                      </a:pPr>
                      <a:r>
                        <a:rPr lang="en-US" sz="900" b="0" i="0" u="none" strike="noStrike" noProof="0">
                          <a:solidFill>
                            <a:schemeClr val="tx2"/>
                          </a:solidFill>
                          <a:latin typeface="+mj-lt"/>
                        </a:rPr>
                        <a:t>Mobile games</a:t>
                      </a:r>
                    </a:p>
                    <a:p>
                      <a:pPr marL="0" lvl="0" indent="0" algn="ctr">
                        <a:lnSpc>
                          <a:spcPct val="150000"/>
                        </a:lnSpc>
                        <a:spcBef>
                          <a:spcPts val="0"/>
                        </a:spcBef>
                        <a:spcAft>
                          <a:spcPts val="0"/>
                        </a:spcAft>
                        <a:buNone/>
                      </a:pPr>
                      <a:r>
                        <a:rPr lang="en-US" sz="900" b="0" i="0" u="none" strike="noStrike" noProof="0">
                          <a:solidFill>
                            <a:schemeClr val="tx2"/>
                          </a:solidFill>
                          <a:latin typeface="+mj-lt"/>
                        </a:rPr>
                        <a:t>Ideal distribution channel for in-app commerce</a:t>
                      </a:r>
                      <a:endParaRPr lang="en-US" sz="900" b="0">
                        <a:solidFill>
                          <a:schemeClr val="tx2"/>
                        </a:solidFill>
                        <a:latin typeface="+mj-lt"/>
                      </a:endParaRPr>
                    </a:p>
                    <a:p>
                      <a:pPr lvl="0" algn="ctr">
                        <a:lnSpc>
                          <a:spcPct val="150000"/>
                        </a:lnSpc>
                        <a:buNone/>
                      </a:pPr>
                      <a:endParaRPr lang="en-US" sz="900" b="0" i="0" u="none" strike="noStrike" noProof="0">
                        <a:solidFill>
                          <a:schemeClr val="tx2"/>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CF7EC"/>
                    </a:solidFill>
                  </a:tcPr>
                </a:tc>
                <a:extLst>
                  <a:ext uri="{0D108BD9-81ED-4DB2-BD59-A6C34878D82A}">
                    <a16:rowId xmlns:a16="http://schemas.microsoft.com/office/drawing/2014/main" val="3973387114"/>
                  </a:ext>
                </a:extLst>
              </a:tr>
            </a:tbl>
          </a:graphicData>
        </a:graphic>
      </p:graphicFrame>
      <p:sp>
        <p:nvSpPr>
          <p:cNvPr id="4" name="Title 3">
            <a:extLst>
              <a:ext uri="{FF2B5EF4-FFF2-40B4-BE49-F238E27FC236}">
                <a16:creationId xmlns:a16="http://schemas.microsoft.com/office/drawing/2014/main" id="{D0F6628A-6C60-ABFD-BDED-9D4933E2FBC7}"/>
              </a:ext>
            </a:extLst>
          </p:cNvPr>
          <p:cNvSpPr>
            <a:spLocks noGrp="1"/>
          </p:cNvSpPr>
          <p:nvPr>
            <p:ph type="title"/>
          </p:nvPr>
        </p:nvSpPr>
        <p:spPr/>
        <p:txBody>
          <a:bodyPr/>
          <a:lstStyle/>
          <a:p>
            <a:r>
              <a:rPr lang="en-US"/>
              <a:t>Strategic Synergies Between Shopify and </a:t>
            </a:r>
            <a:r>
              <a:rPr lang="en-US" err="1"/>
              <a:t>AppLovin</a:t>
            </a:r>
            <a:endParaRPr lang="en-US"/>
          </a:p>
        </p:txBody>
      </p:sp>
      <p:pic>
        <p:nvPicPr>
          <p:cNvPr id="3" name="Picture 2" descr="Ecommerce, logo, shopify icon - Free download on Iconfinder">
            <a:extLst>
              <a:ext uri="{FF2B5EF4-FFF2-40B4-BE49-F238E27FC236}">
                <a16:creationId xmlns:a16="http://schemas.microsoft.com/office/drawing/2014/main" id="{AC05695F-D28D-ADFF-1EDF-D35FEB3A5DB8}"/>
              </a:ext>
            </a:extLst>
          </p:cNvPr>
          <p:cNvPicPr>
            <a:picLocks noChangeAspect="1"/>
          </p:cNvPicPr>
          <p:nvPr/>
        </p:nvPicPr>
        <p:blipFill>
          <a:blip r:embed="rId3"/>
          <a:stretch>
            <a:fillRect/>
          </a:stretch>
        </p:blipFill>
        <p:spPr>
          <a:xfrm>
            <a:off x="1377704" y="1074475"/>
            <a:ext cx="588580" cy="601718"/>
          </a:xfrm>
          <a:prstGeom prst="rect">
            <a:avLst/>
          </a:prstGeom>
          <a:ln>
            <a:noFill/>
          </a:ln>
        </p:spPr>
      </p:pic>
      <p:pic>
        <p:nvPicPr>
          <p:cNvPr id="6" name="Picture 5" descr="AppLovin Logo | SVG | Real Company | Alphabet, Letter A Logo">
            <a:extLst>
              <a:ext uri="{FF2B5EF4-FFF2-40B4-BE49-F238E27FC236}">
                <a16:creationId xmlns:a16="http://schemas.microsoft.com/office/drawing/2014/main" id="{38C5E7ED-5C04-CEA4-3F50-45B15D28197D}"/>
              </a:ext>
            </a:extLst>
          </p:cNvPr>
          <p:cNvPicPr>
            <a:picLocks noChangeAspect="1"/>
          </p:cNvPicPr>
          <p:nvPr/>
        </p:nvPicPr>
        <p:blipFill>
          <a:blip r:embed="rId4"/>
          <a:stretch>
            <a:fillRect/>
          </a:stretch>
        </p:blipFill>
        <p:spPr>
          <a:xfrm>
            <a:off x="7040180" y="1006475"/>
            <a:ext cx="896200" cy="863355"/>
          </a:xfrm>
          <a:prstGeom prst="rect">
            <a:avLst/>
          </a:prstGeom>
          <a:ln>
            <a:noFill/>
          </a:ln>
          <a:effectLst>
            <a:softEdge rad="112500"/>
          </a:effectLst>
        </p:spPr>
      </p:pic>
      <p:sp>
        <p:nvSpPr>
          <p:cNvPr id="7" name="Arrow: Right 9">
            <a:extLst>
              <a:ext uri="{FF2B5EF4-FFF2-40B4-BE49-F238E27FC236}">
                <a16:creationId xmlns:a16="http://schemas.microsoft.com/office/drawing/2014/main" id="{6C4FD2C7-0AD3-F4D8-F8D8-8B1CB909A3A5}"/>
              </a:ext>
            </a:extLst>
          </p:cNvPr>
          <p:cNvSpPr/>
          <p:nvPr/>
        </p:nvSpPr>
        <p:spPr>
          <a:xfrm rot="10800000">
            <a:off x="5787342" y="4910190"/>
            <a:ext cx="442479" cy="287564"/>
          </a:xfrm>
          <a:prstGeom prst="rightArrow">
            <a:avLst/>
          </a:prstGeom>
          <a:solidFill>
            <a:schemeClr val="bg1"/>
          </a:solidFill>
          <a:ln w="158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Arrow: Right 9">
            <a:extLst>
              <a:ext uri="{FF2B5EF4-FFF2-40B4-BE49-F238E27FC236}">
                <a16:creationId xmlns:a16="http://schemas.microsoft.com/office/drawing/2014/main" id="{5A13C9E0-6EEE-CD74-4E7D-B1E19BFC890E}"/>
              </a:ext>
            </a:extLst>
          </p:cNvPr>
          <p:cNvSpPr/>
          <p:nvPr/>
        </p:nvSpPr>
        <p:spPr>
          <a:xfrm rot="10800000">
            <a:off x="5787341" y="3656154"/>
            <a:ext cx="442479" cy="287564"/>
          </a:xfrm>
          <a:prstGeom prst="rightArrow">
            <a:avLst/>
          </a:prstGeom>
          <a:solidFill>
            <a:schemeClr val="bg1"/>
          </a:solidFill>
          <a:ln w="158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Arrow: Right 9">
            <a:extLst>
              <a:ext uri="{FF2B5EF4-FFF2-40B4-BE49-F238E27FC236}">
                <a16:creationId xmlns:a16="http://schemas.microsoft.com/office/drawing/2014/main" id="{C4769080-72FA-F115-933A-9EBF721935A2}"/>
              </a:ext>
            </a:extLst>
          </p:cNvPr>
          <p:cNvSpPr/>
          <p:nvPr/>
        </p:nvSpPr>
        <p:spPr>
          <a:xfrm rot="10800000">
            <a:off x="5787341" y="2402118"/>
            <a:ext cx="442479" cy="287564"/>
          </a:xfrm>
          <a:prstGeom prst="rightArrow">
            <a:avLst/>
          </a:prstGeom>
          <a:solidFill>
            <a:schemeClr val="bg1"/>
          </a:solidFill>
          <a:ln w="158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Arrow: Right 9">
            <a:extLst>
              <a:ext uri="{FF2B5EF4-FFF2-40B4-BE49-F238E27FC236}">
                <a16:creationId xmlns:a16="http://schemas.microsoft.com/office/drawing/2014/main" id="{58CDE8E1-92EF-FB6A-1ECD-F22BDD53FB06}"/>
              </a:ext>
            </a:extLst>
          </p:cNvPr>
          <p:cNvSpPr/>
          <p:nvPr/>
        </p:nvSpPr>
        <p:spPr>
          <a:xfrm>
            <a:off x="2914181" y="2402118"/>
            <a:ext cx="442479" cy="287564"/>
          </a:xfrm>
          <a:prstGeom prst="rightArrow">
            <a:avLst/>
          </a:prstGeom>
          <a:solidFill>
            <a:schemeClr val="bg1"/>
          </a:solidFill>
          <a:ln w="158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Arrow: Right 9">
            <a:extLst>
              <a:ext uri="{FF2B5EF4-FFF2-40B4-BE49-F238E27FC236}">
                <a16:creationId xmlns:a16="http://schemas.microsoft.com/office/drawing/2014/main" id="{057258E6-55EE-6D63-DC4C-00361B06D861}"/>
              </a:ext>
            </a:extLst>
          </p:cNvPr>
          <p:cNvSpPr/>
          <p:nvPr/>
        </p:nvSpPr>
        <p:spPr>
          <a:xfrm>
            <a:off x="2914181" y="3656154"/>
            <a:ext cx="442479" cy="287564"/>
          </a:xfrm>
          <a:prstGeom prst="rightArrow">
            <a:avLst/>
          </a:prstGeom>
          <a:solidFill>
            <a:schemeClr val="bg1"/>
          </a:solidFill>
          <a:ln w="158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Arrow: Right 9">
            <a:extLst>
              <a:ext uri="{FF2B5EF4-FFF2-40B4-BE49-F238E27FC236}">
                <a16:creationId xmlns:a16="http://schemas.microsoft.com/office/drawing/2014/main" id="{B0CCA013-DDA9-9C18-394D-2F7833748787}"/>
              </a:ext>
            </a:extLst>
          </p:cNvPr>
          <p:cNvSpPr/>
          <p:nvPr/>
        </p:nvSpPr>
        <p:spPr>
          <a:xfrm>
            <a:off x="2914181" y="4910190"/>
            <a:ext cx="442479" cy="287564"/>
          </a:xfrm>
          <a:prstGeom prst="rightArrow">
            <a:avLst/>
          </a:prstGeom>
          <a:solidFill>
            <a:schemeClr val="bg1"/>
          </a:solidFill>
          <a:ln w="158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1" name="Straight Connector 20">
            <a:extLst>
              <a:ext uri="{FF2B5EF4-FFF2-40B4-BE49-F238E27FC236}">
                <a16:creationId xmlns:a16="http://schemas.microsoft.com/office/drawing/2014/main" id="{B46D79C4-DCA1-86F8-15E8-B1B966285BC1}"/>
              </a:ext>
            </a:extLst>
          </p:cNvPr>
          <p:cNvCxnSpPr>
            <a:cxnSpLocks/>
          </p:cNvCxnSpPr>
          <p:nvPr/>
        </p:nvCxnSpPr>
        <p:spPr>
          <a:xfrm>
            <a:off x="1167994" y="1752221"/>
            <a:ext cx="1008000"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2" name="Straight Connector 21">
            <a:extLst>
              <a:ext uri="{FF2B5EF4-FFF2-40B4-BE49-F238E27FC236}">
                <a16:creationId xmlns:a16="http://schemas.microsoft.com/office/drawing/2014/main" id="{3367D57B-E4FA-71E0-A29D-92537F2689AE}"/>
              </a:ext>
            </a:extLst>
          </p:cNvPr>
          <p:cNvCxnSpPr/>
          <p:nvPr/>
        </p:nvCxnSpPr>
        <p:spPr>
          <a:xfrm>
            <a:off x="6984280" y="1752221"/>
            <a:ext cx="1008000" cy="0"/>
          </a:xfrm>
          <a:prstGeom prst="line">
            <a:avLst/>
          </a:prstGeom>
          <a:ln w="28575"/>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6141550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CEC39F-E50A-F9E1-1976-E5CF9A2D460D}"/>
              </a:ext>
            </a:extLst>
          </p:cNvPr>
          <p:cNvSpPr>
            <a:spLocks noGrp="1"/>
          </p:cNvSpPr>
          <p:nvPr>
            <p:ph type="body" sz="quarter" idx="21"/>
          </p:nvPr>
        </p:nvSpPr>
        <p:spPr/>
        <p:txBody>
          <a:bodyPr/>
          <a:lstStyle/>
          <a:p>
            <a:r>
              <a:rPr lang="en-CA">
                <a:ea typeface="+mj-lt"/>
                <a:cs typeface="+mj-lt"/>
              </a:rPr>
              <a:t>More Reach. More Revenue. More Reasons to Use Shopify.</a:t>
            </a:r>
            <a:endParaRPr lang="en-US">
              <a:ea typeface="+mj-lt"/>
              <a:cs typeface="+mj-lt"/>
            </a:endParaRPr>
          </a:p>
        </p:txBody>
      </p:sp>
      <p:graphicFrame>
        <p:nvGraphicFramePr>
          <p:cNvPr id="6" name="Table Placeholder 5">
            <a:extLst>
              <a:ext uri="{FF2B5EF4-FFF2-40B4-BE49-F238E27FC236}">
                <a16:creationId xmlns:a16="http://schemas.microsoft.com/office/drawing/2014/main" id="{90D84662-5365-3BF3-0454-4B139F8F04A8}"/>
              </a:ext>
            </a:extLst>
          </p:cNvPr>
          <p:cNvGraphicFramePr>
            <a:graphicFrameLocks noGrp="1"/>
          </p:cNvGraphicFramePr>
          <p:nvPr>
            <p:ph type="tbl" sz="quarter" idx="14"/>
            <p:extLst>
              <p:ext uri="{D42A27DB-BD31-4B8C-83A1-F6EECF244321}">
                <p14:modId xmlns:p14="http://schemas.microsoft.com/office/powerpoint/2010/main" val="2496454255"/>
              </p:ext>
            </p:extLst>
          </p:nvPr>
        </p:nvGraphicFramePr>
        <p:xfrm>
          <a:off x="250825" y="4294474"/>
          <a:ext cx="8642349" cy="1854200"/>
        </p:xfrm>
        <a:graphic>
          <a:graphicData uri="http://schemas.openxmlformats.org/drawingml/2006/table">
            <a:tbl>
              <a:tblPr firstRow="1" bandRow="1">
                <a:tableStyleId>{5C22544A-7EE6-4342-B048-85BDC9FD1C3A}</a:tableStyleId>
              </a:tblPr>
              <a:tblGrid>
                <a:gridCol w="2880783">
                  <a:extLst>
                    <a:ext uri="{9D8B030D-6E8A-4147-A177-3AD203B41FA5}">
                      <a16:colId xmlns:a16="http://schemas.microsoft.com/office/drawing/2014/main" val="28638045"/>
                    </a:ext>
                  </a:extLst>
                </a:gridCol>
                <a:gridCol w="2880783">
                  <a:extLst>
                    <a:ext uri="{9D8B030D-6E8A-4147-A177-3AD203B41FA5}">
                      <a16:colId xmlns:a16="http://schemas.microsoft.com/office/drawing/2014/main" val="1450027213"/>
                    </a:ext>
                  </a:extLst>
                </a:gridCol>
                <a:gridCol w="2880783">
                  <a:extLst>
                    <a:ext uri="{9D8B030D-6E8A-4147-A177-3AD203B41FA5}">
                      <a16:colId xmlns:a16="http://schemas.microsoft.com/office/drawing/2014/main" val="2149252192"/>
                    </a:ext>
                  </a:extLst>
                </a:gridCol>
              </a:tblGrid>
              <a:tr h="370840">
                <a:tc>
                  <a:txBody>
                    <a:bodyPr/>
                    <a:lstStyle/>
                    <a:p>
                      <a:r>
                        <a:rPr lang="en-US">
                          <a:solidFill>
                            <a:schemeClr val="bg1"/>
                          </a:solidFill>
                        </a:rPr>
                        <a:t>Feature / Benefi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algn="ctr"/>
                      <a:r>
                        <a:rPr lang="en-US">
                          <a:solidFill>
                            <a:schemeClr val="bg1"/>
                          </a:solidFill>
                        </a:rPr>
                        <a:t>Shopify Today</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algn="ctr"/>
                      <a:r>
                        <a:rPr lang="en-US">
                          <a:solidFill>
                            <a:schemeClr val="bg1"/>
                          </a:solidFill>
                        </a:rPr>
                        <a:t>After AppLovi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526772853"/>
                  </a:ext>
                </a:extLst>
              </a:tr>
              <a:tr h="370840">
                <a:tc>
                  <a:txBody>
                    <a:bodyPr/>
                    <a:lstStyle/>
                    <a:p>
                      <a:pPr lvl="0" algn="l" defTabSz="914400" rtl="0" eaLnBrk="1" latinLnBrk="0" hangingPunct="1">
                        <a:lnSpc>
                          <a:spcPct val="100000"/>
                        </a:lnSpc>
                        <a:spcBef>
                          <a:spcPts val="0"/>
                        </a:spcBef>
                        <a:spcAft>
                          <a:spcPts val="0"/>
                        </a:spcAft>
                        <a:buFont typeface="Wingdings" panose="05000000000000000000" pitchFamily="2" charset="2"/>
                      </a:pPr>
                      <a:r>
                        <a:rPr lang="en-US" sz="1400" b="0" i="0" u="none" strike="noStrike" kern="1200">
                          <a:solidFill>
                            <a:schemeClr val="tx1"/>
                          </a:solidFill>
                          <a:latin typeface="+mj-lt"/>
                          <a:ea typeface="+mn-ea"/>
                          <a:cs typeface="+mn-cs"/>
                        </a:rPr>
                        <a:t>Programmatic Ad Reach</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DF7ED"/>
                    </a:solidFill>
                  </a:tcPr>
                </a:tc>
                <a:tc>
                  <a:txBody>
                    <a:bodyPr/>
                    <a:lstStyle/>
                    <a:p>
                      <a:pPr lvl="0" algn="ctr" defTabSz="914400" rtl="0" eaLnBrk="1" latinLnBrk="0" hangingPunct="1">
                        <a:lnSpc>
                          <a:spcPct val="100000"/>
                        </a:lnSpc>
                        <a:spcBef>
                          <a:spcPts val="0"/>
                        </a:spcBef>
                        <a:spcAft>
                          <a:spcPts val="0"/>
                        </a:spcAft>
                        <a:buFont typeface="Wingdings" panose="05000000000000000000" pitchFamily="2" charset="2"/>
                      </a:pPr>
                      <a:endParaRPr lang="en-US" sz="1400" b="0" i="0" u="none" strike="noStrike" kern="1200">
                        <a:solidFill>
                          <a:schemeClr val="tx1"/>
                        </a:solidFill>
                        <a:latin typeface="+mj-lt"/>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DF7ED"/>
                    </a:solidFill>
                  </a:tcPr>
                </a:tc>
                <a:tc>
                  <a:txBody>
                    <a:bodyPr/>
                    <a:lstStyle/>
                    <a:p>
                      <a:pPr lvl="0" algn="ctr" defTabSz="914400" rtl="0" eaLnBrk="1" latinLnBrk="0" hangingPunct="1">
                        <a:lnSpc>
                          <a:spcPct val="100000"/>
                        </a:lnSpc>
                        <a:spcBef>
                          <a:spcPts val="0"/>
                        </a:spcBef>
                        <a:spcAft>
                          <a:spcPts val="0"/>
                        </a:spcAft>
                        <a:buFont typeface="Wingdings" panose="05000000000000000000" pitchFamily="2" charset="2"/>
                      </a:pPr>
                      <a:endParaRPr lang="en-US" sz="1400" b="0" i="0" u="none" strike="noStrike" kern="1200">
                        <a:solidFill>
                          <a:schemeClr val="tx1"/>
                        </a:solidFill>
                        <a:latin typeface="+mj-lt"/>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506467036"/>
                  </a:ext>
                </a:extLst>
              </a:tr>
              <a:tr h="370840">
                <a:tc>
                  <a:txBody>
                    <a:bodyPr/>
                    <a:lstStyle/>
                    <a:p>
                      <a:pPr lvl="0" algn="l" defTabSz="914400" rtl="0" eaLnBrk="1" latinLnBrk="0" hangingPunct="1">
                        <a:lnSpc>
                          <a:spcPct val="100000"/>
                        </a:lnSpc>
                        <a:spcBef>
                          <a:spcPts val="0"/>
                        </a:spcBef>
                        <a:spcAft>
                          <a:spcPts val="0"/>
                        </a:spcAft>
                        <a:buFont typeface="Wingdings" panose="05000000000000000000" pitchFamily="2" charset="2"/>
                      </a:pPr>
                      <a:r>
                        <a:rPr lang="en-US" sz="1400" b="0" i="0" u="none" strike="noStrike" kern="1200">
                          <a:solidFill>
                            <a:schemeClr val="tx1"/>
                          </a:solidFill>
                          <a:latin typeface="+mj-lt"/>
                          <a:ea typeface="+mn-ea"/>
                          <a:cs typeface="+mn-cs"/>
                        </a:rPr>
                        <a:t>In-App Commerce Integr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pPr lvl="0" algn="ctr" defTabSz="914400" rtl="0" eaLnBrk="1" latinLnBrk="0" hangingPunct="1">
                        <a:lnSpc>
                          <a:spcPct val="100000"/>
                        </a:lnSpc>
                        <a:spcBef>
                          <a:spcPts val="0"/>
                        </a:spcBef>
                        <a:spcAft>
                          <a:spcPts val="0"/>
                        </a:spcAft>
                        <a:buFont typeface="Wingdings" panose="05000000000000000000" pitchFamily="2" charset="2"/>
                      </a:pPr>
                      <a:endParaRPr lang="en-US" sz="1400" b="0" i="0" u="none" strike="noStrike" kern="1200">
                        <a:solidFill>
                          <a:schemeClr val="tx1"/>
                        </a:solidFill>
                        <a:latin typeface="+mj-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pPr lvl="0" algn="ctr" defTabSz="914400" rtl="0" eaLnBrk="1" latinLnBrk="0" hangingPunct="1">
                        <a:lnSpc>
                          <a:spcPct val="100000"/>
                        </a:lnSpc>
                        <a:spcBef>
                          <a:spcPts val="0"/>
                        </a:spcBef>
                        <a:spcAft>
                          <a:spcPts val="0"/>
                        </a:spcAft>
                        <a:buFont typeface="Wingdings" panose="05000000000000000000" pitchFamily="2" charset="2"/>
                      </a:pPr>
                      <a:endParaRPr lang="en-US" sz="1400" b="0" i="0" u="none" strike="noStrike" kern="1200">
                        <a:solidFill>
                          <a:schemeClr val="tx1"/>
                        </a:solidFill>
                        <a:latin typeface="+mj-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564668458"/>
                  </a:ext>
                </a:extLst>
              </a:tr>
              <a:tr h="370840">
                <a:tc>
                  <a:txBody>
                    <a:bodyPr/>
                    <a:lstStyle/>
                    <a:p>
                      <a:pPr lvl="0" algn="l" defTabSz="914400" rtl="0" eaLnBrk="1" latinLnBrk="0" hangingPunct="1">
                        <a:lnSpc>
                          <a:spcPct val="100000"/>
                        </a:lnSpc>
                        <a:spcBef>
                          <a:spcPts val="0"/>
                        </a:spcBef>
                        <a:spcAft>
                          <a:spcPts val="0"/>
                        </a:spcAft>
                        <a:buFont typeface="Wingdings" panose="05000000000000000000" pitchFamily="2" charset="2"/>
                      </a:pPr>
                      <a:r>
                        <a:rPr lang="en-US" sz="1400" b="0" i="0" u="none" strike="noStrike" kern="1200">
                          <a:solidFill>
                            <a:schemeClr val="tx1"/>
                          </a:solidFill>
                          <a:latin typeface="+mj-lt"/>
                          <a:ea typeface="+mn-ea"/>
                          <a:cs typeface="+mn-cs"/>
                        </a:rPr>
                        <a:t>Smart Ad Targeting (AI)</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DF7ED"/>
                    </a:solidFill>
                  </a:tcPr>
                </a:tc>
                <a:tc>
                  <a:txBody>
                    <a:bodyPr/>
                    <a:lstStyle/>
                    <a:p>
                      <a:pPr lvl="0" algn="ctr" defTabSz="914400" rtl="0" eaLnBrk="1" latinLnBrk="0" hangingPunct="1">
                        <a:lnSpc>
                          <a:spcPct val="100000"/>
                        </a:lnSpc>
                        <a:spcBef>
                          <a:spcPts val="0"/>
                        </a:spcBef>
                        <a:spcAft>
                          <a:spcPts val="0"/>
                        </a:spcAft>
                        <a:buFont typeface="Wingdings" panose="05000000000000000000" pitchFamily="2" charset="2"/>
                      </a:pPr>
                      <a:r>
                        <a:rPr lang="en-US" sz="1400" b="0" i="0" u="none" strike="noStrike" kern="1200">
                          <a:solidFill>
                            <a:schemeClr val="tx1"/>
                          </a:solidFill>
                          <a:latin typeface="+mj-lt"/>
                          <a:ea typeface="+mn-ea"/>
                          <a:cs typeface="+mn-cs"/>
                        </a:rPr>
                        <a:t>Limite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DF7ED"/>
                    </a:solidFill>
                  </a:tcPr>
                </a:tc>
                <a:tc>
                  <a:txBody>
                    <a:bodyPr/>
                    <a:lstStyle/>
                    <a:p>
                      <a:pPr lvl="0" algn="ctr" defTabSz="914400" rtl="0" eaLnBrk="1" latinLnBrk="0" hangingPunct="1">
                        <a:lnSpc>
                          <a:spcPct val="100000"/>
                        </a:lnSpc>
                        <a:spcBef>
                          <a:spcPts val="0"/>
                        </a:spcBef>
                        <a:spcAft>
                          <a:spcPts val="0"/>
                        </a:spcAft>
                        <a:buFont typeface="Wingdings" panose="05000000000000000000" pitchFamily="2" charset="2"/>
                      </a:pPr>
                      <a:r>
                        <a:rPr lang="en-US" sz="1400" b="0" i="0" u="none" strike="noStrike" kern="1200">
                          <a:solidFill>
                            <a:schemeClr val="tx1"/>
                          </a:solidFill>
                          <a:latin typeface="+mj-lt"/>
                          <a:ea typeface="+mn-ea"/>
                          <a:cs typeface="+mn-cs"/>
                        </a:rPr>
                        <a:t>Advance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2774032848"/>
                  </a:ext>
                </a:extLst>
              </a:tr>
              <a:tr h="370840">
                <a:tc>
                  <a:txBody>
                    <a:bodyPr/>
                    <a:lstStyle/>
                    <a:p>
                      <a:pPr lvl="0" algn="l" defTabSz="914400" rtl="0" eaLnBrk="1" latinLnBrk="0" hangingPunct="1">
                        <a:lnSpc>
                          <a:spcPct val="100000"/>
                        </a:lnSpc>
                        <a:spcBef>
                          <a:spcPts val="0"/>
                        </a:spcBef>
                        <a:spcAft>
                          <a:spcPts val="0"/>
                        </a:spcAft>
                        <a:buFont typeface="Wingdings" panose="05000000000000000000" pitchFamily="2" charset="2"/>
                      </a:pPr>
                      <a:r>
                        <a:rPr lang="en-US" sz="1400" b="0" i="0" u="none" strike="noStrike" kern="1200">
                          <a:solidFill>
                            <a:schemeClr val="tx1"/>
                          </a:solidFill>
                          <a:latin typeface="+mj-lt"/>
                          <a:ea typeface="+mn-ea"/>
                          <a:cs typeface="+mn-cs"/>
                        </a:rPr>
                        <a:t>Developer Ecosystem Acces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pPr lvl="0" algn="ctr" defTabSz="914400" rtl="0" eaLnBrk="1" latinLnBrk="0" hangingPunct="1">
                        <a:lnSpc>
                          <a:spcPct val="100000"/>
                        </a:lnSpc>
                        <a:spcBef>
                          <a:spcPts val="0"/>
                        </a:spcBef>
                        <a:spcAft>
                          <a:spcPts val="0"/>
                        </a:spcAft>
                        <a:buFont typeface="Wingdings" panose="05000000000000000000" pitchFamily="2" charset="2"/>
                      </a:pPr>
                      <a:r>
                        <a:rPr lang="en-US" sz="1400" b="0" i="0" u="none" strike="noStrike" kern="1200">
                          <a:solidFill>
                            <a:schemeClr val="tx1"/>
                          </a:solidFill>
                          <a:latin typeface="+mj-lt"/>
                          <a:ea typeface="+mn-ea"/>
                          <a:cs typeface="+mn-cs"/>
                        </a:rPr>
                        <a:t>Moderat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pPr lvl="0" algn="ctr" defTabSz="914400" rtl="0" eaLnBrk="1" latinLnBrk="0" hangingPunct="1">
                        <a:lnSpc>
                          <a:spcPct val="100000"/>
                        </a:lnSpc>
                        <a:spcBef>
                          <a:spcPts val="0"/>
                        </a:spcBef>
                        <a:spcAft>
                          <a:spcPts val="0"/>
                        </a:spcAft>
                        <a:buFont typeface="Wingdings" panose="05000000000000000000" pitchFamily="2" charset="2"/>
                      </a:pPr>
                      <a:r>
                        <a:rPr lang="en-US" sz="1400" b="0" i="0" u="none" strike="noStrike" kern="1200">
                          <a:solidFill>
                            <a:schemeClr val="tx1"/>
                          </a:solidFill>
                          <a:latin typeface="+mj-lt"/>
                          <a:ea typeface="+mn-ea"/>
                          <a:cs typeface="+mn-cs"/>
                        </a:rPr>
                        <a:t>Expande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53306284"/>
                  </a:ext>
                </a:extLst>
              </a:tr>
            </a:tbl>
          </a:graphicData>
        </a:graphic>
      </p:graphicFrame>
      <p:sp>
        <p:nvSpPr>
          <p:cNvPr id="4" name="Title 3">
            <a:extLst>
              <a:ext uri="{FF2B5EF4-FFF2-40B4-BE49-F238E27FC236}">
                <a16:creationId xmlns:a16="http://schemas.microsoft.com/office/drawing/2014/main" id="{CEB2421B-4193-05F8-D3EF-ABA35A9F11A2}"/>
              </a:ext>
            </a:extLst>
          </p:cNvPr>
          <p:cNvSpPr>
            <a:spLocks noGrp="1"/>
          </p:cNvSpPr>
          <p:nvPr>
            <p:ph type="title"/>
          </p:nvPr>
        </p:nvSpPr>
        <p:spPr/>
        <p:txBody>
          <a:bodyPr/>
          <a:lstStyle/>
          <a:p>
            <a:r>
              <a:rPr lang="en-CA"/>
              <a:t>Delivering Tangible Benefits to End-Users</a:t>
            </a:r>
            <a:endParaRPr lang="en-US"/>
          </a:p>
        </p:txBody>
      </p:sp>
      <p:sp>
        <p:nvSpPr>
          <p:cNvPr id="5" name="Text Placeholder 4">
            <a:extLst>
              <a:ext uri="{FF2B5EF4-FFF2-40B4-BE49-F238E27FC236}">
                <a16:creationId xmlns:a16="http://schemas.microsoft.com/office/drawing/2014/main" id="{D483C88B-9888-A52C-ECC9-31FB02D1F110}"/>
              </a:ext>
            </a:extLst>
          </p:cNvPr>
          <p:cNvSpPr>
            <a:spLocks noGrp="1"/>
          </p:cNvSpPr>
          <p:nvPr>
            <p:ph type="body" sz="quarter" idx="13"/>
          </p:nvPr>
        </p:nvSpPr>
        <p:spPr/>
        <p:txBody>
          <a:bodyPr/>
          <a:lstStyle/>
          <a:p>
            <a:endParaRPr lang="en-US"/>
          </a:p>
        </p:txBody>
      </p:sp>
      <p:sp>
        <p:nvSpPr>
          <p:cNvPr id="7" name="Rectangle 6">
            <a:extLst>
              <a:ext uri="{FF2B5EF4-FFF2-40B4-BE49-F238E27FC236}">
                <a16:creationId xmlns:a16="http://schemas.microsoft.com/office/drawing/2014/main" id="{B4529011-0E42-02D4-E3F9-0B066AB40722}"/>
              </a:ext>
            </a:extLst>
          </p:cNvPr>
          <p:cNvSpPr/>
          <p:nvPr/>
        </p:nvSpPr>
        <p:spPr>
          <a:xfrm>
            <a:off x="250825" y="972154"/>
            <a:ext cx="4321175" cy="3230880"/>
          </a:xfrm>
          <a:prstGeom prst="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schemeClr val="tx1"/>
              </a:solidFill>
            </a:endParaRPr>
          </a:p>
          <a:p>
            <a:pPr algn="ctr"/>
            <a:r>
              <a:rPr lang="en-US" b="1">
                <a:solidFill>
                  <a:schemeClr val="tx1"/>
                </a:solidFill>
              </a:rPr>
              <a:t>App Developers</a:t>
            </a:r>
          </a:p>
          <a:p>
            <a:pPr algn="ctr"/>
            <a:endParaRPr lang="en-US" b="1">
              <a:solidFill>
                <a:schemeClr val="tx1"/>
              </a:solidFill>
            </a:endParaRPr>
          </a:p>
          <a:p>
            <a:pPr algn="ctr">
              <a:lnSpc>
                <a:spcPct val="150000"/>
              </a:lnSpc>
            </a:pPr>
            <a:r>
              <a:rPr lang="en-US" sz="1400">
                <a:solidFill>
                  <a:schemeClr val="tx1"/>
                </a:solidFill>
              </a:rPr>
              <a:t>Adding Shopify storefronts or affiliate links inside app/games</a:t>
            </a:r>
          </a:p>
          <a:p>
            <a:pPr algn="ctr">
              <a:lnSpc>
                <a:spcPct val="150000"/>
              </a:lnSpc>
            </a:pPr>
            <a:endParaRPr lang="en-US" sz="800">
              <a:solidFill>
                <a:schemeClr val="tx1"/>
              </a:solidFill>
            </a:endParaRPr>
          </a:p>
          <a:p>
            <a:pPr algn="ctr">
              <a:lnSpc>
                <a:spcPct val="150000"/>
              </a:lnSpc>
            </a:pPr>
            <a:r>
              <a:rPr lang="en-US" sz="1400">
                <a:solidFill>
                  <a:schemeClr val="tx1"/>
                </a:solidFill>
              </a:rPr>
              <a:t>Easier access to e-commerce APIs</a:t>
            </a:r>
          </a:p>
          <a:p>
            <a:pPr algn="ctr">
              <a:lnSpc>
                <a:spcPct val="150000"/>
              </a:lnSpc>
            </a:pPr>
            <a:r>
              <a:rPr lang="en-US" sz="1400">
                <a:solidFill>
                  <a:schemeClr val="tx1"/>
                </a:solidFill>
              </a:rPr>
              <a:t>Expanded audience reach</a:t>
            </a:r>
          </a:p>
          <a:p>
            <a:pPr algn="ctr">
              <a:lnSpc>
                <a:spcPct val="150000"/>
              </a:lnSpc>
            </a:pPr>
            <a:endParaRPr lang="en-US" sz="800">
              <a:solidFill>
                <a:schemeClr val="tx1"/>
              </a:solidFill>
            </a:endParaRPr>
          </a:p>
          <a:p>
            <a:pPr algn="ctr">
              <a:lnSpc>
                <a:spcPct val="150000"/>
              </a:lnSpc>
            </a:pPr>
            <a:r>
              <a:rPr lang="en-US" sz="1400">
                <a:solidFill>
                  <a:schemeClr val="tx1"/>
                </a:solidFill>
              </a:rPr>
              <a:t>Access to Shopify’s payments, fulfillment, and analytics stack</a:t>
            </a:r>
            <a:endParaRPr lang="en-US"/>
          </a:p>
          <a:p>
            <a:endParaRPr lang="en-US"/>
          </a:p>
        </p:txBody>
      </p:sp>
      <p:sp>
        <p:nvSpPr>
          <p:cNvPr id="8" name="Rectangle 7">
            <a:extLst>
              <a:ext uri="{FF2B5EF4-FFF2-40B4-BE49-F238E27FC236}">
                <a16:creationId xmlns:a16="http://schemas.microsoft.com/office/drawing/2014/main" id="{52733E81-2DFB-59EF-603B-122C0658301F}"/>
              </a:ext>
            </a:extLst>
          </p:cNvPr>
          <p:cNvSpPr/>
          <p:nvPr/>
        </p:nvSpPr>
        <p:spPr>
          <a:xfrm>
            <a:off x="4742687" y="972154"/>
            <a:ext cx="4150487" cy="3230880"/>
          </a:xfrm>
          <a:prstGeom prst="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a:solidFill>
                  <a:schemeClr val="tx1"/>
                </a:solidFill>
              </a:rPr>
              <a:t>Shopify Merchants</a:t>
            </a:r>
          </a:p>
          <a:p>
            <a:pPr algn="ctr"/>
            <a:endParaRPr lang="en-US" b="1">
              <a:solidFill>
                <a:schemeClr val="tx1"/>
              </a:solidFill>
            </a:endParaRPr>
          </a:p>
          <a:p>
            <a:pPr algn="ctr">
              <a:lnSpc>
                <a:spcPct val="150000"/>
              </a:lnSpc>
            </a:pPr>
            <a:r>
              <a:rPr lang="en-US" sz="1400">
                <a:solidFill>
                  <a:schemeClr val="tx1"/>
                </a:solidFill>
              </a:rPr>
              <a:t>Improved ad performance</a:t>
            </a:r>
          </a:p>
          <a:p>
            <a:pPr algn="ctr">
              <a:lnSpc>
                <a:spcPct val="150000"/>
              </a:lnSpc>
            </a:pPr>
            <a:endParaRPr lang="en-US" sz="1400">
              <a:solidFill>
                <a:schemeClr val="tx1"/>
              </a:solidFill>
            </a:endParaRPr>
          </a:p>
          <a:p>
            <a:pPr algn="ctr">
              <a:lnSpc>
                <a:spcPct val="150000"/>
              </a:lnSpc>
            </a:pPr>
            <a:r>
              <a:rPr lang="en-US" sz="1400">
                <a:solidFill>
                  <a:schemeClr val="tx1"/>
                </a:solidFill>
              </a:rPr>
              <a:t>New ad monetization tools</a:t>
            </a:r>
          </a:p>
          <a:p>
            <a:pPr algn="ctr">
              <a:lnSpc>
                <a:spcPct val="150000"/>
              </a:lnSpc>
            </a:pPr>
            <a:endParaRPr lang="en-US" sz="1400">
              <a:solidFill>
                <a:schemeClr val="tx1"/>
              </a:solidFill>
            </a:endParaRPr>
          </a:p>
          <a:p>
            <a:pPr algn="ctr">
              <a:lnSpc>
                <a:spcPct val="150000"/>
              </a:lnSpc>
            </a:pPr>
            <a:r>
              <a:rPr lang="en-US" sz="1400">
                <a:solidFill>
                  <a:schemeClr val="tx1"/>
                </a:solidFill>
              </a:rPr>
              <a:t>One-stop commerce and marketing</a:t>
            </a:r>
          </a:p>
          <a:p>
            <a:pPr algn="ctr">
              <a:lnSpc>
                <a:spcPct val="150000"/>
              </a:lnSpc>
            </a:pPr>
            <a:endParaRPr lang="en-US" sz="1400">
              <a:solidFill>
                <a:schemeClr val="tx1"/>
              </a:solidFill>
            </a:endParaRPr>
          </a:p>
          <a:p>
            <a:pPr algn="ctr">
              <a:lnSpc>
                <a:spcPct val="150000"/>
              </a:lnSpc>
            </a:pPr>
            <a:r>
              <a:rPr lang="en-US" sz="1400">
                <a:solidFill>
                  <a:schemeClr val="tx1"/>
                </a:solidFill>
              </a:rPr>
              <a:t>Better customer intelligence</a:t>
            </a:r>
          </a:p>
        </p:txBody>
      </p:sp>
      <p:grpSp>
        <p:nvGrpSpPr>
          <p:cNvPr id="15" name="Group 14">
            <a:extLst>
              <a:ext uri="{FF2B5EF4-FFF2-40B4-BE49-F238E27FC236}">
                <a16:creationId xmlns:a16="http://schemas.microsoft.com/office/drawing/2014/main" id="{99497E09-A081-16AE-9C22-B038DF117704}"/>
              </a:ext>
            </a:extLst>
          </p:cNvPr>
          <p:cNvGrpSpPr/>
          <p:nvPr/>
        </p:nvGrpSpPr>
        <p:grpSpPr>
          <a:xfrm>
            <a:off x="7364888" y="4773323"/>
            <a:ext cx="214313" cy="160050"/>
            <a:chOff x="-1298575" y="6262974"/>
            <a:chExt cx="214313" cy="160050"/>
          </a:xfrm>
        </p:grpSpPr>
        <p:cxnSp>
          <p:nvCxnSpPr>
            <p:cNvPr id="9" name="Straight Connector 8">
              <a:extLst>
                <a:ext uri="{FF2B5EF4-FFF2-40B4-BE49-F238E27FC236}">
                  <a16:creationId xmlns:a16="http://schemas.microsoft.com/office/drawing/2014/main" id="{7766485A-055B-5F39-D907-43D0A7E48BD1}"/>
                </a:ext>
              </a:extLst>
            </p:cNvPr>
            <p:cNvCxnSpPr/>
            <p:nvPr/>
          </p:nvCxnSpPr>
          <p:spPr>
            <a:xfrm flipH="1">
              <a:off x="-1255712" y="6262974"/>
              <a:ext cx="171450" cy="160050"/>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30661A4-44DE-C767-5A8A-BBD72A0E0D8B}"/>
                </a:ext>
              </a:extLst>
            </p:cNvPr>
            <p:cNvCxnSpPr>
              <a:cxnSpLocks/>
            </p:cNvCxnSpPr>
            <p:nvPr/>
          </p:nvCxnSpPr>
          <p:spPr>
            <a:xfrm>
              <a:off x="-1298575" y="6342999"/>
              <a:ext cx="85725" cy="80025"/>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CDE3F274-B1CB-66E4-8CDC-386A1F204D7C}"/>
              </a:ext>
            </a:extLst>
          </p:cNvPr>
          <p:cNvGrpSpPr/>
          <p:nvPr/>
        </p:nvGrpSpPr>
        <p:grpSpPr>
          <a:xfrm>
            <a:off x="7364888" y="5141549"/>
            <a:ext cx="214313" cy="160050"/>
            <a:chOff x="-1298575" y="6262974"/>
            <a:chExt cx="214313" cy="160050"/>
          </a:xfrm>
        </p:grpSpPr>
        <p:cxnSp>
          <p:nvCxnSpPr>
            <p:cNvPr id="17" name="Straight Connector 16">
              <a:extLst>
                <a:ext uri="{FF2B5EF4-FFF2-40B4-BE49-F238E27FC236}">
                  <a16:creationId xmlns:a16="http://schemas.microsoft.com/office/drawing/2014/main" id="{1C89BFB7-ACED-59BB-765F-87FCC4EAEFFD}"/>
                </a:ext>
              </a:extLst>
            </p:cNvPr>
            <p:cNvCxnSpPr/>
            <p:nvPr/>
          </p:nvCxnSpPr>
          <p:spPr>
            <a:xfrm flipH="1">
              <a:off x="-1255712" y="6262974"/>
              <a:ext cx="171450" cy="160050"/>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473A8C9-579F-7ED4-97E9-2DD92F63A2E4}"/>
                </a:ext>
              </a:extLst>
            </p:cNvPr>
            <p:cNvCxnSpPr>
              <a:cxnSpLocks/>
            </p:cNvCxnSpPr>
            <p:nvPr/>
          </p:nvCxnSpPr>
          <p:spPr>
            <a:xfrm>
              <a:off x="-1298575" y="6342999"/>
              <a:ext cx="85725" cy="80025"/>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5BDF2DF6-0212-637D-BFF4-C1228C4B2B9B}"/>
              </a:ext>
            </a:extLst>
          </p:cNvPr>
          <p:cNvGrpSpPr/>
          <p:nvPr/>
        </p:nvGrpSpPr>
        <p:grpSpPr>
          <a:xfrm>
            <a:off x="4486274" y="5141549"/>
            <a:ext cx="171450" cy="160050"/>
            <a:chOff x="9756941" y="5717459"/>
            <a:chExt cx="171450" cy="160050"/>
          </a:xfrm>
        </p:grpSpPr>
        <p:cxnSp>
          <p:nvCxnSpPr>
            <p:cNvPr id="22" name="Straight Connector 21">
              <a:extLst>
                <a:ext uri="{FF2B5EF4-FFF2-40B4-BE49-F238E27FC236}">
                  <a16:creationId xmlns:a16="http://schemas.microsoft.com/office/drawing/2014/main" id="{D670C183-6F79-6180-2CDB-70C4DFA7FC76}"/>
                </a:ext>
              </a:extLst>
            </p:cNvPr>
            <p:cNvCxnSpPr/>
            <p:nvPr/>
          </p:nvCxnSpPr>
          <p:spPr>
            <a:xfrm flipH="1">
              <a:off x="9756941" y="5717459"/>
              <a:ext cx="171450" cy="160050"/>
            </a:xfrm>
            <a:prstGeom prst="line">
              <a:avLst/>
            </a:prstGeom>
            <a:ln w="508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85B743C-C9F6-B5CD-8517-5024CB8FA677}"/>
                </a:ext>
              </a:extLst>
            </p:cNvPr>
            <p:cNvCxnSpPr>
              <a:cxnSpLocks/>
            </p:cNvCxnSpPr>
            <p:nvPr/>
          </p:nvCxnSpPr>
          <p:spPr>
            <a:xfrm>
              <a:off x="9756941" y="5717459"/>
              <a:ext cx="171450" cy="160050"/>
            </a:xfrm>
            <a:prstGeom prst="line">
              <a:avLst/>
            </a:prstGeom>
            <a:ln w="508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7A7BE3CB-06D6-77A6-E903-A2688076BE24}"/>
              </a:ext>
            </a:extLst>
          </p:cNvPr>
          <p:cNvGrpSpPr/>
          <p:nvPr/>
        </p:nvGrpSpPr>
        <p:grpSpPr>
          <a:xfrm>
            <a:off x="4486274" y="4773323"/>
            <a:ext cx="171450" cy="160050"/>
            <a:chOff x="9756941" y="5717459"/>
            <a:chExt cx="171450" cy="160050"/>
          </a:xfrm>
        </p:grpSpPr>
        <p:cxnSp>
          <p:nvCxnSpPr>
            <p:cNvPr id="28" name="Straight Connector 27">
              <a:extLst>
                <a:ext uri="{FF2B5EF4-FFF2-40B4-BE49-F238E27FC236}">
                  <a16:creationId xmlns:a16="http://schemas.microsoft.com/office/drawing/2014/main" id="{066CD4A7-DE8B-E5B7-452B-B23508CC3730}"/>
                </a:ext>
              </a:extLst>
            </p:cNvPr>
            <p:cNvCxnSpPr/>
            <p:nvPr/>
          </p:nvCxnSpPr>
          <p:spPr>
            <a:xfrm flipH="1">
              <a:off x="9756941" y="5717459"/>
              <a:ext cx="171450" cy="160050"/>
            </a:xfrm>
            <a:prstGeom prst="line">
              <a:avLst/>
            </a:prstGeom>
            <a:ln w="508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CD56A4B-1B77-85E8-FD47-C3CDE3F7D0FF}"/>
                </a:ext>
              </a:extLst>
            </p:cNvPr>
            <p:cNvCxnSpPr>
              <a:cxnSpLocks/>
            </p:cNvCxnSpPr>
            <p:nvPr/>
          </p:nvCxnSpPr>
          <p:spPr>
            <a:xfrm>
              <a:off x="9756941" y="5717459"/>
              <a:ext cx="171450" cy="160050"/>
            </a:xfrm>
            <a:prstGeom prst="line">
              <a:avLst/>
            </a:prstGeom>
            <a:ln w="50800">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954620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03DC6C-89CE-D709-2DA1-F17D6E28D25E}"/>
            </a:ext>
          </a:extLst>
        </p:cNvPr>
        <p:cNvGrpSpPr/>
        <p:nvPr/>
      </p:nvGrpSpPr>
      <p:grpSpPr>
        <a:xfrm>
          <a:off x="0" y="0"/>
          <a:ext cx="0" cy="0"/>
          <a:chOff x="0" y="0"/>
          <a:chExt cx="0" cy="0"/>
        </a:xfrm>
      </p:grpSpPr>
      <p:sp>
        <p:nvSpPr>
          <p:cNvPr id="13" name="Text Placeholder 12">
            <a:extLst>
              <a:ext uri="{FF2B5EF4-FFF2-40B4-BE49-F238E27FC236}">
                <a16:creationId xmlns:a16="http://schemas.microsoft.com/office/drawing/2014/main" id="{1E6520E8-D32A-922E-3AE0-0F47319F5763}"/>
              </a:ext>
            </a:extLst>
          </p:cNvPr>
          <p:cNvSpPr>
            <a:spLocks noGrp="1"/>
          </p:cNvSpPr>
          <p:nvPr>
            <p:ph type="body" sz="quarter" idx="21"/>
          </p:nvPr>
        </p:nvSpPr>
        <p:spPr/>
        <p:txBody>
          <a:bodyPr/>
          <a:lstStyle/>
          <a:p>
            <a:r>
              <a:rPr lang="en-US"/>
              <a:t>What the Next 5-Years Will Look Like For Shopify</a:t>
            </a:r>
          </a:p>
        </p:txBody>
      </p:sp>
      <p:sp>
        <p:nvSpPr>
          <p:cNvPr id="5" name="Title 4">
            <a:extLst>
              <a:ext uri="{FF2B5EF4-FFF2-40B4-BE49-F238E27FC236}">
                <a16:creationId xmlns:a16="http://schemas.microsoft.com/office/drawing/2014/main" id="{C2AA6E86-B7E8-19A3-7B9A-57D43D1AF64B}"/>
              </a:ext>
            </a:extLst>
          </p:cNvPr>
          <p:cNvSpPr>
            <a:spLocks noGrp="1"/>
          </p:cNvSpPr>
          <p:nvPr>
            <p:ph type="title"/>
          </p:nvPr>
        </p:nvSpPr>
        <p:spPr/>
        <p:txBody>
          <a:bodyPr/>
          <a:lstStyle/>
          <a:p>
            <a:r>
              <a:rPr lang="en-US"/>
              <a:t>5 Year Timeline Plan</a:t>
            </a:r>
          </a:p>
        </p:txBody>
      </p:sp>
      <p:sp>
        <p:nvSpPr>
          <p:cNvPr id="8" name="Text Placeholder 7">
            <a:extLst>
              <a:ext uri="{FF2B5EF4-FFF2-40B4-BE49-F238E27FC236}">
                <a16:creationId xmlns:a16="http://schemas.microsoft.com/office/drawing/2014/main" id="{756510EF-9136-D590-7F64-59944DB047BB}"/>
              </a:ext>
            </a:extLst>
          </p:cNvPr>
          <p:cNvSpPr>
            <a:spLocks noGrp="1"/>
          </p:cNvSpPr>
          <p:nvPr>
            <p:ph type="body" sz="quarter" idx="13"/>
          </p:nvPr>
        </p:nvSpPr>
        <p:spPr/>
        <p:txBody>
          <a:bodyPr/>
          <a:lstStyle/>
          <a:p>
            <a:endParaRPr lang="en-US"/>
          </a:p>
        </p:txBody>
      </p:sp>
      <p:graphicFrame>
        <p:nvGraphicFramePr>
          <p:cNvPr id="7" name="Table 6">
            <a:extLst>
              <a:ext uri="{FF2B5EF4-FFF2-40B4-BE49-F238E27FC236}">
                <a16:creationId xmlns:a16="http://schemas.microsoft.com/office/drawing/2014/main" id="{E0F1B0F6-866A-B49C-FE6B-0DD023BB3CBC}"/>
              </a:ext>
            </a:extLst>
          </p:cNvPr>
          <p:cNvGraphicFramePr>
            <a:graphicFrameLocks noGrp="1"/>
          </p:cNvGraphicFramePr>
          <p:nvPr>
            <p:extLst>
              <p:ext uri="{D42A27DB-BD31-4B8C-83A1-F6EECF244321}">
                <p14:modId xmlns:p14="http://schemas.microsoft.com/office/powerpoint/2010/main" val="669448797"/>
              </p:ext>
            </p:extLst>
          </p:nvPr>
        </p:nvGraphicFramePr>
        <p:xfrm>
          <a:off x="250825" y="914401"/>
          <a:ext cx="8642352" cy="5293517"/>
        </p:xfrm>
        <a:graphic>
          <a:graphicData uri="http://schemas.openxmlformats.org/drawingml/2006/table">
            <a:tbl>
              <a:tblPr>
                <a:tableStyleId>{9DCAF9ED-07DC-4A11-8D7F-57B35C25682E}</a:tableStyleId>
              </a:tblPr>
              <a:tblGrid>
                <a:gridCol w="1508982">
                  <a:extLst>
                    <a:ext uri="{9D8B030D-6E8A-4147-A177-3AD203B41FA5}">
                      <a16:colId xmlns:a16="http://schemas.microsoft.com/office/drawing/2014/main" val="2298869959"/>
                    </a:ext>
                  </a:extLst>
                </a:gridCol>
                <a:gridCol w="1426674">
                  <a:extLst>
                    <a:ext uri="{9D8B030D-6E8A-4147-A177-3AD203B41FA5}">
                      <a16:colId xmlns:a16="http://schemas.microsoft.com/office/drawing/2014/main" val="3615132503"/>
                    </a:ext>
                  </a:extLst>
                </a:gridCol>
                <a:gridCol w="1426674">
                  <a:extLst>
                    <a:ext uri="{9D8B030D-6E8A-4147-A177-3AD203B41FA5}">
                      <a16:colId xmlns:a16="http://schemas.microsoft.com/office/drawing/2014/main" val="1075753522"/>
                    </a:ext>
                  </a:extLst>
                </a:gridCol>
                <a:gridCol w="1426674">
                  <a:extLst>
                    <a:ext uri="{9D8B030D-6E8A-4147-A177-3AD203B41FA5}">
                      <a16:colId xmlns:a16="http://schemas.microsoft.com/office/drawing/2014/main" val="1922399715"/>
                    </a:ext>
                  </a:extLst>
                </a:gridCol>
                <a:gridCol w="1426674">
                  <a:extLst>
                    <a:ext uri="{9D8B030D-6E8A-4147-A177-3AD203B41FA5}">
                      <a16:colId xmlns:a16="http://schemas.microsoft.com/office/drawing/2014/main" val="2816777798"/>
                    </a:ext>
                  </a:extLst>
                </a:gridCol>
                <a:gridCol w="1426674">
                  <a:extLst>
                    <a:ext uri="{9D8B030D-6E8A-4147-A177-3AD203B41FA5}">
                      <a16:colId xmlns:a16="http://schemas.microsoft.com/office/drawing/2014/main" val="119506209"/>
                    </a:ext>
                  </a:extLst>
                </a:gridCol>
              </a:tblGrid>
              <a:tr h="337883">
                <a:tc>
                  <a:txBody>
                    <a:bodyPr/>
                    <a:lstStyle/>
                    <a:p>
                      <a:pPr lvl="0" algn="ctr" fontAlgn="b"/>
                      <a:r>
                        <a:rPr lang="en-CA" sz="1100" b="1" u="none" strike="noStrike">
                          <a:solidFill>
                            <a:schemeClr val="bg1"/>
                          </a:solidFill>
                          <a:effectLst/>
                        </a:rPr>
                        <a:t>Phase </a:t>
                      </a:r>
                      <a:endParaRPr lang="en-CA" sz="1100" b="1" i="0" u="none" strike="noStrike">
                        <a:solidFill>
                          <a:schemeClr val="bg1"/>
                        </a:solidFill>
                        <a:effectLst/>
                        <a:latin typeface="Arial" panose="020B0604020202020204" pitchFamily="34" charset="0"/>
                      </a:endParaRPr>
                    </a:p>
                  </a:txBody>
                  <a:tcPr marL="0" marR="0" marT="0" marB="0" anchor="ctr">
                    <a:solidFill>
                      <a:srgbClr val="008864"/>
                    </a:solidFill>
                  </a:tcPr>
                </a:tc>
                <a:tc>
                  <a:txBody>
                    <a:bodyPr/>
                    <a:lstStyle/>
                    <a:p>
                      <a:pPr algn="ctr" fontAlgn="b"/>
                      <a:r>
                        <a:rPr lang="en-CA" sz="1100" b="1" u="none" strike="noStrike">
                          <a:solidFill>
                            <a:schemeClr val="bg1"/>
                          </a:solidFill>
                          <a:effectLst/>
                        </a:rPr>
                        <a:t>Year 1</a:t>
                      </a:r>
                      <a:endParaRPr lang="en-CA" sz="1100" b="1" i="0" u="none" strike="noStrike">
                        <a:solidFill>
                          <a:schemeClr val="bg1"/>
                        </a:solidFill>
                        <a:effectLst/>
                        <a:latin typeface="Arial" panose="020B0604020202020204" pitchFamily="34" charset="0"/>
                      </a:endParaRPr>
                    </a:p>
                  </a:txBody>
                  <a:tcPr marL="0" marR="0" marT="0" marB="0" anchor="ctr">
                    <a:solidFill>
                      <a:srgbClr val="008864"/>
                    </a:solidFill>
                  </a:tcPr>
                </a:tc>
                <a:tc>
                  <a:txBody>
                    <a:bodyPr/>
                    <a:lstStyle/>
                    <a:p>
                      <a:pPr algn="ctr" fontAlgn="b"/>
                      <a:r>
                        <a:rPr lang="en-CA" sz="1100" b="1" u="none" strike="noStrike">
                          <a:solidFill>
                            <a:schemeClr val="bg1"/>
                          </a:solidFill>
                          <a:effectLst/>
                        </a:rPr>
                        <a:t>Year 2</a:t>
                      </a:r>
                      <a:endParaRPr lang="en-CA" sz="1100" b="1" i="0" u="none" strike="noStrike">
                        <a:solidFill>
                          <a:schemeClr val="bg1"/>
                        </a:solidFill>
                        <a:effectLst/>
                        <a:latin typeface="Arial" panose="020B0604020202020204" pitchFamily="34" charset="0"/>
                      </a:endParaRPr>
                    </a:p>
                  </a:txBody>
                  <a:tcPr marL="0" marR="0" marT="0" marB="0" anchor="ctr">
                    <a:solidFill>
                      <a:srgbClr val="008864"/>
                    </a:solidFill>
                  </a:tcPr>
                </a:tc>
                <a:tc>
                  <a:txBody>
                    <a:bodyPr/>
                    <a:lstStyle/>
                    <a:p>
                      <a:pPr algn="ctr" fontAlgn="b"/>
                      <a:r>
                        <a:rPr lang="en-CA" sz="1100" b="1" u="none" strike="noStrike">
                          <a:solidFill>
                            <a:schemeClr val="bg1"/>
                          </a:solidFill>
                          <a:effectLst/>
                        </a:rPr>
                        <a:t>Year 3</a:t>
                      </a:r>
                      <a:endParaRPr lang="en-CA" sz="1100" b="1" i="0" u="none" strike="noStrike">
                        <a:solidFill>
                          <a:schemeClr val="bg1"/>
                        </a:solidFill>
                        <a:effectLst/>
                        <a:latin typeface="Arial" panose="020B0604020202020204" pitchFamily="34" charset="0"/>
                      </a:endParaRPr>
                    </a:p>
                  </a:txBody>
                  <a:tcPr marL="0" marR="0" marT="0" marB="0" anchor="ctr">
                    <a:solidFill>
                      <a:srgbClr val="008864"/>
                    </a:solidFill>
                  </a:tcPr>
                </a:tc>
                <a:tc>
                  <a:txBody>
                    <a:bodyPr/>
                    <a:lstStyle/>
                    <a:p>
                      <a:pPr algn="ctr" fontAlgn="b"/>
                      <a:r>
                        <a:rPr lang="en-CA" sz="1100" b="1" u="none" strike="noStrike">
                          <a:solidFill>
                            <a:schemeClr val="bg1"/>
                          </a:solidFill>
                          <a:effectLst/>
                        </a:rPr>
                        <a:t>Year 4</a:t>
                      </a:r>
                      <a:endParaRPr lang="en-CA" sz="1100" b="1" i="0" u="none" strike="noStrike">
                        <a:solidFill>
                          <a:schemeClr val="bg1"/>
                        </a:solidFill>
                        <a:effectLst/>
                        <a:latin typeface="Arial" panose="020B0604020202020204" pitchFamily="34" charset="0"/>
                      </a:endParaRPr>
                    </a:p>
                  </a:txBody>
                  <a:tcPr marL="0" marR="0" marT="0" marB="0" anchor="ctr">
                    <a:solidFill>
                      <a:srgbClr val="008864"/>
                    </a:solidFill>
                  </a:tcPr>
                </a:tc>
                <a:tc>
                  <a:txBody>
                    <a:bodyPr/>
                    <a:lstStyle/>
                    <a:p>
                      <a:pPr algn="ctr" fontAlgn="b"/>
                      <a:r>
                        <a:rPr lang="en-CA" sz="1100" b="1" u="none" strike="noStrike">
                          <a:solidFill>
                            <a:schemeClr val="bg1"/>
                          </a:solidFill>
                          <a:effectLst/>
                        </a:rPr>
                        <a:t>Year 5</a:t>
                      </a:r>
                      <a:endParaRPr lang="en-CA" sz="1100" b="1" i="0" u="none" strike="noStrike">
                        <a:solidFill>
                          <a:schemeClr val="bg1"/>
                        </a:solidFill>
                        <a:effectLst/>
                        <a:latin typeface="Arial" panose="020B0604020202020204" pitchFamily="34" charset="0"/>
                      </a:endParaRPr>
                    </a:p>
                  </a:txBody>
                  <a:tcPr marL="0" marR="0" marT="0" marB="0" anchor="ctr">
                    <a:solidFill>
                      <a:srgbClr val="008864"/>
                    </a:solidFill>
                  </a:tcPr>
                </a:tc>
                <a:extLst>
                  <a:ext uri="{0D108BD9-81ED-4DB2-BD59-A6C34878D82A}">
                    <a16:rowId xmlns:a16="http://schemas.microsoft.com/office/drawing/2014/main" val="733346428"/>
                  </a:ext>
                </a:extLst>
              </a:tr>
              <a:tr h="2477817">
                <a:tc>
                  <a:txBody>
                    <a:bodyPr/>
                    <a:lstStyle/>
                    <a:p>
                      <a:pPr lvl="0" algn="ctr" fontAlgn="b"/>
                      <a:r>
                        <a:rPr lang="en-CA" sz="1100" b="1" u="none" strike="noStrike">
                          <a:solidFill>
                            <a:schemeClr val="tx2"/>
                          </a:solidFill>
                          <a:effectLst/>
                        </a:rPr>
                        <a:t>Analysis</a:t>
                      </a:r>
                      <a:endParaRPr lang="en-CA" sz="1100" b="1" i="0" u="none" strike="noStrike">
                        <a:solidFill>
                          <a:schemeClr val="tx2"/>
                        </a:solidFill>
                        <a:effectLst/>
                        <a:latin typeface="Arial" panose="020B0604020202020204" pitchFamily="34" charset="0"/>
                      </a:endParaRPr>
                    </a:p>
                  </a:txBody>
                  <a:tcPr marL="0" marR="0" marT="0" marB="0" anchor="ctr">
                    <a:lnR w="12700" cap="flat" cmpd="sng" algn="ctr">
                      <a:solidFill>
                        <a:schemeClr val="accent2"/>
                      </a:solidFill>
                      <a:prstDash val="solid"/>
                      <a:round/>
                      <a:headEnd type="none" w="med" len="med"/>
                      <a:tailEnd type="none" w="med" len="med"/>
                    </a:lnR>
                    <a:solidFill>
                      <a:srgbClr val="D8FAE5"/>
                    </a:solidFill>
                  </a:tcPr>
                </a:tc>
                <a:tc>
                  <a:txBody>
                    <a:bodyPr/>
                    <a:lstStyle/>
                    <a:p>
                      <a:pPr algn="l" fontAlgn="b"/>
                      <a:endParaRPr lang="en-CA" sz="1100" b="0" i="0" u="none" strike="noStrike">
                        <a:solidFill>
                          <a:srgbClr val="000000"/>
                        </a:solidFill>
                        <a:effectLst/>
                        <a:latin typeface="Arial" panose="020B0604020202020204" pitchFamily="34" charset="0"/>
                      </a:endParaRPr>
                    </a:p>
                  </a:txBody>
                  <a:tcPr marL="0" marR="0" marT="0" marB="0" anchor="b">
                    <a:lnL w="12700" cap="flat" cmpd="sng" algn="ctr">
                      <a:solidFill>
                        <a:schemeClr val="accent2"/>
                      </a:solidFill>
                      <a:prstDash val="solid"/>
                      <a:round/>
                      <a:headEnd type="none" w="med" len="med"/>
                      <a:tailEnd type="none" w="med" len="med"/>
                    </a:lnL>
                    <a:solidFill>
                      <a:srgbClr val="D8FAE5"/>
                    </a:solidFill>
                  </a:tcPr>
                </a:tc>
                <a:tc>
                  <a:txBody>
                    <a:bodyPr/>
                    <a:lstStyle/>
                    <a:p>
                      <a:pPr algn="l" fontAlgn="b"/>
                      <a:endParaRPr lang="en-CA" sz="1100" b="0" i="0" u="none" strike="noStrike">
                        <a:solidFill>
                          <a:srgbClr val="000000"/>
                        </a:solidFill>
                        <a:effectLst/>
                        <a:latin typeface="Arial" panose="020B0604020202020204" pitchFamily="34" charset="0"/>
                      </a:endParaRPr>
                    </a:p>
                  </a:txBody>
                  <a:tcPr marL="0" marR="0" marT="0" marB="0" anchor="b">
                    <a:solidFill>
                      <a:srgbClr val="D8FAE5"/>
                    </a:solidFill>
                  </a:tcPr>
                </a:tc>
                <a:tc>
                  <a:txBody>
                    <a:bodyPr/>
                    <a:lstStyle/>
                    <a:p>
                      <a:pPr algn="l" fontAlgn="b"/>
                      <a:endParaRPr lang="en-CA" sz="1100" b="0" i="0" u="none" strike="noStrike">
                        <a:solidFill>
                          <a:srgbClr val="000000"/>
                        </a:solidFill>
                        <a:effectLst/>
                        <a:latin typeface="Arial" panose="020B0604020202020204" pitchFamily="34" charset="0"/>
                      </a:endParaRPr>
                    </a:p>
                  </a:txBody>
                  <a:tcPr marL="0" marR="0" marT="0" marB="0" anchor="b">
                    <a:solidFill>
                      <a:srgbClr val="D8FAE5"/>
                    </a:solidFill>
                  </a:tcPr>
                </a:tc>
                <a:tc>
                  <a:txBody>
                    <a:bodyPr/>
                    <a:lstStyle/>
                    <a:p>
                      <a:pPr algn="l" fontAlgn="b"/>
                      <a:endParaRPr lang="en-CA" sz="1100" b="0" i="0" u="none" strike="noStrike">
                        <a:solidFill>
                          <a:srgbClr val="000000"/>
                        </a:solidFill>
                        <a:effectLst/>
                        <a:latin typeface="Arial" panose="020B0604020202020204" pitchFamily="34" charset="0"/>
                      </a:endParaRPr>
                    </a:p>
                  </a:txBody>
                  <a:tcPr marL="0" marR="0" marT="0" marB="0" anchor="b">
                    <a:solidFill>
                      <a:srgbClr val="D8FAE5"/>
                    </a:solidFill>
                  </a:tcPr>
                </a:tc>
                <a:tc>
                  <a:txBody>
                    <a:bodyPr/>
                    <a:lstStyle/>
                    <a:p>
                      <a:pPr algn="l" fontAlgn="b"/>
                      <a:endParaRPr lang="en-CA" sz="1100" b="0" i="0" u="none" strike="noStrike">
                        <a:solidFill>
                          <a:srgbClr val="000000"/>
                        </a:solidFill>
                        <a:effectLst/>
                        <a:latin typeface="Arial" panose="020B0604020202020204" pitchFamily="34" charset="0"/>
                      </a:endParaRPr>
                    </a:p>
                  </a:txBody>
                  <a:tcPr marL="0" marR="0" marT="0" marB="0" anchor="b">
                    <a:solidFill>
                      <a:srgbClr val="D8FAE5"/>
                    </a:solidFill>
                  </a:tcPr>
                </a:tc>
                <a:extLst>
                  <a:ext uri="{0D108BD9-81ED-4DB2-BD59-A6C34878D82A}">
                    <a16:rowId xmlns:a16="http://schemas.microsoft.com/office/drawing/2014/main" val="3027947586"/>
                  </a:ext>
                </a:extLst>
              </a:tr>
              <a:tr h="2477817">
                <a:tc>
                  <a:txBody>
                    <a:bodyPr/>
                    <a:lstStyle/>
                    <a:p>
                      <a:pPr lvl="0" algn="ctr" fontAlgn="b"/>
                      <a:r>
                        <a:rPr lang="en-CA" sz="1100" b="1" u="none" strike="noStrike">
                          <a:solidFill>
                            <a:schemeClr val="tx2"/>
                          </a:solidFill>
                          <a:effectLst/>
                        </a:rPr>
                        <a:t>Integration</a:t>
                      </a:r>
                      <a:endParaRPr lang="en-CA" sz="1100" b="1" i="0" u="none" strike="noStrike">
                        <a:solidFill>
                          <a:schemeClr val="tx2"/>
                        </a:solidFill>
                        <a:effectLst/>
                        <a:latin typeface="Arial" panose="020B0604020202020204" pitchFamily="34" charset="0"/>
                      </a:endParaRPr>
                    </a:p>
                  </a:txBody>
                  <a:tcPr marL="0" marR="0" marT="0" marB="0" anchor="ctr">
                    <a:lnR w="12700" cap="flat" cmpd="sng" algn="ctr">
                      <a:solidFill>
                        <a:schemeClr val="accent2"/>
                      </a:solidFill>
                      <a:prstDash val="solid"/>
                      <a:round/>
                      <a:headEnd type="none" w="med" len="med"/>
                      <a:tailEnd type="none" w="med" len="med"/>
                    </a:lnR>
                    <a:solidFill>
                      <a:srgbClr val="FBF7EC"/>
                    </a:solidFill>
                  </a:tcPr>
                </a:tc>
                <a:tc>
                  <a:txBody>
                    <a:bodyPr/>
                    <a:lstStyle/>
                    <a:p>
                      <a:pPr algn="l" fontAlgn="b"/>
                      <a:endParaRPr lang="en-CA" sz="1100" b="0" i="0" u="none" strike="noStrike">
                        <a:solidFill>
                          <a:srgbClr val="000000"/>
                        </a:solidFill>
                        <a:effectLst/>
                        <a:latin typeface="Arial" panose="020B0604020202020204" pitchFamily="34" charset="0"/>
                      </a:endParaRPr>
                    </a:p>
                  </a:txBody>
                  <a:tcPr marL="0" marR="0" marT="0" marB="0" anchor="b">
                    <a:lnL w="12700" cap="flat" cmpd="sng" algn="ctr">
                      <a:solidFill>
                        <a:schemeClr val="accent2"/>
                      </a:solidFill>
                      <a:prstDash val="solid"/>
                      <a:round/>
                      <a:headEnd type="none" w="med" len="med"/>
                      <a:tailEnd type="none" w="med" len="med"/>
                    </a:lnL>
                    <a:solidFill>
                      <a:srgbClr val="FBF7EC"/>
                    </a:solidFill>
                  </a:tcPr>
                </a:tc>
                <a:tc>
                  <a:txBody>
                    <a:bodyPr/>
                    <a:lstStyle/>
                    <a:p>
                      <a:pPr algn="l" fontAlgn="b"/>
                      <a:endParaRPr lang="en-CA" sz="1100" b="0" i="0" u="none" strike="noStrike">
                        <a:solidFill>
                          <a:srgbClr val="000000"/>
                        </a:solidFill>
                        <a:effectLst/>
                        <a:latin typeface="Arial" panose="020B0604020202020204" pitchFamily="34" charset="0"/>
                      </a:endParaRPr>
                    </a:p>
                  </a:txBody>
                  <a:tcPr marL="0" marR="0" marT="0" marB="0" anchor="b">
                    <a:solidFill>
                      <a:srgbClr val="FBF7EC"/>
                    </a:solidFill>
                  </a:tcPr>
                </a:tc>
                <a:tc>
                  <a:txBody>
                    <a:bodyPr/>
                    <a:lstStyle/>
                    <a:p>
                      <a:pPr algn="l" fontAlgn="b"/>
                      <a:endParaRPr lang="en-CA" sz="1100" b="0" i="0" u="none" strike="noStrike">
                        <a:solidFill>
                          <a:srgbClr val="000000"/>
                        </a:solidFill>
                        <a:effectLst/>
                        <a:latin typeface="Arial" panose="020B0604020202020204" pitchFamily="34" charset="0"/>
                      </a:endParaRPr>
                    </a:p>
                  </a:txBody>
                  <a:tcPr marL="0" marR="0" marT="0" marB="0" anchor="b">
                    <a:solidFill>
                      <a:srgbClr val="FBF7EC"/>
                    </a:solidFill>
                  </a:tcPr>
                </a:tc>
                <a:tc>
                  <a:txBody>
                    <a:bodyPr/>
                    <a:lstStyle/>
                    <a:p>
                      <a:pPr algn="l" fontAlgn="b"/>
                      <a:endParaRPr lang="en-CA" sz="1100" b="0" i="0" u="none" strike="noStrike">
                        <a:solidFill>
                          <a:srgbClr val="000000"/>
                        </a:solidFill>
                        <a:effectLst/>
                        <a:latin typeface="Arial" panose="020B0604020202020204" pitchFamily="34" charset="0"/>
                      </a:endParaRPr>
                    </a:p>
                  </a:txBody>
                  <a:tcPr marL="0" marR="0" marT="0" marB="0" anchor="b">
                    <a:solidFill>
                      <a:srgbClr val="FBF7EC"/>
                    </a:solidFill>
                  </a:tcPr>
                </a:tc>
                <a:tc>
                  <a:txBody>
                    <a:bodyPr/>
                    <a:lstStyle/>
                    <a:p>
                      <a:pPr algn="l" fontAlgn="b"/>
                      <a:endParaRPr lang="en-CA" sz="1100" b="0" i="0" u="none" strike="noStrike">
                        <a:solidFill>
                          <a:srgbClr val="000000"/>
                        </a:solidFill>
                        <a:effectLst/>
                        <a:latin typeface="Arial" panose="020B0604020202020204" pitchFamily="34" charset="0"/>
                      </a:endParaRPr>
                    </a:p>
                  </a:txBody>
                  <a:tcPr marL="0" marR="0" marT="0" marB="0" anchor="b">
                    <a:solidFill>
                      <a:srgbClr val="FBF7EC"/>
                    </a:solidFill>
                  </a:tcPr>
                </a:tc>
                <a:extLst>
                  <a:ext uri="{0D108BD9-81ED-4DB2-BD59-A6C34878D82A}">
                    <a16:rowId xmlns:a16="http://schemas.microsoft.com/office/drawing/2014/main" val="2717086893"/>
                  </a:ext>
                </a:extLst>
              </a:tr>
            </a:tbl>
          </a:graphicData>
        </a:graphic>
      </p:graphicFrame>
      <p:sp>
        <p:nvSpPr>
          <p:cNvPr id="9" name="Rectangle 8">
            <a:extLst>
              <a:ext uri="{FF2B5EF4-FFF2-40B4-BE49-F238E27FC236}">
                <a16:creationId xmlns:a16="http://schemas.microsoft.com/office/drawing/2014/main" id="{282A67F6-1511-2C44-19D3-8E3A70B6C38C}"/>
              </a:ext>
            </a:extLst>
          </p:cNvPr>
          <p:cNvSpPr/>
          <p:nvPr/>
        </p:nvSpPr>
        <p:spPr>
          <a:xfrm>
            <a:off x="1753114" y="1522050"/>
            <a:ext cx="1547782" cy="32340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900">
                <a:solidFill>
                  <a:schemeClr val="bg1"/>
                </a:solidFill>
              </a:rPr>
              <a:t>Cultural Fit Assessment</a:t>
            </a:r>
          </a:p>
        </p:txBody>
      </p:sp>
      <p:sp>
        <p:nvSpPr>
          <p:cNvPr id="10" name="Graphic 3074">
            <a:extLst>
              <a:ext uri="{FF2B5EF4-FFF2-40B4-BE49-F238E27FC236}">
                <a16:creationId xmlns:a16="http://schemas.microsoft.com/office/drawing/2014/main" id="{584EE90B-9EAE-2082-5D21-3146D0735A32}"/>
              </a:ext>
            </a:extLst>
          </p:cNvPr>
          <p:cNvSpPr/>
          <p:nvPr/>
        </p:nvSpPr>
        <p:spPr>
          <a:xfrm>
            <a:off x="2533794" y="2302260"/>
            <a:ext cx="4076412" cy="348597"/>
          </a:xfrm>
          <a:prstGeom prst="rect">
            <a:avLst/>
          </a:prstGeom>
          <a:solidFill>
            <a:schemeClr val="accent1"/>
          </a:solidFill>
          <a:ln w="9525" cap="flat">
            <a:noFill/>
            <a:prstDash val="solid"/>
            <a:miter/>
          </a:ln>
        </p:spPr>
        <p:txBody>
          <a:bodyPr lIns="68580" tIns="34290" rIns="68580" bIns="34290" rtlCol="0" anchor="ctr"/>
          <a:lstStyle/>
          <a:p>
            <a:pPr algn="ctr"/>
            <a:r>
              <a:rPr lang="en-US" sz="900">
                <a:solidFill>
                  <a:srgbClr val="FFFFFF"/>
                </a:solidFill>
                <a:latin typeface="+mj-lt"/>
              </a:rPr>
              <a:t>Revenue/Cost Synergies Analysis</a:t>
            </a:r>
          </a:p>
        </p:txBody>
      </p:sp>
      <p:sp>
        <p:nvSpPr>
          <p:cNvPr id="11" name="Graphic 3074">
            <a:extLst>
              <a:ext uri="{FF2B5EF4-FFF2-40B4-BE49-F238E27FC236}">
                <a16:creationId xmlns:a16="http://schemas.microsoft.com/office/drawing/2014/main" id="{D2533D0A-376D-51EC-3487-CCC3599B3ED9}"/>
              </a:ext>
            </a:extLst>
          </p:cNvPr>
          <p:cNvSpPr/>
          <p:nvPr/>
        </p:nvSpPr>
        <p:spPr>
          <a:xfrm>
            <a:off x="1766002" y="3074000"/>
            <a:ext cx="7127171" cy="348596"/>
          </a:xfrm>
          <a:prstGeom prst="rect">
            <a:avLst/>
          </a:prstGeom>
          <a:solidFill>
            <a:schemeClr val="accent1"/>
          </a:solidFill>
          <a:ln w="9525" cap="flat">
            <a:noFill/>
            <a:prstDash val="solid"/>
            <a:miter/>
          </a:ln>
        </p:spPr>
        <p:txBody>
          <a:bodyPr lIns="68580" tIns="34290" rIns="68580" bIns="34290" rtlCol="0" anchor="ctr"/>
          <a:lstStyle/>
          <a:p>
            <a:pPr algn="ctr"/>
            <a:r>
              <a:rPr lang="en-US" sz="900">
                <a:solidFill>
                  <a:srgbClr val="FFFFFF"/>
                </a:solidFill>
                <a:latin typeface="+mj-lt"/>
              </a:rPr>
              <a:t>On-Going Adjustments</a:t>
            </a:r>
          </a:p>
        </p:txBody>
      </p:sp>
      <p:sp>
        <p:nvSpPr>
          <p:cNvPr id="14" name="Graphic 3074">
            <a:extLst>
              <a:ext uri="{FF2B5EF4-FFF2-40B4-BE49-F238E27FC236}">
                <a16:creationId xmlns:a16="http://schemas.microsoft.com/office/drawing/2014/main" id="{E1A140DF-9E9E-40CE-B33A-828F954627B5}"/>
              </a:ext>
            </a:extLst>
          </p:cNvPr>
          <p:cNvSpPr/>
          <p:nvPr/>
        </p:nvSpPr>
        <p:spPr>
          <a:xfrm>
            <a:off x="3307685" y="4988373"/>
            <a:ext cx="3804737" cy="348596"/>
          </a:xfrm>
          <a:prstGeom prst="rect">
            <a:avLst/>
          </a:prstGeom>
          <a:solidFill>
            <a:schemeClr val="accent1"/>
          </a:solidFill>
          <a:ln w="9525" cap="flat">
            <a:noFill/>
            <a:prstDash val="solid"/>
            <a:miter/>
          </a:ln>
        </p:spPr>
        <p:txBody>
          <a:bodyPr lIns="68580" tIns="34290" rIns="68580" bIns="34290" rtlCol="0" anchor="ctr"/>
          <a:lstStyle/>
          <a:p>
            <a:pPr algn="ctr"/>
            <a:r>
              <a:rPr lang="en-US" sz="900">
                <a:solidFill>
                  <a:srgbClr val="FFFFFF"/>
                </a:solidFill>
                <a:latin typeface="+mj-lt"/>
              </a:rPr>
              <a:t>Tech and Ad Platform Integration</a:t>
            </a:r>
          </a:p>
        </p:txBody>
      </p:sp>
      <p:sp>
        <p:nvSpPr>
          <p:cNvPr id="15" name="Graphic 3074">
            <a:extLst>
              <a:ext uri="{FF2B5EF4-FFF2-40B4-BE49-F238E27FC236}">
                <a16:creationId xmlns:a16="http://schemas.microsoft.com/office/drawing/2014/main" id="{8A8A28E7-87C7-21EF-2751-DF838415F56F}"/>
              </a:ext>
            </a:extLst>
          </p:cNvPr>
          <p:cNvSpPr/>
          <p:nvPr/>
        </p:nvSpPr>
        <p:spPr>
          <a:xfrm>
            <a:off x="3300896" y="4407601"/>
            <a:ext cx="3804737" cy="372654"/>
          </a:xfrm>
          <a:prstGeom prst="rect">
            <a:avLst/>
          </a:prstGeom>
          <a:solidFill>
            <a:schemeClr val="accent1"/>
          </a:solidFill>
          <a:ln w="9525" cap="flat">
            <a:noFill/>
            <a:prstDash val="solid"/>
            <a:miter/>
          </a:ln>
        </p:spPr>
        <p:txBody>
          <a:bodyPr lIns="68580" tIns="34290" rIns="68580" bIns="34290" rtlCol="0" anchor="ctr"/>
          <a:lstStyle/>
          <a:p>
            <a:pPr algn="ctr"/>
            <a:r>
              <a:rPr lang="en-US" sz="900">
                <a:solidFill>
                  <a:srgbClr val="FFFFFF"/>
                </a:solidFill>
                <a:latin typeface="+mj-lt"/>
              </a:rPr>
              <a:t>Sales and Marketing Integration</a:t>
            </a:r>
          </a:p>
        </p:txBody>
      </p:sp>
      <p:sp>
        <p:nvSpPr>
          <p:cNvPr id="18" name="Graphic 3074">
            <a:extLst>
              <a:ext uri="{FF2B5EF4-FFF2-40B4-BE49-F238E27FC236}">
                <a16:creationId xmlns:a16="http://schemas.microsoft.com/office/drawing/2014/main" id="{F52DA4F7-071B-D933-6A98-C523BC2ACECC}"/>
              </a:ext>
            </a:extLst>
          </p:cNvPr>
          <p:cNvSpPr/>
          <p:nvPr/>
        </p:nvSpPr>
        <p:spPr>
          <a:xfrm>
            <a:off x="1759902" y="3845739"/>
            <a:ext cx="1547783" cy="353745"/>
          </a:xfrm>
          <a:prstGeom prst="rect">
            <a:avLst/>
          </a:prstGeom>
          <a:solidFill>
            <a:schemeClr val="accent1"/>
          </a:solidFill>
          <a:ln w="9525" cap="flat">
            <a:noFill/>
            <a:prstDash val="solid"/>
            <a:miter/>
          </a:ln>
        </p:spPr>
        <p:txBody>
          <a:bodyPr lIns="68580" tIns="34290" rIns="68580" bIns="34290" rtlCol="0" anchor="ctr"/>
          <a:lstStyle/>
          <a:p>
            <a:pPr algn="ctr"/>
            <a:r>
              <a:rPr lang="en-US" sz="900">
                <a:solidFill>
                  <a:srgbClr val="FFFFFF"/>
                </a:solidFill>
                <a:latin typeface="+mj-lt"/>
              </a:rPr>
              <a:t>Preparation and Planning</a:t>
            </a:r>
          </a:p>
        </p:txBody>
      </p:sp>
      <p:sp>
        <p:nvSpPr>
          <p:cNvPr id="19" name="Graphic 3074">
            <a:extLst>
              <a:ext uri="{FF2B5EF4-FFF2-40B4-BE49-F238E27FC236}">
                <a16:creationId xmlns:a16="http://schemas.microsoft.com/office/drawing/2014/main" id="{814AF4B5-E4A8-3BB6-9C5E-AAEEE0B0FBDA}"/>
              </a:ext>
            </a:extLst>
          </p:cNvPr>
          <p:cNvSpPr/>
          <p:nvPr/>
        </p:nvSpPr>
        <p:spPr>
          <a:xfrm>
            <a:off x="1766002" y="5618479"/>
            <a:ext cx="7127171" cy="372654"/>
          </a:xfrm>
          <a:prstGeom prst="rect">
            <a:avLst/>
          </a:prstGeom>
          <a:solidFill>
            <a:schemeClr val="accent1"/>
          </a:solidFill>
          <a:ln w="9525" cap="flat">
            <a:noFill/>
            <a:prstDash val="solid"/>
            <a:miter/>
          </a:ln>
        </p:spPr>
        <p:txBody>
          <a:bodyPr lIns="68580" tIns="34290" rIns="68580" bIns="34290" rtlCol="0" anchor="ctr"/>
          <a:lstStyle/>
          <a:p>
            <a:pPr algn="ctr"/>
            <a:r>
              <a:rPr lang="en-US" sz="900">
                <a:solidFill>
                  <a:srgbClr val="FFFFFF"/>
                </a:solidFill>
                <a:latin typeface="+mj-lt"/>
              </a:rPr>
              <a:t>Post-Merger Monitoring and Adjustments</a:t>
            </a:r>
          </a:p>
        </p:txBody>
      </p:sp>
    </p:spTree>
    <p:extLst>
      <p:ext uri="{BB962C8B-B14F-4D97-AF65-F5344CB8AC3E}">
        <p14:creationId xmlns:p14="http://schemas.microsoft.com/office/powerpoint/2010/main" val="18208309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049ACE-AAE1-AA1F-8EB8-1B595094F3EE}"/>
            </a:ext>
          </a:extLst>
        </p:cNvPr>
        <p:cNvGrpSpPr/>
        <p:nvPr/>
      </p:nvGrpSpPr>
      <p:grpSpPr>
        <a:xfrm>
          <a:off x="0" y="0"/>
          <a:ext cx="0" cy="0"/>
          <a:chOff x="0" y="0"/>
          <a:chExt cx="0" cy="0"/>
        </a:xfrm>
      </p:grpSpPr>
      <p:pic>
        <p:nvPicPr>
          <p:cNvPr id="8" name="Picture Placeholder 7" descr="A large room with large windows&#10;&#10;AI-generated content may be incorrect.">
            <a:extLst>
              <a:ext uri="{FF2B5EF4-FFF2-40B4-BE49-F238E27FC236}">
                <a16:creationId xmlns:a16="http://schemas.microsoft.com/office/drawing/2014/main" id="{5A0F9F75-2A33-2C00-6A90-C28A06F33753}"/>
              </a:ext>
            </a:extLst>
          </p:cNvPr>
          <p:cNvPicPr>
            <a:picLocks noGrp="1" noChangeAspect="1"/>
          </p:cNvPicPr>
          <p:nvPr>
            <p:ph type="pic" sz="quarter" idx="10"/>
          </p:nvPr>
        </p:nvPicPr>
        <p:blipFill>
          <a:blip r:embed="rId2"/>
          <a:srcRect l="11333"/>
          <a:stretch/>
        </p:blipFill>
        <p:spPr>
          <a:xfrm>
            <a:off x="20" y="10"/>
            <a:ext cx="9143980" cy="6857990"/>
          </a:xfrm>
          <a:noFill/>
        </p:spPr>
      </p:pic>
      <p:sp>
        <p:nvSpPr>
          <p:cNvPr id="27" name="Text Placeholder 2">
            <a:extLst>
              <a:ext uri="{FF2B5EF4-FFF2-40B4-BE49-F238E27FC236}">
                <a16:creationId xmlns:a16="http://schemas.microsoft.com/office/drawing/2014/main" id="{CCDFFC7B-9703-F765-17BB-CBA62A60085B}"/>
              </a:ext>
            </a:extLst>
          </p:cNvPr>
          <p:cNvSpPr>
            <a:spLocks noGrp="1"/>
          </p:cNvSpPr>
          <p:nvPr>
            <p:ph type="body" sz="quarter" idx="13"/>
          </p:nvPr>
        </p:nvSpPr>
        <p:spPr>
          <a:xfrm>
            <a:off x="0" y="5121275"/>
            <a:ext cx="9144000" cy="1736724"/>
          </a:xfrm>
        </p:spPr>
        <p:txBody>
          <a:bodyPr/>
          <a:lstStyle/>
          <a:p>
            <a:endParaRPr lang="en-US"/>
          </a:p>
        </p:txBody>
      </p:sp>
      <p:sp>
        <p:nvSpPr>
          <p:cNvPr id="9" name="Title 8">
            <a:extLst>
              <a:ext uri="{FF2B5EF4-FFF2-40B4-BE49-F238E27FC236}">
                <a16:creationId xmlns:a16="http://schemas.microsoft.com/office/drawing/2014/main" id="{3D1FB6DA-3102-457B-AB96-BF866F3D64AB}"/>
              </a:ext>
            </a:extLst>
          </p:cNvPr>
          <p:cNvSpPr>
            <a:spLocks noGrp="1"/>
          </p:cNvSpPr>
          <p:nvPr>
            <p:ph type="ctrTitle"/>
          </p:nvPr>
        </p:nvSpPr>
        <p:spPr>
          <a:xfrm>
            <a:off x="250825" y="5339798"/>
            <a:ext cx="8642349" cy="810730"/>
          </a:xfrm>
        </p:spPr>
        <p:txBody>
          <a:bodyPr anchor="ctr">
            <a:normAutofit/>
          </a:bodyPr>
          <a:lstStyle/>
          <a:p>
            <a:pPr>
              <a:lnSpc>
                <a:spcPct val="90000"/>
              </a:lnSpc>
            </a:pPr>
            <a:r>
              <a:rPr lang="en-US" sz="5100"/>
              <a:t>Scenario Analysis</a:t>
            </a:r>
          </a:p>
        </p:txBody>
      </p:sp>
      <p:sp>
        <p:nvSpPr>
          <p:cNvPr id="29" name="Subtitle 4">
            <a:extLst>
              <a:ext uri="{FF2B5EF4-FFF2-40B4-BE49-F238E27FC236}">
                <a16:creationId xmlns:a16="http://schemas.microsoft.com/office/drawing/2014/main" id="{F9824D9C-FE0A-4604-6398-013CD5BC9D94}"/>
              </a:ext>
            </a:extLst>
          </p:cNvPr>
          <p:cNvSpPr>
            <a:spLocks noGrp="1"/>
          </p:cNvSpPr>
          <p:nvPr>
            <p:ph type="subTitle" idx="1"/>
          </p:nvPr>
        </p:nvSpPr>
        <p:spPr>
          <a:xfrm>
            <a:off x="250827" y="6237292"/>
            <a:ext cx="8642348" cy="395287"/>
          </a:xfrm>
        </p:spPr>
        <p:txBody>
          <a:bodyPr/>
          <a:lstStyle/>
          <a:p>
            <a:endParaRPr lang="en-US"/>
          </a:p>
        </p:txBody>
      </p:sp>
      <p:sp>
        <p:nvSpPr>
          <p:cNvPr id="31" name="Content Placeholder 5">
            <a:extLst>
              <a:ext uri="{FF2B5EF4-FFF2-40B4-BE49-F238E27FC236}">
                <a16:creationId xmlns:a16="http://schemas.microsoft.com/office/drawing/2014/main" id="{8F260BB3-A1FC-2A30-12F7-F38B7109E841}"/>
              </a:ext>
            </a:extLst>
          </p:cNvPr>
          <p:cNvSpPr>
            <a:spLocks noGrp="1"/>
          </p:cNvSpPr>
          <p:nvPr>
            <p:ph sz="quarter" idx="12"/>
          </p:nvPr>
        </p:nvSpPr>
        <p:spPr>
          <a:xfrm>
            <a:off x="395399" y="6165850"/>
            <a:ext cx="1614097" cy="71438"/>
          </a:xfrm>
        </p:spPr>
        <p:txBody>
          <a:bodyPr/>
          <a:lstStyle/>
          <a:p>
            <a:endParaRPr lang="en-US"/>
          </a:p>
        </p:txBody>
      </p:sp>
    </p:spTree>
    <p:extLst>
      <p:ext uri="{BB962C8B-B14F-4D97-AF65-F5344CB8AC3E}">
        <p14:creationId xmlns:p14="http://schemas.microsoft.com/office/powerpoint/2010/main" val="84125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BCB62F4-9EA2-D219-1487-A2B6548685CF}"/>
              </a:ext>
            </a:extLst>
          </p:cNvPr>
          <p:cNvSpPr>
            <a:spLocks noGrp="1"/>
          </p:cNvSpPr>
          <p:nvPr>
            <p:ph type="body" sz="quarter" idx="13"/>
          </p:nvPr>
        </p:nvSpPr>
        <p:spPr/>
        <p:txBody>
          <a:bodyPr/>
          <a:lstStyle/>
          <a:p>
            <a:r>
              <a:rPr lang="en-US"/>
              <a:t>Source(s): Capital IQ, </a:t>
            </a:r>
            <a:r>
              <a:rPr lang="en-US" err="1"/>
              <a:t>PitchBook</a:t>
            </a:r>
            <a:r>
              <a:rPr lang="en-US"/>
              <a:t>, Bloomberg</a:t>
            </a:r>
          </a:p>
        </p:txBody>
      </p:sp>
      <p:sp>
        <p:nvSpPr>
          <p:cNvPr id="9" name="Text Placeholder 8">
            <a:extLst>
              <a:ext uri="{FF2B5EF4-FFF2-40B4-BE49-F238E27FC236}">
                <a16:creationId xmlns:a16="http://schemas.microsoft.com/office/drawing/2014/main" id="{1CA1F7D6-D5C9-9E7A-61A8-E0AADDC233F5}"/>
              </a:ext>
            </a:extLst>
          </p:cNvPr>
          <p:cNvSpPr>
            <a:spLocks noGrp="1"/>
          </p:cNvSpPr>
          <p:nvPr>
            <p:ph type="body" sz="quarter" idx="21"/>
          </p:nvPr>
        </p:nvSpPr>
        <p:spPr/>
        <p:txBody>
          <a:bodyPr/>
          <a:lstStyle/>
          <a:p>
            <a:r>
              <a:rPr lang="en-US"/>
              <a:t>Founders Have Gradually Decreased Their Stake</a:t>
            </a:r>
          </a:p>
        </p:txBody>
      </p:sp>
      <p:sp>
        <p:nvSpPr>
          <p:cNvPr id="7" name="Title 6">
            <a:extLst>
              <a:ext uri="{FF2B5EF4-FFF2-40B4-BE49-F238E27FC236}">
                <a16:creationId xmlns:a16="http://schemas.microsoft.com/office/drawing/2014/main" id="{1764EE52-CA7F-BB08-0307-C75F4771891A}"/>
              </a:ext>
            </a:extLst>
          </p:cNvPr>
          <p:cNvSpPr>
            <a:spLocks noGrp="1"/>
          </p:cNvSpPr>
          <p:nvPr>
            <p:ph type="title"/>
          </p:nvPr>
        </p:nvSpPr>
        <p:spPr/>
        <p:txBody>
          <a:bodyPr/>
          <a:lstStyle/>
          <a:p>
            <a:r>
              <a:rPr lang="en-US"/>
              <a:t>Likelihood that Management Accepts an M&amp;A</a:t>
            </a:r>
          </a:p>
        </p:txBody>
      </p:sp>
      <p:sp>
        <p:nvSpPr>
          <p:cNvPr id="10" name="Text Placeholder 9">
            <a:extLst>
              <a:ext uri="{FF2B5EF4-FFF2-40B4-BE49-F238E27FC236}">
                <a16:creationId xmlns:a16="http://schemas.microsoft.com/office/drawing/2014/main" id="{9FB5ACA8-4C57-02E1-B71F-D1FBB9D93F5E}"/>
              </a:ext>
            </a:extLst>
          </p:cNvPr>
          <p:cNvSpPr>
            <a:spLocks noGrp="1"/>
          </p:cNvSpPr>
          <p:nvPr>
            <p:ph type="body" idx="22"/>
          </p:nvPr>
        </p:nvSpPr>
        <p:spPr/>
        <p:txBody>
          <a:bodyPr/>
          <a:lstStyle/>
          <a:p>
            <a:r>
              <a:rPr lang="en-US"/>
              <a:t>3 Founders’ Collective Ownership </a:t>
            </a:r>
            <a:r>
              <a:rPr lang="en-US" i="1"/>
              <a:t>(shares in million)</a:t>
            </a:r>
          </a:p>
        </p:txBody>
      </p:sp>
      <p:sp>
        <p:nvSpPr>
          <p:cNvPr id="11" name="Content Placeholder 10">
            <a:extLst>
              <a:ext uri="{FF2B5EF4-FFF2-40B4-BE49-F238E27FC236}">
                <a16:creationId xmlns:a16="http://schemas.microsoft.com/office/drawing/2014/main" id="{51145143-1772-8369-34BF-3C97553124CB}"/>
              </a:ext>
            </a:extLst>
          </p:cNvPr>
          <p:cNvSpPr>
            <a:spLocks noGrp="1"/>
          </p:cNvSpPr>
          <p:nvPr>
            <p:ph sz="quarter" idx="23"/>
          </p:nvPr>
        </p:nvSpPr>
        <p:spPr/>
        <p:txBody>
          <a:bodyPr>
            <a:normAutofit/>
          </a:bodyPr>
          <a:lstStyle/>
          <a:p>
            <a:r>
              <a:rPr lang="en-US"/>
              <a:t>According to an NLP + tonality analysis of the past 8 transcripts, the management team is increasingly showing openness to a deal</a:t>
            </a:r>
          </a:p>
          <a:p>
            <a:endParaRPr lang="en-US"/>
          </a:p>
          <a:p>
            <a:r>
              <a:rPr lang="en-US"/>
              <a:t>All three founders’ ownership in APP has decreased by 31.4% since Q2 ‘21</a:t>
            </a:r>
          </a:p>
          <a:p>
            <a:endParaRPr lang="en-US"/>
          </a:p>
          <a:p>
            <a:r>
              <a:rPr lang="en-US"/>
              <a:t>As of the latest earnings’ tonality, our likelihood score for openness towards a deal is 90%</a:t>
            </a:r>
          </a:p>
          <a:p>
            <a:endParaRPr lang="en-US"/>
          </a:p>
        </p:txBody>
      </p:sp>
      <p:sp>
        <p:nvSpPr>
          <p:cNvPr id="12" name="Text Placeholder 11">
            <a:extLst>
              <a:ext uri="{FF2B5EF4-FFF2-40B4-BE49-F238E27FC236}">
                <a16:creationId xmlns:a16="http://schemas.microsoft.com/office/drawing/2014/main" id="{3E5E6FE0-F584-AFC5-7AD5-8E380748D8F9}"/>
              </a:ext>
            </a:extLst>
          </p:cNvPr>
          <p:cNvSpPr>
            <a:spLocks noGrp="1"/>
          </p:cNvSpPr>
          <p:nvPr>
            <p:ph type="body" idx="26"/>
          </p:nvPr>
        </p:nvSpPr>
        <p:spPr/>
        <p:txBody>
          <a:bodyPr/>
          <a:lstStyle/>
          <a:p>
            <a:r>
              <a:rPr lang="en-US"/>
              <a:t>Takeaway</a:t>
            </a:r>
          </a:p>
        </p:txBody>
      </p:sp>
      <p:sp>
        <p:nvSpPr>
          <p:cNvPr id="13" name="Text Placeholder 12">
            <a:extLst>
              <a:ext uri="{FF2B5EF4-FFF2-40B4-BE49-F238E27FC236}">
                <a16:creationId xmlns:a16="http://schemas.microsoft.com/office/drawing/2014/main" id="{22F92771-18C1-7004-8645-81CAE6332994}"/>
              </a:ext>
            </a:extLst>
          </p:cNvPr>
          <p:cNvSpPr>
            <a:spLocks noGrp="1"/>
          </p:cNvSpPr>
          <p:nvPr>
            <p:ph type="body" idx="27"/>
          </p:nvPr>
        </p:nvSpPr>
        <p:spPr/>
        <p:txBody>
          <a:bodyPr/>
          <a:lstStyle/>
          <a:p>
            <a:r>
              <a:rPr lang="en-US"/>
              <a:t>NLP Shows Positive Tonality Towards a Deal</a:t>
            </a:r>
          </a:p>
        </p:txBody>
      </p:sp>
      <p:sp>
        <p:nvSpPr>
          <p:cNvPr id="14" name="TextBox 13">
            <a:extLst>
              <a:ext uri="{FF2B5EF4-FFF2-40B4-BE49-F238E27FC236}">
                <a16:creationId xmlns:a16="http://schemas.microsoft.com/office/drawing/2014/main" id="{22A882DD-9D5A-8C1F-A6CC-C455155995EC}"/>
              </a:ext>
            </a:extLst>
          </p:cNvPr>
          <p:cNvSpPr txBox="1"/>
          <p:nvPr/>
        </p:nvSpPr>
        <p:spPr>
          <a:xfrm>
            <a:off x="250825" y="3103687"/>
            <a:ext cx="4141788" cy="341632"/>
          </a:xfrm>
          <a:prstGeom prst="rect">
            <a:avLst/>
          </a:prstGeom>
          <a:noFill/>
          <a:ln>
            <a:solidFill>
              <a:srgbClr val="FF0000"/>
            </a:solidFill>
            <a:prstDash val="lgDash"/>
          </a:ln>
        </p:spPr>
        <p:txBody>
          <a:bodyPr wrap="square">
            <a:spAutoFit/>
          </a:bodyPr>
          <a:lstStyle/>
          <a:p>
            <a:pPr marR="0" lvl="0" algn="ctr" defTabSz="914400" rtl="0" eaLnBrk="1" fontAlgn="auto" latinLnBrk="0" hangingPunct="1">
              <a:lnSpc>
                <a:spcPct val="90000"/>
              </a:lnSpc>
              <a:spcBef>
                <a:spcPts val="1000"/>
              </a:spcBef>
              <a:spcAft>
                <a:spcPts val="0"/>
              </a:spcAft>
              <a:buClr>
                <a:srgbClr val="102C23"/>
              </a:buClr>
              <a:buSzTx/>
              <a:tabLst/>
              <a:defRPr/>
            </a:pPr>
            <a:r>
              <a:rPr kumimoji="0" lang="en-US" sz="900" b="0" i="0" strike="noStrike" kern="1200" cap="none" spc="0" normalizeH="0" baseline="0" noProof="0">
                <a:ln>
                  <a:noFill/>
                </a:ln>
                <a:solidFill>
                  <a:srgbClr val="000000"/>
                </a:solidFill>
                <a:effectLst/>
                <a:uLnTx/>
                <a:uFillTx/>
                <a:latin typeface="Arial" panose="020B0604020202020204"/>
                <a:ea typeface="+mn-ea"/>
              </a:rPr>
              <a:t>BlackRock and Vanguard have absorbed insiders’ stake, which suggests an easier acquisition of shares on the open market</a:t>
            </a:r>
          </a:p>
        </p:txBody>
      </p:sp>
      <p:graphicFrame>
        <p:nvGraphicFramePr>
          <p:cNvPr id="23" name="Content Placeholder 22">
            <a:extLst>
              <a:ext uri="{FF2B5EF4-FFF2-40B4-BE49-F238E27FC236}">
                <a16:creationId xmlns:a16="http://schemas.microsoft.com/office/drawing/2014/main" id="{ADC48837-9FC4-2575-3981-AA5CE50FFC65}"/>
              </a:ext>
            </a:extLst>
          </p:cNvPr>
          <p:cNvGraphicFramePr>
            <a:graphicFrameLocks noGrp="1"/>
          </p:cNvGraphicFramePr>
          <p:nvPr>
            <p:ph sz="quarter" idx="29"/>
            <p:extLst>
              <p:ext uri="{D42A27DB-BD31-4B8C-83A1-F6EECF244321}">
                <p14:modId xmlns:p14="http://schemas.microsoft.com/office/powerpoint/2010/main" val="3131560087"/>
              </p:ext>
            </p:extLst>
          </p:nvPr>
        </p:nvGraphicFramePr>
        <p:xfrm>
          <a:off x="267526" y="4019201"/>
          <a:ext cx="8625648" cy="2011714"/>
        </p:xfrm>
        <a:graphic>
          <a:graphicData uri="http://schemas.openxmlformats.org/drawingml/2006/table">
            <a:tbl>
              <a:tblPr/>
              <a:tblGrid>
                <a:gridCol w="567388">
                  <a:extLst>
                    <a:ext uri="{9D8B030D-6E8A-4147-A177-3AD203B41FA5}">
                      <a16:colId xmlns:a16="http://schemas.microsoft.com/office/drawing/2014/main" val="3662570134"/>
                    </a:ext>
                  </a:extLst>
                </a:gridCol>
                <a:gridCol w="1124644">
                  <a:extLst>
                    <a:ext uri="{9D8B030D-6E8A-4147-A177-3AD203B41FA5}">
                      <a16:colId xmlns:a16="http://schemas.microsoft.com/office/drawing/2014/main" val="214638883"/>
                    </a:ext>
                  </a:extLst>
                </a:gridCol>
                <a:gridCol w="1408338">
                  <a:extLst>
                    <a:ext uri="{9D8B030D-6E8A-4147-A177-3AD203B41FA5}">
                      <a16:colId xmlns:a16="http://schemas.microsoft.com/office/drawing/2014/main" val="299418828"/>
                    </a:ext>
                  </a:extLst>
                </a:gridCol>
                <a:gridCol w="1148286">
                  <a:extLst>
                    <a:ext uri="{9D8B030D-6E8A-4147-A177-3AD203B41FA5}">
                      <a16:colId xmlns:a16="http://schemas.microsoft.com/office/drawing/2014/main" val="2155056740"/>
                    </a:ext>
                  </a:extLst>
                </a:gridCol>
                <a:gridCol w="932137">
                  <a:extLst>
                    <a:ext uri="{9D8B030D-6E8A-4147-A177-3AD203B41FA5}">
                      <a16:colId xmlns:a16="http://schemas.microsoft.com/office/drawing/2014/main" val="2220939979"/>
                    </a:ext>
                  </a:extLst>
                </a:gridCol>
                <a:gridCol w="3444855">
                  <a:extLst>
                    <a:ext uri="{9D8B030D-6E8A-4147-A177-3AD203B41FA5}">
                      <a16:colId xmlns:a16="http://schemas.microsoft.com/office/drawing/2014/main" val="1745170862"/>
                    </a:ext>
                  </a:extLst>
                </a:gridCol>
              </a:tblGrid>
              <a:tr h="358250">
                <a:tc>
                  <a:txBody>
                    <a:bodyPr/>
                    <a:lstStyle/>
                    <a:p>
                      <a:pPr algn="ctr" fontAlgn="ctr"/>
                      <a:r>
                        <a:rPr lang="en-CA" sz="900" b="0" i="0" u="none" strike="noStrike">
                          <a:solidFill>
                            <a:srgbClr val="FFFFFF"/>
                          </a:solidFill>
                          <a:effectLst/>
                          <a:latin typeface="Arial" panose="020B0604020202020204" pitchFamily="34" charset="0"/>
                        </a:rPr>
                        <a:t>Quarter</a:t>
                      </a:r>
                    </a:p>
                  </a:txBody>
                  <a:tcPr marL="0" marR="0" marT="0" marB="0" anchor="ctr">
                    <a:lnL>
                      <a:noFill/>
                    </a:lnL>
                    <a:lnR>
                      <a:noFill/>
                    </a:lnR>
                    <a:lnT>
                      <a:noFill/>
                    </a:lnT>
                    <a:lnB>
                      <a:noFill/>
                    </a:lnB>
                    <a:solidFill>
                      <a:srgbClr val="102C23"/>
                    </a:solidFill>
                  </a:tcPr>
                </a:tc>
                <a:tc>
                  <a:txBody>
                    <a:bodyPr/>
                    <a:lstStyle/>
                    <a:p>
                      <a:pPr algn="ctr" fontAlgn="ctr"/>
                      <a:r>
                        <a:rPr lang="en-CA" sz="900" b="0" i="0" u="none" strike="noStrike">
                          <a:solidFill>
                            <a:srgbClr val="FFFFFF"/>
                          </a:solidFill>
                          <a:effectLst/>
                          <a:latin typeface="Arial" panose="020B0604020202020204" pitchFamily="34" charset="0"/>
                        </a:rPr>
                        <a:t>Statement Section Sentiment</a:t>
                      </a:r>
                    </a:p>
                  </a:txBody>
                  <a:tcPr marL="0" marR="0" marT="0" marB="0" anchor="ctr">
                    <a:lnL>
                      <a:noFill/>
                    </a:lnL>
                    <a:lnR>
                      <a:noFill/>
                    </a:lnR>
                    <a:lnT>
                      <a:noFill/>
                    </a:lnT>
                    <a:lnB>
                      <a:noFill/>
                    </a:lnB>
                    <a:solidFill>
                      <a:srgbClr val="102C23"/>
                    </a:solidFill>
                  </a:tcPr>
                </a:tc>
                <a:tc>
                  <a:txBody>
                    <a:bodyPr/>
                    <a:lstStyle/>
                    <a:p>
                      <a:pPr algn="ctr" fontAlgn="ctr"/>
                      <a:r>
                        <a:rPr lang="en-CA" sz="900" b="0" i="0" u="none" strike="noStrike">
                          <a:solidFill>
                            <a:srgbClr val="FFFFFF"/>
                          </a:solidFill>
                          <a:effectLst/>
                          <a:latin typeface="Arial" panose="020B0604020202020204" pitchFamily="34" charset="0"/>
                        </a:rPr>
                        <a:t>Q&amp;A Response Section Sentiment</a:t>
                      </a:r>
                    </a:p>
                  </a:txBody>
                  <a:tcPr marL="0" marR="0" marT="0" marB="0" anchor="ctr">
                    <a:lnL>
                      <a:noFill/>
                    </a:lnL>
                    <a:lnR>
                      <a:noFill/>
                    </a:lnR>
                    <a:lnT>
                      <a:noFill/>
                    </a:lnT>
                    <a:lnB>
                      <a:noFill/>
                    </a:lnB>
                    <a:solidFill>
                      <a:srgbClr val="102C23"/>
                    </a:solidFill>
                  </a:tcPr>
                </a:tc>
                <a:tc>
                  <a:txBody>
                    <a:bodyPr/>
                    <a:lstStyle/>
                    <a:p>
                      <a:pPr algn="ctr" fontAlgn="ctr"/>
                      <a:r>
                        <a:rPr lang="en-CA" sz="900" b="0" i="0" u="none" strike="noStrike">
                          <a:solidFill>
                            <a:srgbClr val="FFFFFF"/>
                          </a:solidFill>
                          <a:effectLst/>
                          <a:latin typeface="Arial" panose="020B0604020202020204" pitchFamily="34" charset="0"/>
                        </a:rPr>
                        <a:t>Adjusted Tonality Score (0-10)</a:t>
                      </a:r>
                    </a:p>
                  </a:txBody>
                  <a:tcPr marL="0" marR="0" marT="0" marB="0" anchor="ctr">
                    <a:lnL>
                      <a:noFill/>
                    </a:lnL>
                    <a:lnR>
                      <a:noFill/>
                    </a:lnR>
                    <a:lnT>
                      <a:noFill/>
                    </a:lnT>
                    <a:lnB>
                      <a:noFill/>
                    </a:lnB>
                    <a:solidFill>
                      <a:srgbClr val="102C23"/>
                    </a:solidFill>
                  </a:tcPr>
                </a:tc>
                <a:tc>
                  <a:txBody>
                    <a:bodyPr/>
                    <a:lstStyle/>
                    <a:p>
                      <a:pPr algn="ctr" fontAlgn="ctr"/>
                      <a:r>
                        <a:rPr lang="en-CA" sz="900" b="0" i="0" u="none" strike="noStrike">
                          <a:solidFill>
                            <a:srgbClr val="FFFFFF"/>
                          </a:solidFill>
                          <a:effectLst/>
                          <a:latin typeface="Arial" panose="020B0604020202020204" pitchFamily="34" charset="0"/>
                        </a:rPr>
                        <a:t>Adjusted Likelihood (%)</a:t>
                      </a:r>
                    </a:p>
                  </a:txBody>
                  <a:tcPr marL="0" marR="0" marT="0" marB="0" anchor="ctr">
                    <a:lnL>
                      <a:noFill/>
                    </a:lnL>
                    <a:lnR>
                      <a:noFill/>
                    </a:lnR>
                    <a:lnT>
                      <a:noFill/>
                    </a:lnT>
                    <a:lnB>
                      <a:noFill/>
                    </a:lnB>
                    <a:solidFill>
                      <a:srgbClr val="102C23"/>
                    </a:solidFill>
                  </a:tcPr>
                </a:tc>
                <a:tc>
                  <a:txBody>
                    <a:bodyPr/>
                    <a:lstStyle/>
                    <a:p>
                      <a:pPr algn="ctr" fontAlgn="ctr"/>
                      <a:r>
                        <a:rPr lang="en-CA" sz="900" b="0" i="0" u="none" strike="noStrike">
                          <a:solidFill>
                            <a:srgbClr val="FFFFFF"/>
                          </a:solidFill>
                          <a:effectLst/>
                          <a:latin typeface="Arial" panose="020B0604020202020204" pitchFamily="34" charset="0"/>
                        </a:rPr>
                        <a:t>Comment and Revised Justification</a:t>
                      </a:r>
                    </a:p>
                  </a:txBody>
                  <a:tcPr marL="0" marR="0" marT="0" marB="0" anchor="ctr">
                    <a:lnL>
                      <a:noFill/>
                    </a:lnL>
                    <a:lnR>
                      <a:noFill/>
                    </a:lnR>
                    <a:lnT>
                      <a:noFill/>
                    </a:lnT>
                    <a:lnB>
                      <a:noFill/>
                    </a:lnB>
                    <a:solidFill>
                      <a:srgbClr val="102C23"/>
                    </a:solidFill>
                  </a:tcPr>
                </a:tc>
                <a:extLst>
                  <a:ext uri="{0D108BD9-81ED-4DB2-BD59-A6C34878D82A}">
                    <a16:rowId xmlns:a16="http://schemas.microsoft.com/office/drawing/2014/main" val="2587277879"/>
                  </a:ext>
                </a:extLst>
              </a:tr>
              <a:tr h="206683">
                <a:tc>
                  <a:txBody>
                    <a:bodyPr/>
                    <a:lstStyle/>
                    <a:p>
                      <a:pPr algn="ctr" fontAlgn="b"/>
                      <a:r>
                        <a:rPr lang="en-CA" sz="900" b="0" i="0" u="none" strike="noStrike">
                          <a:solidFill>
                            <a:srgbClr val="000000"/>
                          </a:solidFill>
                          <a:effectLst/>
                          <a:latin typeface="Arial" panose="020B0604020202020204" pitchFamily="34" charset="0"/>
                        </a:rPr>
                        <a:t>Q1 2023</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Neutral-Positive</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Neutral-Negative</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5.50</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55%</a:t>
                      </a:r>
                    </a:p>
                  </a:txBody>
                  <a:tcPr marL="0" marR="0" marT="0" marB="0" anchor="b">
                    <a:lnL>
                      <a:noFill/>
                    </a:lnL>
                    <a:lnR>
                      <a:noFill/>
                    </a:lnR>
                    <a:lnT>
                      <a:noFill/>
                    </a:lnT>
                    <a:lnB>
                      <a:noFill/>
                    </a:lnB>
                    <a:solidFill>
                      <a:srgbClr val="FCFCFF"/>
                    </a:solidFill>
                  </a:tcPr>
                </a:tc>
                <a:tc>
                  <a:txBody>
                    <a:bodyPr/>
                    <a:lstStyle/>
                    <a:p>
                      <a:pPr algn="ctr" fontAlgn="b"/>
                      <a:r>
                        <a:rPr lang="en-CA" sz="900" b="0" i="0" u="none" strike="noStrike">
                          <a:solidFill>
                            <a:srgbClr val="000000"/>
                          </a:solidFill>
                          <a:effectLst/>
                          <a:latin typeface="Arial" panose="020B0604020202020204" pitchFamily="34" charset="0"/>
                        </a:rPr>
                        <a:t>Mixed signals; openness balanced by cautious responses</a:t>
                      </a:r>
                    </a:p>
                  </a:txBody>
                  <a:tcPr marL="0" marR="0" marT="0" marB="0" anchor="b">
                    <a:lnL>
                      <a:noFill/>
                    </a:lnL>
                    <a:lnR>
                      <a:noFill/>
                    </a:lnR>
                    <a:lnT>
                      <a:noFill/>
                    </a:lnT>
                    <a:lnB>
                      <a:noFill/>
                    </a:lnB>
                    <a:noFill/>
                  </a:tcPr>
                </a:tc>
                <a:extLst>
                  <a:ext uri="{0D108BD9-81ED-4DB2-BD59-A6C34878D82A}">
                    <a16:rowId xmlns:a16="http://schemas.microsoft.com/office/drawing/2014/main" val="3078099339"/>
                  </a:ext>
                </a:extLst>
              </a:tr>
              <a:tr h="206683">
                <a:tc>
                  <a:txBody>
                    <a:bodyPr/>
                    <a:lstStyle/>
                    <a:p>
                      <a:pPr algn="ctr" fontAlgn="b"/>
                      <a:r>
                        <a:rPr lang="en-CA" sz="900" b="0" i="0" u="none" strike="noStrike">
                          <a:solidFill>
                            <a:srgbClr val="000000"/>
                          </a:solidFill>
                          <a:effectLst/>
                          <a:latin typeface="Arial" panose="020B0604020202020204" pitchFamily="34" charset="0"/>
                        </a:rPr>
                        <a:t>Q2 2023</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Positive</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Neutral-Positive</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7.00</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70%</a:t>
                      </a:r>
                    </a:p>
                  </a:txBody>
                  <a:tcPr marL="0" marR="0" marT="0" marB="0" anchor="b">
                    <a:lnL>
                      <a:noFill/>
                    </a:lnL>
                    <a:lnR>
                      <a:noFill/>
                    </a:lnR>
                    <a:lnT>
                      <a:noFill/>
                    </a:lnT>
                    <a:lnB>
                      <a:noFill/>
                    </a:lnB>
                    <a:solidFill>
                      <a:srgbClr val="BBE2C7"/>
                    </a:solidFill>
                  </a:tcPr>
                </a:tc>
                <a:tc>
                  <a:txBody>
                    <a:bodyPr/>
                    <a:lstStyle/>
                    <a:p>
                      <a:pPr algn="ctr" fontAlgn="b"/>
                      <a:r>
                        <a:rPr lang="en-CA" sz="900" b="0" i="0" u="none" strike="noStrike">
                          <a:solidFill>
                            <a:srgbClr val="000000"/>
                          </a:solidFill>
                          <a:effectLst/>
                          <a:latin typeface="Arial" panose="020B0604020202020204" pitchFamily="34" charset="0"/>
                        </a:rPr>
                        <a:t>Strong positive sentiment in initial statements</a:t>
                      </a:r>
                    </a:p>
                  </a:txBody>
                  <a:tcPr marL="0" marR="0" marT="0" marB="0" anchor="b">
                    <a:lnL>
                      <a:noFill/>
                    </a:lnL>
                    <a:lnR>
                      <a:noFill/>
                    </a:lnR>
                    <a:lnT>
                      <a:noFill/>
                    </a:lnT>
                    <a:lnB>
                      <a:noFill/>
                    </a:lnB>
                    <a:noFill/>
                  </a:tcPr>
                </a:tc>
                <a:extLst>
                  <a:ext uri="{0D108BD9-81ED-4DB2-BD59-A6C34878D82A}">
                    <a16:rowId xmlns:a16="http://schemas.microsoft.com/office/drawing/2014/main" val="1199694308"/>
                  </a:ext>
                </a:extLst>
              </a:tr>
              <a:tr h="206683">
                <a:tc>
                  <a:txBody>
                    <a:bodyPr/>
                    <a:lstStyle/>
                    <a:p>
                      <a:pPr algn="ctr" fontAlgn="b"/>
                      <a:r>
                        <a:rPr lang="en-CA" sz="900" b="0" i="0" u="none" strike="noStrike">
                          <a:solidFill>
                            <a:srgbClr val="000000"/>
                          </a:solidFill>
                          <a:effectLst/>
                          <a:latin typeface="Arial" panose="020B0604020202020204" pitchFamily="34" charset="0"/>
                        </a:rPr>
                        <a:t>Q3 2023</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Positive</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Positive</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8.00</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80%</a:t>
                      </a:r>
                    </a:p>
                  </a:txBody>
                  <a:tcPr marL="0" marR="0" marT="0" marB="0" anchor="b">
                    <a:lnL>
                      <a:noFill/>
                    </a:lnL>
                    <a:lnR>
                      <a:noFill/>
                    </a:lnR>
                    <a:lnT>
                      <a:noFill/>
                    </a:lnT>
                    <a:lnB>
                      <a:noFill/>
                    </a:lnB>
                    <a:solidFill>
                      <a:srgbClr val="8FD0A1"/>
                    </a:solidFill>
                  </a:tcPr>
                </a:tc>
                <a:tc>
                  <a:txBody>
                    <a:bodyPr/>
                    <a:lstStyle/>
                    <a:p>
                      <a:pPr algn="ctr" fontAlgn="b"/>
                      <a:r>
                        <a:rPr lang="en-CA" sz="900" b="0" i="0" u="none" strike="noStrike">
                          <a:solidFill>
                            <a:srgbClr val="000000"/>
                          </a:solidFill>
                          <a:effectLst/>
                          <a:latin typeface="Arial" panose="020B0604020202020204" pitchFamily="34" charset="0"/>
                        </a:rPr>
                        <a:t>Uniform positivity across sections</a:t>
                      </a:r>
                    </a:p>
                  </a:txBody>
                  <a:tcPr marL="0" marR="0" marT="0" marB="0" anchor="b">
                    <a:lnL>
                      <a:noFill/>
                    </a:lnL>
                    <a:lnR>
                      <a:noFill/>
                    </a:lnR>
                    <a:lnT>
                      <a:noFill/>
                    </a:lnT>
                    <a:lnB>
                      <a:noFill/>
                    </a:lnB>
                    <a:noFill/>
                  </a:tcPr>
                </a:tc>
                <a:extLst>
                  <a:ext uri="{0D108BD9-81ED-4DB2-BD59-A6C34878D82A}">
                    <a16:rowId xmlns:a16="http://schemas.microsoft.com/office/drawing/2014/main" val="2809986434"/>
                  </a:ext>
                </a:extLst>
              </a:tr>
              <a:tr h="206683">
                <a:tc>
                  <a:txBody>
                    <a:bodyPr/>
                    <a:lstStyle/>
                    <a:p>
                      <a:pPr algn="ctr" fontAlgn="b"/>
                      <a:r>
                        <a:rPr lang="en-CA" sz="900" b="0" i="0" u="none" strike="noStrike">
                          <a:solidFill>
                            <a:srgbClr val="000000"/>
                          </a:solidFill>
                          <a:effectLst/>
                          <a:latin typeface="Arial" panose="020B0604020202020204" pitchFamily="34" charset="0"/>
                        </a:rPr>
                        <a:t>Q4 2023</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Neutral-Positive</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Neutral</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6.50</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65%</a:t>
                      </a:r>
                    </a:p>
                  </a:txBody>
                  <a:tcPr marL="0" marR="0" marT="0" marB="0" anchor="b">
                    <a:lnL>
                      <a:noFill/>
                    </a:lnL>
                    <a:lnR>
                      <a:noFill/>
                    </a:lnR>
                    <a:lnT>
                      <a:noFill/>
                    </a:lnT>
                    <a:lnB>
                      <a:noFill/>
                    </a:lnB>
                    <a:solidFill>
                      <a:srgbClr val="D1EBDA"/>
                    </a:solidFill>
                  </a:tcPr>
                </a:tc>
                <a:tc>
                  <a:txBody>
                    <a:bodyPr/>
                    <a:lstStyle/>
                    <a:p>
                      <a:pPr algn="ctr" fontAlgn="b"/>
                      <a:r>
                        <a:rPr lang="en-CA" sz="900" b="0" i="0" u="none" strike="noStrike">
                          <a:solidFill>
                            <a:srgbClr val="000000"/>
                          </a:solidFill>
                          <a:effectLst/>
                          <a:latin typeface="Arial" panose="020B0604020202020204" pitchFamily="34" charset="0"/>
                        </a:rPr>
                        <a:t>Moderate positivity tempered by neutral Q&amp;A response</a:t>
                      </a:r>
                    </a:p>
                  </a:txBody>
                  <a:tcPr marL="0" marR="0" marT="0" marB="0" anchor="b">
                    <a:lnL>
                      <a:noFill/>
                    </a:lnL>
                    <a:lnR>
                      <a:noFill/>
                    </a:lnR>
                    <a:lnT>
                      <a:noFill/>
                    </a:lnT>
                    <a:lnB>
                      <a:noFill/>
                    </a:lnB>
                    <a:noFill/>
                  </a:tcPr>
                </a:tc>
                <a:extLst>
                  <a:ext uri="{0D108BD9-81ED-4DB2-BD59-A6C34878D82A}">
                    <a16:rowId xmlns:a16="http://schemas.microsoft.com/office/drawing/2014/main" val="4249182588"/>
                  </a:ext>
                </a:extLst>
              </a:tr>
              <a:tr h="206683">
                <a:tc>
                  <a:txBody>
                    <a:bodyPr/>
                    <a:lstStyle/>
                    <a:p>
                      <a:pPr algn="ctr" fontAlgn="b"/>
                      <a:r>
                        <a:rPr lang="en-CA" sz="900" b="0" i="0" u="none" strike="noStrike">
                          <a:solidFill>
                            <a:srgbClr val="000000"/>
                          </a:solidFill>
                          <a:effectLst/>
                          <a:latin typeface="Arial" panose="020B0604020202020204" pitchFamily="34" charset="0"/>
                        </a:rPr>
                        <a:t>Q1 2024</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Positive</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Positive</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8.00</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80%</a:t>
                      </a:r>
                    </a:p>
                  </a:txBody>
                  <a:tcPr marL="0" marR="0" marT="0" marB="0" anchor="b">
                    <a:lnL>
                      <a:noFill/>
                    </a:lnL>
                    <a:lnR>
                      <a:noFill/>
                    </a:lnR>
                    <a:lnT>
                      <a:noFill/>
                    </a:lnT>
                    <a:lnB>
                      <a:noFill/>
                    </a:lnB>
                    <a:solidFill>
                      <a:srgbClr val="8FD0A1"/>
                    </a:solidFill>
                  </a:tcPr>
                </a:tc>
                <a:tc>
                  <a:txBody>
                    <a:bodyPr/>
                    <a:lstStyle/>
                    <a:p>
                      <a:pPr algn="ctr" fontAlgn="b"/>
                      <a:r>
                        <a:rPr lang="en-CA" sz="900" b="0" i="0" u="none" strike="noStrike">
                          <a:solidFill>
                            <a:srgbClr val="000000"/>
                          </a:solidFill>
                          <a:effectLst/>
                          <a:latin typeface="Arial" panose="020B0604020202020204" pitchFamily="34" charset="0"/>
                        </a:rPr>
                        <a:t>Strong management positivity and openness</a:t>
                      </a:r>
                    </a:p>
                  </a:txBody>
                  <a:tcPr marL="0" marR="0" marT="0" marB="0" anchor="b">
                    <a:lnL>
                      <a:noFill/>
                    </a:lnL>
                    <a:lnR>
                      <a:noFill/>
                    </a:lnR>
                    <a:lnT>
                      <a:noFill/>
                    </a:lnT>
                    <a:lnB>
                      <a:noFill/>
                    </a:lnB>
                    <a:noFill/>
                  </a:tcPr>
                </a:tc>
                <a:extLst>
                  <a:ext uri="{0D108BD9-81ED-4DB2-BD59-A6C34878D82A}">
                    <a16:rowId xmlns:a16="http://schemas.microsoft.com/office/drawing/2014/main" val="1447726950"/>
                  </a:ext>
                </a:extLst>
              </a:tr>
              <a:tr h="206683">
                <a:tc>
                  <a:txBody>
                    <a:bodyPr/>
                    <a:lstStyle/>
                    <a:p>
                      <a:pPr algn="ctr" fontAlgn="b"/>
                      <a:r>
                        <a:rPr lang="en-CA" sz="900" b="0" i="0" u="none" strike="noStrike">
                          <a:solidFill>
                            <a:srgbClr val="000000"/>
                          </a:solidFill>
                          <a:effectLst/>
                          <a:latin typeface="Arial" panose="020B0604020202020204" pitchFamily="34" charset="0"/>
                        </a:rPr>
                        <a:t>Q2 2024</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Positive</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Positive</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8.50</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85%</a:t>
                      </a:r>
                    </a:p>
                  </a:txBody>
                  <a:tcPr marL="0" marR="0" marT="0" marB="0" anchor="b">
                    <a:lnL>
                      <a:noFill/>
                    </a:lnL>
                    <a:lnR>
                      <a:noFill/>
                    </a:lnR>
                    <a:lnT>
                      <a:noFill/>
                    </a:lnT>
                    <a:lnB>
                      <a:noFill/>
                    </a:lnB>
                    <a:solidFill>
                      <a:srgbClr val="79C78E"/>
                    </a:solidFill>
                  </a:tcPr>
                </a:tc>
                <a:tc>
                  <a:txBody>
                    <a:bodyPr/>
                    <a:lstStyle/>
                    <a:p>
                      <a:pPr algn="ctr" fontAlgn="b"/>
                      <a:r>
                        <a:rPr lang="en-CA" sz="900" b="0" i="0" u="none" strike="noStrike">
                          <a:solidFill>
                            <a:srgbClr val="000000"/>
                          </a:solidFill>
                          <a:effectLst/>
                          <a:latin typeface="Arial" panose="020B0604020202020204" pitchFamily="34" charset="0"/>
                        </a:rPr>
                        <a:t>Explicitly positive sentiment in strategic discussions</a:t>
                      </a:r>
                    </a:p>
                  </a:txBody>
                  <a:tcPr marL="0" marR="0" marT="0" marB="0" anchor="b">
                    <a:lnL>
                      <a:noFill/>
                    </a:lnL>
                    <a:lnR>
                      <a:noFill/>
                    </a:lnR>
                    <a:lnT>
                      <a:noFill/>
                    </a:lnT>
                    <a:lnB>
                      <a:noFill/>
                    </a:lnB>
                    <a:noFill/>
                  </a:tcPr>
                </a:tc>
                <a:extLst>
                  <a:ext uri="{0D108BD9-81ED-4DB2-BD59-A6C34878D82A}">
                    <a16:rowId xmlns:a16="http://schemas.microsoft.com/office/drawing/2014/main" val="1464680467"/>
                  </a:ext>
                </a:extLst>
              </a:tr>
              <a:tr h="206683">
                <a:tc>
                  <a:txBody>
                    <a:bodyPr/>
                    <a:lstStyle/>
                    <a:p>
                      <a:pPr algn="ctr" fontAlgn="b"/>
                      <a:r>
                        <a:rPr lang="en-CA" sz="900" b="0" i="0" u="none" strike="noStrike">
                          <a:solidFill>
                            <a:srgbClr val="000000"/>
                          </a:solidFill>
                          <a:effectLst/>
                          <a:latin typeface="Arial" panose="020B0604020202020204" pitchFamily="34" charset="0"/>
                        </a:rPr>
                        <a:t>Q3 2024</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Positive</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Positive-Neutral</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8.00</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80%</a:t>
                      </a:r>
                    </a:p>
                  </a:txBody>
                  <a:tcPr marL="0" marR="0" marT="0" marB="0" anchor="b">
                    <a:lnL>
                      <a:noFill/>
                    </a:lnL>
                    <a:lnR>
                      <a:noFill/>
                    </a:lnR>
                    <a:lnT>
                      <a:noFill/>
                    </a:lnT>
                    <a:lnB>
                      <a:noFill/>
                    </a:lnB>
                    <a:solidFill>
                      <a:srgbClr val="8FD0A1"/>
                    </a:solidFill>
                  </a:tcPr>
                </a:tc>
                <a:tc>
                  <a:txBody>
                    <a:bodyPr/>
                    <a:lstStyle/>
                    <a:p>
                      <a:pPr algn="ctr" fontAlgn="b"/>
                      <a:r>
                        <a:rPr lang="en-CA" sz="900" b="0" i="0" u="none" strike="noStrike">
                          <a:solidFill>
                            <a:srgbClr val="000000"/>
                          </a:solidFill>
                          <a:effectLst/>
                          <a:latin typeface="Arial" panose="020B0604020202020204" pitchFamily="34" charset="0"/>
                        </a:rPr>
                        <a:t>Continued strategic positivity with slight caution</a:t>
                      </a:r>
                    </a:p>
                  </a:txBody>
                  <a:tcPr marL="0" marR="0" marT="0" marB="0" anchor="b">
                    <a:lnL>
                      <a:noFill/>
                    </a:lnL>
                    <a:lnR>
                      <a:noFill/>
                    </a:lnR>
                    <a:lnT>
                      <a:noFill/>
                    </a:lnT>
                    <a:lnB>
                      <a:noFill/>
                    </a:lnB>
                    <a:noFill/>
                  </a:tcPr>
                </a:tc>
                <a:extLst>
                  <a:ext uri="{0D108BD9-81ED-4DB2-BD59-A6C34878D82A}">
                    <a16:rowId xmlns:a16="http://schemas.microsoft.com/office/drawing/2014/main" val="2108682324"/>
                  </a:ext>
                </a:extLst>
              </a:tr>
              <a:tr h="206683">
                <a:tc>
                  <a:txBody>
                    <a:bodyPr/>
                    <a:lstStyle/>
                    <a:p>
                      <a:pPr algn="ctr" fontAlgn="b"/>
                      <a:r>
                        <a:rPr lang="en-CA" sz="900" b="0" i="0" u="none" strike="noStrike">
                          <a:solidFill>
                            <a:srgbClr val="000000"/>
                          </a:solidFill>
                          <a:effectLst/>
                          <a:latin typeface="Arial" panose="020B0604020202020204" pitchFamily="34" charset="0"/>
                        </a:rPr>
                        <a:t>Q4 2024</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Highly Positive</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Neutral-Positive</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9.00</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90%</a:t>
                      </a:r>
                    </a:p>
                  </a:txBody>
                  <a:tcPr marL="0" marR="0" marT="0" marB="0" anchor="b">
                    <a:lnL>
                      <a:noFill/>
                    </a:lnL>
                    <a:lnR>
                      <a:noFill/>
                    </a:lnR>
                    <a:lnT>
                      <a:noFill/>
                    </a:lnT>
                    <a:lnB>
                      <a:noFill/>
                    </a:lnB>
                    <a:solidFill>
                      <a:srgbClr val="63BE7B"/>
                    </a:solidFill>
                  </a:tcPr>
                </a:tc>
                <a:tc>
                  <a:txBody>
                    <a:bodyPr/>
                    <a:lstStyle/>
                    <a:p>
                      <a:pPr algn="ctr" fontAlgn="b"/>
                      <a:r>
                        <a:rPr lang="en-CA" sz="900" b="0" i="0" u="none" strike="noStrike">
                          <a:solidFill>
                            <a:srgbClr val="000000"/>
                          </a:solidFill>
                          <a:effectLst/>
                          <a:latin typeface="Arial" panose="020B0604020202020204" pitchFamily="34" charset="0"/>
                        </a:rPr>
                        <a:t>Strategic realignment shows clear openness</a:t>
                      </a:r>
                    </a:p>
                  </a:txBody>
                  <a:tcPr marL="0" marR="0" marT="0" marB="0" anchor="b">
                    <a:lnL>
                      <a:noFill/>
                    </a:lnL>
                    <a:lnR>
                      <a:noFill/>
                    </a:lnR>
                    <a:lnT>
                      <a:noFill/>
                    </a:lnT>
                    <a:lnB>
                      <a:noFill/>
                    </a:lnB>
                    <a:noFill/>
                  </a:tcPr>
                </a:tc>
                <a:extLst>
                  <a:ext uri="{0D108BD9-81ED-4DB2-BD59-A6C34878D82A}">
                    <a16:rowId xmlns:a16="http://schemas.microsoft.com/office/drawing/2014/main" val="506540107"/>
                  </a:ext>
                </a:extLst>
              </a:tr>
            </a:tbl>
          </a:graphicData>
        </a:graphic>
      </p:graphicFrame>
      <p:graphicFrame>
        <p:nvGraphicFramePr>
          <p:cNvPr id="4" name="Content Placeholder 3">
            <a:extLst>
              <a:ext uri="{FF2B5EF4-FFF2-40B4-BE49-F238E27FC236}">
                <a16:creationId xmlns:a16="http://schemas.microsoft.com/office/drawing/2014/main" id="{D7F9D7AB-2F2D-543A-C370-04DABB7E841F}"/>
              </a:ext>
            </a:extLst>
          </p:cNvPr>
          <p:cNvGraphicFramePr>
            <a:graphicFrameLocks noGrp="1"/>
          </p:cNvGraphicFramePr>
          <p:nvPr>
            <p:ph sz="quarter" idx="28"/>
          </p:nvPr>
        </p:nvGraphicFramePr>
        <p:xfrm>
          <a:off x="4751388" y="1384300"/>
          <a:ext cx="4141787" cy="21780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114777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E57C4383-D75C-2D2E-4211-B627145570B2}"/>
              </a:ext>
            </a:extLst>
          </p:cNvPr>
          <p:cNvSpPr>
            <a:spLocks noGrp="1"/>
          </p:cNvSpPr>
          <p:nvPr>
            <p:ph type="body" sz="quarter" idx="13"/>
          </p:nvPr>
        </p:nvSpPr>
        <p:spPr/>
        <p:txBody>
          <a:bodyPr/>
          <a:lstStyle/>
          <a:p>
            <a:r>
              <a:rPr lang="en-US"/>
              <a:t>Source(s): Capital IQ, Nasdaq, Bloomberg</a:t>
            </a:r>
          </a:p>
        </p:txBody>
      </p:sp>
      <p:sp>
        <p:nvSpPr>
          <p:cNvPr id="15" name="Text Placeholder 14">
            <a:extLst>
              <a:ext uri="{FF2B5EF4-FFF2-40B4-BE49-F238E27FC236}">
                <a16:creationId xmlns:a16="http://schemas.microsoft.com/office/drawing/2014/main" id="{252AD323-639C-57C6-EFA6-A3083CA6B0AB}"/>
              </a:ext>
            </a:extLst>
          </p:cNvPr>
          <p:cNvSpPr>
            <a:spLocks noGrp="1"/>
          </p:cNvSpPr>
          <p:nvPr>
            <p:ph type="body" sz="quarter" idx="21"/>
          </p:nvPr>
        </p:nvSpPr>
        <p:spPr/>
        <p:txBody>
          <a:bodyPr/>
          <a:lstStyle/>
          <a:p>
            <a:r>
              <a:rPr lang="en-US"/>
              <a:t>Founders’ Individual Ownership (# of shares) + Major Holders</a:t>
            </a:r>
          </a:p>
        </p:txBody>
      </p:sp>
      <p:sp>
        <p:nvSpPr>
          <p:cNvPr id="4" name="Title 3">
            <a:extLst>
              <a:ext uri="{FF2B5EF4-FFF2-40B4-BE49-F238E27FC236}">
                <a16:creationId xmlns:a16="http://schemas.microsoft.com/office/drawing/2014/main" id="{169025F0-5B02-ED0E-9155-2DDB9A96D098}"/>
              </a:ext>
            </a:extLst>
          </p:cNvPr>
          <p:cNvSpPr>
            <a:spLocks noGrp="1"/>
          </p:cNvSpPr>
          <p:nvPr>
            <p:ph type="title"/>
          </p:nvPr>
        </p:nvSpPr>
        <p:spPr/>
        <p:txBody>
          <a:bodyPr/>
          <a:lstStyle/>
          <a:p>
            <a:r>
              <a:rPr lang="en-US"/>
              <a:t>Ownership</a:t>
            </a:r>
          </a:p>
        </p:txBody>
      </p:sp>
      <p:sp>
        <p:nvSpPr>
          <p:cNvPr id="16" name="Text Placeholder 15">
            <a:extLst>
              <a:ext uri="{FF2B5EF4-FFF2-40B4-BE49-F238E27FC236}">
                <a16:creationId xmlns:a16="http://schemas.microsoft.com/office/drawing/2014/main" id="{37C7590B-2FA4-2E44-A256-9094037D28B6}"/>
              </a:ext>
            </a:extLst>
          </p:cNvPr>
          <p:cNvSpPr>
            <a:spLocks noGrp="1"/>
          </p:cNvSpPr>
          <p:nvPr>
            <p:ph type="body" idx="22"/>
          </p:nvPr>
        </p:nvSpPr>
        <p:spPr/>
        <p:txBody>
          <a:bodyPr/>
          <a:lstStyle/>
          <a:p>
            <a:r>
              <a:rPr lang="en-US"/>
              <a:t>Major Holders</a:t>
            </a:r>
          </a:p>
        </p:txBody>
      </p:sp>
      <p:sp>
        <p:nvSpPr>
          <p:cNvPr id="18" name="Text Placeholder 17">
            <a:extLst>
              <a:ext uri="{FF2B5EF4-FFF2-40B4-BE49-F238E27FC236}">
                <a16:creationId xmlns:a16="http://schemas.microsoft.com/office/drawing/2014/main" id="{29DD47B3-1997-F5B2-6357-28696CF1D936}"/>
              </a:ext>
            </a:extLst>
          </p:cNvPr>
          <p:cNvSpPr>
            <a:spLocks noGrp="1"/>
          </p:cNvSpPr>
          <p:nvPr>
            <p:ph type="body" idx="26"/>
          </p:nvPr>
        </p:nvSpPr>
        <p:spPr/>
        <p:txBody>
          <a:bodyPr/>
          <a:lstStyle/>
          <a:p>
            <a:r>
              <a:rPr lang="en-US"/>
              <a:t>Adam Foroughi </a:t>
            </a:r>
            <a:r>
              <a:rPr lang="en-US" i="1"/>
              <a:t>(shares in mm)</a:t>
            </a:r>
          </a:p>
        </p:txBody>
      </p:sp>
      <p:sp>
        <p:nvSpPr>
          <p:cNvPr id="11" name="Text Placeholder 10">
            <a:extLst>
              <a:ext uri="{FF2B5EF4-FFF2-40B4-BE49-F238E27FC236}">
                <a16:creationId xmlns:a16="http://schemas.microsoft.com/office/drawing/2014/main" id="{581E4F0D-E128-846B-0A12-9013885E55C7}"/>
              </a:ext>
            </a:extLst>
          </p:cNvPr>
          <p:cNvSpPr>
            <a:spLocks noGrp="1"/>
          </p:cNvSpPr>
          <p:nvPr>
            <p:ph type="body" idx="27"/>
          </p:nvPr>
        </p:nvSpPr>
        <p:spPr/>
        <p:txBody>
          <a:bodyPr/>
          <a:lstStyle/>
          <a:p>
            <a:r>
              <a:rPr lang="en-US"/>
              <a:t>Andrew Karam </a:t>
            </a:r>
            <a:r>
              <a:rPr lang="en-US" i="1"/>
              <a:t>(shares in mm)</a:t>
            </a:r>
          </a:p>
        </p:txBody>
      </p:sp>
      <p:sp>
        <p:nvSpPr>
          <p:cNvPr id="22" name="Text Placeholder 21">
            <a:extLst>
              <a:ext uri="{FF2B5EF4-FFF2-40B4-BE49-F238E27FC236}">
                <a16:creationId xmlns:a16="http://schemas.microsoft.com/office/drawing/2014/main" id="{A236C730-5CFE-FC50-81BB-7A18C720D59C}"/>
              </a:ext>
            </a:extLst>
          </p:cNvPr>
          <p:cNvSpPr>
            <a:spLocks noGrp="1"/>
          </p:cNvSpPr>
          <p:nvPr>
            <p:ph type="body" idx="31"/>
          </p:nvPr>
        </p:nvSpPr>
        <p:spPr/>
        <p:txBody>
          <a:bodyPr/>
          <a:lstStyle/>
          <a:p>
            <a:r>
              <a:rPr lang="en-US"/>
              <a:t>John </a:t>
            </a:r>
            <a:r>
              <a:rPr lang="en-US" err="1"/>
              <a:t>Krystynak</a:t>
            </a:r>
            <a:r>
              <a:rPr lang="en-US"/>
              <a:t> </a:t>
            </a:r>
            <a:r>
              <a:rPr lang="en-US" i="1"/>
              <a:t>(shares in mm)</a:t>
            </a:r>
          </a:p>
        </p:txBody>
      </p:sp>
      <p:graphicFrame>
        <p:nvGraphicFramePr>
          <p:cNvPr id="12" name="Content Placeholder 11">
            <a:extLst>
              <a:ext uri="{FF2B5EF4-FFF2-40B4-BE49-F238E27FC236}">
                <a16:creationId xmlns:a16="http://schemas.microsoft.com/office/drawing/2014/main" id="{48B19038-B8AB-590C-745B-34522ADEC8E3}"/>
              </a:ext>
            </a:extLst>
          </p:cNvPr>
          <p:cNvGraphicFramePr>
            <a:graphicFrameLocks noGrp="1"/>
          </p:cNvGraphicFramePr>
          <p:nvPr>
            <p:ph sz="quarter" idx="28"/>
            <p:extLst>
              <p:ext uri="{D42A27DB-BD31-4B8C-83A1-F6EECF244321}">
                <p14:modId xmlns:p14="http://schemas.microsoft.com/office/powerpoint/2010/main" val="3156692448"/>
              </p:ext>
            </p:extLst>
          </p:nvPr>
        </p:nvGraphicFramePr>
        <p:xfrm>
          <a:off x="4751388" y="1360622"/>
          <a:ext cx="4141786" cy="2225405"/>
        </p:xfrm>
        <a:graphic>
          <a:graphicData uri="http://schemas.openxmlformats.org/drawingml/2006/table">
            <a:tbl>
              <a:tblPr/>
              <a:tblGrid>
                <a:gridCol w="1514485">
                  <a:extLst>
                    <a:ext uri="{9D8B030D-6E8A-4147-A177-3AD203B41FA5}">
                      <a16:colId xmlns:a16="http://schemas.microsoft.com/office/drawing/2014/main" val="2497936118"/>
                    </a:ext>
                  </a:extLst>
                </a:gridCol>
                <a:gridCol w="1214880">
                  <a:extLst>
                    <a:ext uri="{9D8B030D-6E8A-4147-A177-3AD203B41FA5}">
                      <a16:colId xmlns:a16="http://schemas.microsoft.com/office/drawing/2014/main" val="3986767853"/>
                    </a:ext>
                  </a:extLst>
                </a:gridCol>
                <a:gridCol w="790166">
                  <a:extLst>
                    <a:ext uri="{9D8B030D-6E8A-4147-A177-3AD203B41FA5}">
                      <a16:colId xmlns:a16="http://schemas.microsoft.com/office/drawing/2014/main" val="1961546301"/>
                    </a:ext>
                  </a:extLst>
                </a:gridCol>
                <a:gridCol w="622255">
                  <a:extLst>
                    <a:ext uri="{9D8B030D-6E8A-4147-A177-3AD203B41FA5}">
                      <a16:colId xmlns:a16="http://schemas.microsoft.com/office/drawing/2014/main" val="578598047"/>
                    </a:ext>
                  </a:extLst>
                </a:gridCol>
              </a:tblGrid>
              <a:tr h="325059">
                <a:tc>
                  <a:txBody>
                    <a:bodyPr/>
                    <a:lstStyle/>
                    <a:p>
                      <a:pPr algn="ctr" fontAlgn="ctr"/>
                      <a:r>
                        <a:rPr lang="en-CA" sz="900" b="0" i="0" u="none" strike="noStrike">
                          <a:solidFill>
                            <a:srgbClr val="FFFFFF"/>
                          </a:solidFill>
                          <a:effectLst/>
                          <a:latin typeface="Arial" panose="020B0604020202020204" pitchFamily="34" charset="0"/>
                        </a:rPr>
                        <a:t>Holder</a:t>
                      </a:r>
                    </a:p>
                  </a:txBody>
                  <a:tcPr marL="0" marR="0" marT="0" marB="0" anchor="ctr">
                    <a:lnL>
                      <a:noFill/>
                    </a:lnL>
                    <a:lnR>
                      <a:noFill/>
                    </a:lnR>
                    <a:lnT>
                      <a:noFill/>
                    </a:lnT>
                    <a:lnB>
                      <a:noFill/>
                    </a:lnB>
                    <a:solidFill>
                      <a:srgbClr val="102C23"/>
                    </a:solidFill>
                  </a:tcPr>
                </a:tc>
                <a:tc>
                  <a:txBody>
                    <a:bodyPr/>
                    <a:lstStyle/>
                    <a:p>
                      <a:pPr algn="ctr" fontAlgn="ctr"/>
                      <a:r>
                        <a:rPr lang="en-CA" sz="900" b="0" i="0" u="none" strike="noStrike">
                          <a:solidFill>
                            <a:srgbClr val="FFFFFF"/>
                          </a:solidFill>
                          <a:effectLst/>
                          <a:latin typeface="Arial" panose="020B0604020202020204" pitchFamily="34" charset="0"/>
                        </a:rPr>
                        <a:t>Type of Holder</a:t>
                      </a:r>
                    </a:p>
                  </a:txBody>
                  <a:tcPr marL="0" marR="0" marT="0" marB="0" anchor="ctr">
                    <a:lnL>
                      <a:noFill/>
                    </a:lnL>
                    <a:lnR>
                      <a:noFill/>
                    </a:lnR>
                    <a:lnT>
                      <a:noFill/>
                    </a:lnT>
                    <a:lnB>
                      <a:noFill/>
                    </a:lnB>
                    <a:solidFill>
                      <a:srgbClr val="102C23"/>
                    </a:solidFill>
                  </a:tcPr>
                </a:tc>
                <a:tc>
                  <a:txBody>
                    <a:bodyPr/>
                    <a:lstStyle/>
                    <a:p>
                      <a:pPr algn="ctr" fontAlgn="ctr"/>
                      <a:r>
                        <a:rPr lang="en-CA" sz="900" b="0" i="0" u="none" strike="noStrike">
                          <a:solidFill>
                            <a:srgbClr val="FFFFFF"/>
                          </a:solidFill>
                          <a:effectLst/>
                          <a:latin typeface="Arial" panose="020B0604020202020204" pitchFamily="34" charset="0"/>
                        </a:rPr>
                        <a:t>Common Shares (</a:t>
                      </a:r>
                      <a:r>
                        <a:rPr lang="en-CA" sz="900" b="0" i="1" u="none" strike="noStrike">
                          <a:solidFill>
                            <a:srgbClr val="FFFFFF"/>
                          </a:solidFill>
                          <a:effectLst/>
                          <a:latin typeface="Arial" panose="020B0604020202020204" pitchFamily="34" charset="0"/>
                        </a:rPr>
                        <a:t>mm</a:t>
                      </a:r>
                      <a:r>
                        <a:rPr lang="en-CA" sz="900" b="0" i="0" u="none" strike="noStrike">
                          <a:solidFill>
                            <a:srgbClr val="FFFFFF"/>
                          </a:solidFill>
                          <a:effectLst/>
                          <a:latin typeface="Arial" panose="020B0604020202020204" pitchFamily="34" charset="0"/>
                        </a:rPr>
                        <a:t>)</a:t>
                      </a:r>
                    </a:p>
                  </a:txBody>
                  <a:tcPr marL="0" marR="0" marT="0" marB="0" anchor="ctr">
                    <a:lnL>
                      <a:noFill/>
                    </a:lnL>
                    <a:lnR>
                      <a:noFill/>
                    </a:lnR>
                    <a:lnT>
                      <a:noFill/>
                    </a:lnT>
                    <a:lnB>
                      <a:noFill/>
                    </a:lnB>
                    <a:solidFill>
                      <a:srgbClr val="102C23"/>
                    </a:solidFill>
                  </a:tcPr>
                </a:tc>
                <a:tc>
                  <a:txBody>
                    <a:bodyPr/>
                    <a:lstStyle/>
                    <a:p>
                      <a:pPr algn="ctr" fontAlgn="ctr"/>
                      <a:r>
                        <a:rPr lang="en-CA" sz="900" b="0" i="0" u="none" strike="noStrike">
                          <a:solidFill>
                            <a:srgbClr val="FFFFFF"/>
                          </a:solidFill>
                          <a:effectLst/>
                          <a:latin typeface="Arial" panose="020B0604020202020204" pitchFamily="34" charset="0"/>
                        </a:rPr>
                        <a:t>% of Out.</a:t>
                      </a:r>
                    </a:p>
                  </a:txBody>
                  <a:tcPr marL="0" marR="0" marT="0" marB="0" anchor="ctr">
                    <a:lnL>
                      <a:noFill/>
                    </a:lnL>
                    <a:lnR>
                      <a:noFill/>
                    </a:lnR>
                    <a:lnT>
                      <a:noFill/>
                    </a:lnT>
                    <a:lnB>
                      <a:noFill/>
                    </a:lnB>
                    <a:solidFill>
                      <a:srgbClr val="102C23"/>
                    </a:solidFill>
                  </a:tcPr>
                </a:tc>
                <a:extLst>
                  <a:ext uri="{0D108BD9-81ED-4DB2-BD59-A6C34878D82A}">
                    <a16:rowId xmlns:a16="http://schemas.microsoft.com/office/drawing/2014/main" val="2171694220"/>
                  </a:ext>
                </a:extLst>
              </a:tr>
              <a:tr h="187534">
                <a:tc>
                  <a:txBody>
                    <a:bodyPr/>
                    <a:lstStyle/>
                    <a:p>
                      <a:pPr algn="ctr" fontAlgn="b"/>
                      <a:r>
                        <a:rPr lang="en-CA" sz="900" b="0" i="0" u="none" strike="noStrike">
                          <a:solidFill>
                            <a:srgbClr val="000000"/>
                          </a:solidFill>
                          <a:effectLst/>
                          <a:latin typeface="Arial" panose="020B0604020202020204" pitchFamily="34" charset="0"/>
                        </a:rPr>
                        <a:t>Adam Foroughi</a:t>
                      </a:r>
                    </a:p>
                  </a:txBody>
                  <a:tcPr marL="0" marR="0" marT="0" marB="0" anchor="b">
                    <a:lnL>
                      <a:noFill/>
                    </a:lnL>
                    <a:lnR>
                      <a:noFill/>
                    </a:lnR>
                    <a:lnT>
                      <a:noFill/>
                    </a:lnT>
                    <a:lnB>
                      <a:noFill/>
                    </a:lnB>
                    <a:solidFill>
                      <a:srgbClr val="D8FAE5"/>
                    </a:solidFill>
                  </a:tcPr>
                </a:tc>
                <a:tc>
                  <a:txBody>
                    <a:bodyPr/>
                    <a:lstStyle/>
                    <a:p>
                      <a:pPr algn="ctr" fontAlgn="b"/>
                      <a:r>
                        <a:rPr lang="en-CA" sz="900" b="0" i="0" u="none" strike="noStrike">
                          <a:solidFill>
                            <a:srgbClr val="000000"/>
                          </a:solidFill>
                          <a:effectLst/>
                          <a:latin typeface="Arial" panose="020B0604020202020204" pitchFamily="34" charset="0"/>
                        </a:rPr>
                        <a:t>Co-Founder, CEO</a:t>
                      </a:r>
                    </a:p>
                  </a:txBody>
                  <a:tcPr marL="0" marR="0" marT="0" marB="0" anchor="b">
                    <a:lnL>
                      <a:noFill/>
                    </a:lnL>
                    <a:lnR>
                      <a:noFill/>
                    </a:lnR>
                    <a:lnT>
                      <a:noFill/>
                    </a:lnT>
                    <a:lnB>
                      <a:noFill/>
                    </a:lnB>
                    <a:solidFill>
                      <a:srgbClr val="D8FAE5"/>
                    </a:solidFill>
                  </a:tcPr>
                </a:tc>
                <a:tc>
                  <a:txBody>
                    <a:bodyPr/>
                    <a:lstStyle/>
                    <a:p>
                      <a:pPr algn="ctr" fontAlgn="b"/>
                      <a:r>
                        <a:rPr lang="en-CA" sz="900" b="0" i="0" u="none" strike="noStrike">
                          <a:solidFill>
                            <a:srgbClr val="000000"/>
                          </a:solidFill>
                          <a:effectLst/>
                          <a:latin typeface="Arial" panose="020B0604020202020204" pitchFamily="34" charset="0"/>
                        </a:rPr>
                        <a:t>36.2 </a:t>
                      </a:r>
                    </a:p>
                  </a:txBody>
                  <a:tcPr marL="0" marR="0" marT="0" marB="0" anchor="b">
                    <a:lnL>
                      <a:noFill/>
                    </a:lnL>
                    <a:lnR>
                      <a:noFill/>
                    </a:lnR>
                    <a:lnT>
                      <a:noFill/>
                    </a:lnT>
                    <a:lnB>
                      <a:noFill/>
                    </a:lnB>
                    <a:solidFill>
                      <a:srgbClr val="D8FAE5"/>
                    </a:solidFill>
                  </a:tcPr>
                </a:tc>
                <a:tc>
                  <a:txBody>
                    <a:bodyPr/>
                    <a:lstStyle/>
                    <a:p>
                      <a:pPr algn="ctr" fontAlgn="b"/>
                      <a:r>
                        <a:rPr lang="en-CA" sz="900" b="0" i="0" u="none" strike="noStrike">
                          <a:solidFill>
                            <a:srgbClr val="000000"/>
                          </a:solidFill>
                          <a:effectLst/>
                          <a:latin typeface="Arial" panose="020B0604020202020204" pitchFamily="34" charset="0"/>
                        </a:rPr>
                        <a:t>10.3%</a:t>
                      </a:r>
                    </a:p>
                  </a:txBody>
                  <a:tcPr marL="0" marR="0" marT="0" marB="0" anchor="b">
                    <a:lnL>
                      <a:noFill/>
                    </a:lnL>
                    <a:lnR>
                      <a:noFill/>
                    </a:lnR>
                    <a:lnT>
                      <a:noFill/>
                    </a:lnT>
                    <a:lnB>
                      <a:noFill/>
                    </a:lnB>
                    <a:solidFill>
                      <a:srgbClr val="D8FAE5"/>
                    </a:solidFill>
                  </a:tcPr>
                </a:tc>
                <a:extLst>
                  <a:ext uri="{0D108BD9-81ED-4DB2-BD59-A6C34878D82A}">
                    <a16:rowId xmlns:a16="http://schemas.microsoft.com/office/drawing/2014/main" val="166409901"/>
                  </a:ext>
                </a:extLst>
              </a:tr>
              <a:tr h="187534">
                <a:tc>
                  <a:txBody>
                    <a:bodyPr/>
                    <a:lstStyle/>
                    <a:p>
                      <a:pPr algn="ctr" fontAlgn="b"/>
                      <a:r>
                        <a:rPr lang="en-CA" sz="900" b="0" i="0" u="none" strike="noStrike">
                          <a:solidFill>
                            <a:srgbClr val="000000"/>
                          </a:solidFill>
                          <a:effectLst/>
                          <a:latin typeface="Arial" panose="020B0604020202020204" pitchFamily="34" charset="0"/>
                        </a:rPr>
                        <a:t>BlackRock</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Institutional Investor</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20.3 </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5.8%</a:t>
                      </a:r>
                    </a:p>
                  </a:txBody>
                  <a:tcPr marL="0" marR="0" marT="0" marB="0" anchor="b">
                    <a:lnL>
                      <a:noFill/>
                    </a:lnL>
                    <a:lnR>
                      <a:noFill/>
                    </a:lnR>
                    <a:lnT>
                      <a:noFill/>
                    </a:lnT>
                    <a:lnB>
                      <a:noFill/>
                    </a:lnB>
                    <a:noFill/>
                  </a:tcPr>
                </a:tc>
                <a:extLst>
                  <a:ext uri="{0D108BD9-81ED-4DB2-BD59-A6C34878D82A}">
                    <a16:rowId xmlns:a16="http://schemas.microsoft.com/office/drawing/2014/main" val="4265280367"/>
                  </a:ext>
                </a:extLst>
              </a:tr>
              <a:tr h="187534">
                <a:tc>
                  <a:txBody>
                    <a:bodyPr/>
                    <a:lstStyle/>
                    <a:p>
                      <a:pPr algn="ctr" fontAlgn="b"/>
                      <a:r>
                        <a:rPr lang="en-CA" sz="900" b="0" i="0" u="none" strike="noStrike">
                          <a:solidFill>
                            <a:srgbClr val="000000"/>
                          </a:solidFill>
                          <a:effectLst/>
                          <a:latin typeface="Arial" panose="020B0604020202020204" pitchFamily="34" charset="0"/>
                        </a:rPr>
                        <a:t>Ling Tang</a:t>
                      </a:r>
                    </a:p>
                  </a:txBody>
                  <a:tcPr marL="0" marR="0" marT="0" marB="0" anchor="b">
                    <a:lnL>
                      <a:noFill/>
                    </a:lnL>
                    <a:lnR>
                      <a:noFill/>
                    </a:lnR>
                    <a:lnT>
                      <a:noFill/>
                    </a:lnT>
                    <a:lnB>
                      <a:noFill/>
                    </a:lnB>
                    <a:solidFill>
                      <a:srgbClr val="D8FAE5"/>
                    </a:solidFill>
                  </a:tcPr>
                </a:tc>
                <a:tc>
                  <a:txBody>
                    <a:bodyPr/>
                    <a:lstStyle/>
                    <a:p>
                      <a:pPr algn="ctr" fontAlgn="b"/>
                      <a:r>
                        <a:rPr lang="en-CA" sz="900" b="0" i="0" u="none" strike="noStrike">
                          <a:solidFill>
                            <a:srgbClr val="000000"/>
                          </a:solidFill>
                          <a:effectLst/>
                          <a:latin typeface="Arial" panose="020B0604020202020204" pitchFamily="34" charset="0"/>
                        </a:rPr>
                        <a:t>Individual</a:t>
                      </a:r>
                    </a:p>
                  </a:txBody>
                  <a:tcPr marL="0" marR="0" marT="0" marB="0" anchor="b">
                    <a:lnL>
                      <a:noFill/>
                    </a:lnL>
                    <a:lnR>
                      <a:noFill/>
                    </a:lnR>
                    <a:lnT>
                      <a:noFill/>
                    </a:lnT>
                    <a:lnB>
                      <a:noFill/>
                    </a:lnB>
                    <a:solidFill>
                      <a:srgbClr val="D8FAE5"/>
                    </a:solidFill>
                  </a:tcPr>
                </a:tc>
                <a:tc>
                  <a:txBody>
                    <a:bodyPr/>
                    <a:lstStyle/>
                    <a:p>
                      <a:pPr algn="ctr" fontAlgn="b"/>
                      <a:r>
                        <a:rPr lang="en-CA" sz="900" b="0" i="0" u="none" strike="noStrike">
                          <a:solidFill>
                            <a:srgbClr val="000000"/>
                          </a:solidFill>
                          <a:effectLst/>
                          <a:latin typeface="Arial" panose="020B0604020202020204" pitchFamily="34" charset="0"/>
                        </a:rPr>
                        <a:t>17.2 </a:t>
                      </a:r>
                    </a:p>
                  </a:txBody>
                  <a:tcPr marL="0" marR="0" marT="0" marB="0" anchor="b">
                    <a:lnL>
                      <a:noFill/>
                    </a:lnL>
                    <a:lnR>
                      <a:noFill/>
                    </a:lnR>
                    <a:lnT>
                      <a:noFill/>
                    </a:lnT>
                    <a:lnB>
                      <a:noFill/>
                    </a:lnB>
                    <a:solidFill>
                      <a:srgbClr val="D8FAE5"/>
                    </a:solidFill>
                  </a:tcPr>
                </a:tc>
                <a:tc>
                  <a:txBody>
                    <a:bodyPr/>
                    <a:lstStyle/>
                    <a:p>
                      <a:pPr algn="ctr" fontAlgn="b"/>
                      <a:r>
                        <a:rPr lang="en-CA" sz="900" b="0" i="0" u="none" strike="noStrike">
                          <a:solidFill>
                            <a:srgbClr val="000000"/>
                          </a:solidFill>
                          <a:effectLst/>
                          <a:latin typeface="Arial" panose="020B0604020202020204" pitchFamily="34" charset="0"/>
                        </a:rPr>
                        <a:t>4.9%</a:t>
                      </a:r>
                    </a:p>
                  </a:txBody>
                  <a:tcPr marL="0" marR="0" marT="0" marB="0" anchor="b">
                    <a:lnL>
                      <a:noFill/>
                    </a:lnL>
                    <a:lnR>
                      <a:noFill/>
                    </a:lnR>
                    <a:lnT>
                      <a:noFill/>
                    </a:lnT>
                    <a:lnB>
                      <a:noFill/>
                    </a:lnB>
                    <a:solidFill>
                      <a:srgbClr val="D8FAE5"/>
                    </a:solidFill>
                  </a:tcPr>
                </a:tc>
                <a:extLst>
                  <a:ext uri="{0D108BD9-81ED-4DB2-BD59-A6C34878D82A}">
                    <a16:rowId xmlns:a16="http://schemas.microsoft.com/office/drawing/2014/main" val="1841617149"/>
                  </a:ext>
                </a:extLst>
              </a:tr>
              <a:tr h="187534">
                <a:tc>
                  <a:txBody>
                    <a:bodyPr/>
                    <a:lstStyle/>
                    <a:p>
                      <a:pPr algn="ctr" fontAlgn="b"/>
                      <a:r>
                        <a:rPr lang="en-CA" sz="900" b="0" i="0" u="none" strike="noStrike">
                          <a:solidFill>
                            <a:srgbClr val="000000"/>
                          </a:solidFill>
                          <a:effectLst/>
                          <a:latin typeface="Arial" panose="020B0604020202020204" pitchFamily="34" charset="0"/>
                        </a:rPr>
                        <a:t>Vanguard</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Institutional Investor</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16.6 </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4.7%</a:t>
                      </a:r>
                    </a:p>
                  </a:txBody>
                  <a:tcPr marL="0" marR="0" marT="0" marB="0" anchor="b">
                    <a:lnL>
                      <a:noFill/>
                    </a:lnL>
                    <a:lnR>
                      <a:noFill/>
                    </a:lnR>
                    <a:lnT>
                      <a:noFill/>
                    </a:lnT>
                    <a:lnB>
                      <a:noFill/>
                    </a:lnB>
                    <a:noFill/>
                  </a:tcPr>
                </a:tc>
                <a:extLst>
                  <a:ext uri="{0D108BD9-81ED-4DB2-BD59-A6C34878D82A}">
                    <a16:rowId xmlns:a16="http://schemas.microsoft.com/office/drawing/2014/main" val="1484775414"/>
                  </a:ext>
                </a:extLst>
              </a:tr>
              <a:tr h="187534">
                <a:tc>
                  <a:txBody>
                    <a:bodyPr/>
                    <a:lstStyle/>
                    <a:p>
                      <a:pPr algn="ctr" fontAlgn="b"/>
                      <a:r>
                        <a:rPr lang="en-CA" sz="900" b="0" i="0" u="none" strike="noStrike">
                          <a:solidFill>
                            <a:srgbClr val="000000"/>
                          </a:solidFill>
                          <a:effectLst/>
                          <a:latin typeface="Arial" panose="020B0604020202020204" pitchFamily="34" charset="0"/>
                        </a:rPr>
                        <a:t>Andrew Karam</a:t>
                      </a:r>
                    </a:p>
                  </a:txBody>
                  <a:tcPr marL="0" marR="0" marT="0" marB="0" anchor="b">
                    <a:lnL>
                      <a:noFill/>
                    </a:lnL>
                    <a:lnR>
                      <a:noFill/>
                    </a:lnR>
                    <a:lnT>
                      <a:noFill/>
                    </a:lnT>
                    <a:lnB>
                      <a:noFill/>
                    </a:lnB>
                    <a:solidFill>
                      <a:srgbClr val="D8FAE5"/>
                    </a:solidFill>
                  </a:tcPr>
                </a:tc>
                <a:tc>
                  <a:txBody>
                    <a:bodyPr/>
                    <a:lstStyle/>
                    <a:p>
                      <a:pPr algn="ctr" fontAlgn="b"/>
                      <a:r>
                        <a:rPr lang="en-CA" sz="900" b="0" i="0" u="none" strike="noStrike">
                          <a:solidFill>
                            <a:srgbClr val="000000"/>
                          </a:solidFill>
                          <a:effectLst/>
                          <a:latin typeface="Arial" panose="020B0604020202020204" pitchFamily="34" charset="0"/>
                        </a:rPr>
                        <a:t>Co-Founder, VP</a:t>
                      </a:r>
                    </a:p>
                  </a:txBody>
                  <a:tcPr marL="0" marR="0" marT="0" marB="0" anchor="b">
                    <a:lnL>
                      <a:noFill/>
                    </a:lnL>
                    <a:lnR>
                      <a:noFill/>
                    </a:lnR>
                    <a:lnT>
                      <a:noFill/>
                    </a:lnT>
                    <a:lnB>
                      <a:noFill/>
                    </a:lnB>
                    <a:solidFill>
                      <a:srgbClr val="D8FAE5"/>
                    </a:solidFill>
                  </a:tcPr>
                </a:tc>
                <a:tc>
                  <a:txBody>
                    <a:bodyPr/>
                    <a:lstStyle/>
                    <a:p>
                      <a:pPr algn="ctr" fontAlgn="b"/>
                      <a:r>
                        <a:rPr lang="en-CA" sz="900" b="0" i="0" u="none" strike="noStrike">
                          <a:solidFill>
                            <a:srgbClr val="000000"/>
                          </a:solidFill>
                          <a:effectLst/>
                          <a:latin typeface="Arial" panose="020B0604020202020204" pitchFamily="34" charset="0"/>
                        </a:rPr>
                        <a:t>13.1 </a:t>
                      </a:r>
                    </a:p>
                  </a:txBody>
                  <a:tcPr marL="0" marR="0" marT="0" marB="0" anchor="b">
                    <a:lnL>
                      <a:noFill/>
                    </a:lnL>
                    <a:lnR>
                      <a:noFill/>
                    </a:lnR>
                    <a:lnT>
                      <a:noFill/>
                    </a:lnT>
                    <a:lnB>
                      <a:noFill/>
                    </a:lnB>
                    <a:solidFill>
                      <a:srgbClr val="D8FAE5"/>
                    </a:solidFill>
                  </a:tcPr>
                </a:tc>
                <a:tc>
                  <a:txBody>
                    <a:bodyPr/>
                    <a:lstStyle/>
                    <a:p>
                      <a:pPr algn="ctr" fontAlgn="b"/>
                      <a:r>
                        <a:rPr lang="en-CA" sz="900" b="0" i="0" u="none" strike="noStrike">
                          <a:solidFill>
                            <a:srgbClr val="000000"/>
                          </a:solidFill>
                          <a:effectLst/>
                          <a:latin typeface="Arial" panose="020B0604020202020204" pitchFamily="34" charset="0"/>
                        </a:rPr>
                        <a:t>3.7%</a:t>
                      </a:r>
                    </a:p>
                  </a:txBody>
                  <a:tcPr marL="0" marR="0" marT="0" marB="0" anchor="b">
                    <a:lnL>
                      <a:noFill/>
                    </a:lnL>
                    <a:lnR>
                      <a:noFill/>
                    </a:lnR>
                    <a:lnT>
                      <a:noFill/>
                    </a:lnT>
                    <a:lnB>
                      <a:noFill/>
                    </a:lnB>
                    <a:solidFill>
                      <a:srgbClr val="D8FAE5"/>
                    </a:solidFill>
                  </a:tcPr>
                </a:tc>
                <a:extLst>
                  <a:ext uri="{0D108BD9-81ED-4DB2-BD59-A6C34878D82A}">
                    <a16:rowId xmlns:a16="http://schemas.microsoft.com/office/drawing/2014/main" val="31608130"/>
                  </a:ext>
                </a:extLst>
              </a:tr>
              <a:tr h="187534">
                <a:tc>
                  <a:txBody>
                    <a:bodyPr/>
                    <a:lstStyle/>
                    <a:p>
                      <a:pPr algn="ctr" fontAlgn="b"/>
                      <a:r>
                        <a:rPr lang="en-CA" sz="900" b="0" i="0" u="none" strike="noStrike">
                          <a:solidFill>
                            <a:srgbClr val="000000"/>
                          </a:solidFill>
                          <a:effectLst/>
                          <a:latin typeface="Arial" panose="020B0604020202020204" pitchFamily="34" charset="0"/>
                        </a:rPr>
                        <a:t>FMR</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Institutional Investor</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13.1 </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3.7%</a:t>
                      </a:r>
                    </a:p>
                  </a:txBody>
                  <a:tcPr marL="0" marR="0" marT="0" marB="0" anchor="b">
                    <a:lnL>
                      <a:noFill/>
                    </a:lnL>
                    <a:lnR>
                      <a:noFill/>
                    </a:lnR>
                    <a:lnT>
                      <a:noFill/>
                    </a:lnT>
                    <a:lnB>
                      <a:noFill/>
                    </a:lnB>
                    <a:noFill/>
                  </a:tcPr>
                </a:tc>
                <a:extLst>
                  <a:ext uri="{0D108BD9-81ED-4DB2-BD59-A6C34878D82A}">
                    <a16:rowId xmlns:a16="http://schemas.microsoft.com/office/drawing/2014/main" val="3853666231"/>
                  </a:ext>
                </a:extLst>
              </a:tr>
              <a:tr h="187534">
                <a:tc>
                  <a:txBody>
                    <a:bodyPr/>
                    <a:lstStyle/>
                    <a:p>
                      <a:pPr algn="ctr" fontAlgn="b"/>
                      <a:r>
                        <a:rPr lang="en-CA" sz="900" b="0" i="0" u="none" strike="noStrike">
                          <a:solidFill>
                            <a:srgbClr val="000000"/>
                          </a:solidFill>
                          <a:effectLst/>
                          <a:latin typeface="Arial" panose="020B0604020202020204" pitchFamily="34" charset="0"/>
                        </a:rPr>
                        <a:t>Tang Hao</a:t>
                      </a:r>
                    </a:p>
                  </a:txBody>
                  <a:tcPr marL="0" marR="0" marT="0" marB="0" anchor="b">
                    <a:lnL>
                      <a:noFill/>
                    </a:lnL>
                    <a:lnR>
                      <a:noFill/>
                    </a:lnR>
                    <a:lnT>
                      <a:noFill/>
                    </a:lnT>
                    <a:lnB>
                      <a:noFill/>
                    </a:lnB>
                    <a:solidFill>
                      <a:srgbClr val="D8FAE5"/>
                    </a:solidFill>
                  </a:tcPr>
                </a:tc>
                <a:tc>
                  <a:txBody>
                    <a:bodyPr/>
                    <a:lstStyle/>
                    <a:p>
                      <a:pPr algn="ctr" fontAlgn="b"/>
                      <a:r>
                        <a:rPr lang="en-CA" sz="900" b="0" i="0" u="none" strike="noStrike">
                          <a:solidFill>
                            <a:srgbClr val="000000"/>
                          </a:solidFill>
                          <a:effectLst/>
                          <a:latin typeface="Arial" panose="020B0604020202020204" pitchFamily="34" charset="0"/>
                        </a:rPr>
                        <a:t>Individual Investor</a:t>
                      </a:r>
                    </a:p>
                  </a:txBody>
                  <a:tcPr marL="0" marR="0" marT="0" marB="0" anchor="b">
                    <a:lnL>
                      <a:noFill/>
                    </a:lnL>
                    <a:lnR>
                      <a:noFill/>
                    </a:lnR>
                    <a:lnT>
                      <a:noFill/>
                    </a:lnT>
                    <a:lnB>
                      <a:noFill/>
                    </a:lnB>
                    <a:solidFill>
                      <a:srgbClr val="D8FAE5"/>
                    </a:solidFill>
                  </a:tcPr>
                </a:tc>
                <a:tc>
                  <a:txBody>
                    <a:bodyPr/>
                    <a:lstStyle/>
                    <a:p>
                      <a:pPr algn="ctr" fontAlgn="b"/>
                      <a:r>
                        <a:rPr lang="en-CA" sz="900" b="0" i="0" u="none" strike="noStrike">
                          <a:solidFill>
                            <a:srgbClr val="000000"/>
                          </a:solidFill>
                          <a:effectLst/>
                          <a:latin typeface="Arial" panose="020B0604020202020204" pitchFamily="34" charset="0"/>
                        </a:rPr>
                        <a:t>12.0 </a:t>
                      </a:r>
                    </a:p>
                  </a:txBody>
                  <a:tcPr marL="0" marR="0" marT="0" marB="0" anchor="b">
                    <a:lnL>
                      <a:noFill/>
                    </a:lnL>
                    <a:lnR>
                      <a:noFill/>
                    </a:lnR>
                    <a:lnT>
                      <a:noFill/>
                    </a:lnT>
                    <a:lnB>
                      <a:noFill/>
                    </a:lnB>
                    <a:solidFill>
                      <a:srgbClr val="D8FAE5"/>
                    </a:solidFill>
                  </a:tcPr>
                </a:tc>
                <a:tc>
                  <a:txBody>
                    <a:bodyPr/>
                    <a:lstStyle/>
                    <a:p>
                      <a:pPr algn="ctr" fontAlgn="b"/>
                      <a:r>
                        <a:rPr lang="en-CA" sz="900" b="0" i="0" u="none" strike="noStrike">
                          <a:solidFill>
                            <a:srgbClr val="000000"/>
                          </a:solidFill>
                          <a:effectLst/>
                          <a:latin typeface="Arial" panose="020B0604020202020204" pitchFamily="34" charset="0"/>
                        </a:rPr>
                        <a:t>3.4%</a:t>
                      </a:r>
                    </a:p>
                  </a:txBody>
                  <a:tcPr marL="0" marR="0" marT="0" marB="0" anchor="b">
                    <a:lnL>
                      <a:noFill/>
                    </a:lnL>
                    <a:lnR>
                      <a:noFill/>
                    </a:lnR>
                    <a:lnT>
                      <a:noFill/>
                    </a:lnT>
                    <a:lnB>
                      <a:noFill/>
                    </a:lnB>
                    <a:solidFill>
                      <a:srgbClr val="D8FAE5"/>
                    </a:solidFill>
                  </a:tcPr>
                </a:tc>
                <a:extLst>
                  <a:ext uri="{0D108BD9-81ED-4DB2-BD59-A6C34878D82A}">
                    <a16:rowId xmlns:a16="http://schemas.microsoft.com/office/drawing/2014/main" val="1102408726"/>
                  </a:ext>
                </a:extLst>
              </a:tr>
              <a:tr h="200037">
                <a:tc>
                  <a:txBody>
                    <a:bodyPr/>
                    <a:lstStyle/>
                    <a:p>
                      <a:pPr algn="ctr" fontAlgn="b"/>
                      <a:r>
                        <a:rPr lang="en-CA" sz="900" b="0" i="0" u="none" strike="noStrike">
                          <a:solidFill>
                            <a:srgbClr val="000000"/>
                          </a:solidFill>
                          <a:effectLst/>
                          <a:latin typeface="Arial" panose="020B0604020202020204" pitchFamily="34" charset="0"/>
                        </a:rPr>
                        <a:t>John Krystynak</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Co-Founder, VP</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11.2 </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3.2%</a:t>
                      </a:r>
                    </a:p>
                  </a:txBody>
                  <a:tcPr marL="0" marR="0" marT="0" marB="0" anchor="b">
                    <a:lnL>
                      <a:noFill/>
                    </a:lnL>
                    <a:lnR>
                      <a:noFill/>
                    </a:lnR>
                    <a:lnT>
                      <a:noFill/>
                    </a:lnT>
                    <a:lnB>
                      <a:noFill/>
                    </a:lnB>
                    <a:noFill/>
                  </a:tcPr>
                </a:tc>
                <a:extLst>
                  <a:ext uri="{0D108BD9-81ED-4DB2-BD59-A6C34878D82A}">
                    <a16:rowId xmlns:a16="http://schemas.microsoft.com/office/drawing/2014/main" val="3164710678"/>
                  </a:ext>
                </a:extLst>
              </a:tr>
              <a:tr h="187534">
                <a:tc>
                  <a:txBody>
                    <a:bodyPr/>
                    <a:lstStyle/>
                    <a:p>
                      <a:pPr algn="ctr" fontAlgn="b"/>
                      <a:r>
                        <a:rPr lang="en-CA" sz="900" b="0" i="0" u="none" strike="noStrike">
                          <a:solidFill>
                            <a:srgbClr val="000000"/>
                          </a:solidFill>
                          <a:effectLst/>
                          <a:latin typeface="Arial" panose="020B0604020202020204" pitchFamily="34" charset="0"/>
                        </a:rPr>
                        <a:t>GQG</a:t>
                      </a:r>
                    </a:p>
                  </a:txBody>
                  <a:tcPr marL="0" marR="0" marT="0" marB="0" anchor="b">
                    <a:lnL>
                      <a:noFill/>
                    </a:lnL>
                    <a:lnR>
                      <a:noFill/>
                    </a:lnR>
                    <a:lnT>
                      <a:noFill/>
                    </a:lnT>
                    <a:lnB>
                      <a:noFill/>
                    </a:lnB>
                    <a:solidFill>
                      <a:srgbClr val="D8FAE5"/>
                    </a:solidFill>
                  </a:tcPr>
                </a:tc>
                <a:tc>
                  <a:txBody>
                    <a:bodyPr/>
                    <a:lstStyle/>
                    <a:p>
                      <a:pPr algn="ctr" fontAlgn="b"/>
                      <a:r>
                        <a:rPr lang="en-CA" sz="900" b="0" i="0" u="none" strike="noStrike">
                          <a:solidFill>
                            <a:srgbClr val="000000"/>
                          </a:solidFill>
                          <a:effectLst/>
                          <a:latin typeface="Arial" panose="020B0604020202020204" pitchFamily="34" charset="0"/>
                        </a:rPr>
                        <a:t>Institutional Investor</a:t>
                      </a:r>
                    </a:p>
                  </a:txBody>
                  <a:tcPr marL="0" marR="0" marT="0" marB="0" anchor="b">
                    <a:lnL>
                      <a:noFill/>
                    </a:lnL>
                    <a:lnR>
                      <a:noFill/>
                    </a:lnR>
                    <a:lnT>
                      <a:noFill/>
                    </a:lnT>
                    <a:lnB>
                      <a:noFill/>
                    </a:lnB>
                    <a:solidFill>
                      <a:srgbClr val="D8FAE5"/>
                    </a:solidFill>
                  </a:tcPr>
                </a:tc>
                <a:tc>
                  <a:txBody>
                    <a:bodyPr/>
                    <a:lstStyle/>
                    <a:p>
                      <a:pPr algn="ctr" fontAlgn="b"/>
                      <a:r>
                        <a:rPr lang="en-CA" sz="900" b="0" i="0" u="none" strike="noStrike">
                          <a:solidFill>
                            <a:srgbClr val="000000"/>
                          </a:solidFill>
                          <a:effectLst/>
                          <a:latin typeface="Arial" panose="020B0604020202020204" pitchFamily="34" charset="0"/>
                        </a:rPr>
                        <a:t>8.4 </a:t>
                      </a:r>
                    </a:p>
                  </a:txBody>
                  <a:tcPr marL="0" marR="0" marT="0" marB="0" anchor="b">
                    <a:lnL>
                      <a:noFill/>
                    </a:lnL>
                    <a:lnR>
                      <a:noFill/>
                    </a:lnR>
                    <a:lnT>
                      <a:noFill/>
                    </a:lnT>
                    <a:lnB>
                      <a:noFill/>
                    </a:lnB>
                    <a:solidFill>
                      <a:srgbClr val="D8FAE5"/>
                    </a:solidFill>
                  </a:tcPr>
                </a:tc>
                <a:tc>
                  <a:txBody>
                    <a:bodyPr/>
                    <a:lstStyle/>
                    <a:p>
                      <a:pPr algn="ctr" fontAlgn="b"/>
                      <a:r>
                        <a:rPr lang="en-CA" sz="900" b="0" i="0" u="none" strike="noStrike">
                          <a:solidFill>
                            <a:srgbClr val="000000"/>
                          </a:solidFill>
                          <a:effectLst/>
                          <a:latin typeface="Arial" panose="020B0604020202020204" pitchFamily="34" charset="0"/>
                        </a:rPr>
                        <a:t>2.4%</a:t>
                      </a:r>
                    </a:p>
                  </a:txBody>
                  <a:tcPr marL="0" marR="0" marT="0" marB="0" anchor="b">
                    <a:lnL>
                      <a:noFill/>
                    </a:lnL>
                    <a:lnR>
                      <a:noFill/>
                    </a:lnR>
                    <a:lnT>
                      <a:noFill/>
                    </a:lnT>
                    <a:lnB>
                      <a:noFill/>
                    </a:lnB>
                    <a:solidFill>
                      <a:srgbClr val="D8FAE5"/>
                    </a:solidFill>
                  </a:tcPr>
                </a:tc>
                <a:extLst>
                  <a:ext uri="{0D108BD9-81ED-4DB2-BD59-A6C34878D82A}">
                    <a16:rowId xmlns:a16="http://schemas.microsoft.com/office/drawing/2014/main" val="2745020399"/>
                  </a:ext>
                </a:extLst>
              </a:tr>
              <a:tr h="200037">
                <a:tc>
                  <a:txBody>
                    <a:bodyPr/>
                    <a:lstStyle/>
                    <a:p>
                      <a:pPr algn="ctr" fontAlgn="b"/>
                      <a:r>
                        <a:rPr lang="en-CA" sz="900" b="0" i="0" u="none" strike="noStrike">
                          <a:solidFill>
                            <a:srgbClr val="000000"/>
                          </a:solidFill>
                          <a:effectLst/>
                          <a:latin typeface="Arial" panose="020B0604020202020204" pitchFamily="34" charset="0"/>
                        </a:rPr>
                        <a:t>Eduardo Vivas</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Individual Investor</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7.6 </a:t>
                      </a:r>
                    </a:p>
                  </a:txBody>
                  <a:tcPr marL="0" marR="0" marT="0" marB="0" anchor="b">
                    <a:lnL>
                      <a:noFill/>
                    </a:lnL>
                    <a:lnR>
                      <a:noFill/>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2.2%</a:t>
                      </a:r>
                    </a:p>
                  </a:txBody>
                  <a:tcPr marL="0" marR="0" marT="0" marB="0" anchor="b">
                    <a:lnL>
                      <a:noFill/>
                    </a:lnL>
                    <a:lnR>
                      <a:noFill/>
                    </a:lnR>
                    <a:lnT>
                      <a:noFill/>
                    </a:lnT>
                    <a:lnB>
                      <a:noFill/>
                    </a:lnB>
                    <a:noFill/>
                  </a:tcPr>
                </a:tc>
                <a:extLst>
                  <a:ext uri="{0D108BD9-81ED-4DB2-BD59-A6C34878D82A}">
                    <a16:rowId xmlns:a16="http://schemas.microsoft.com/office/drawing/2014/main" val="2361227603"/>
                  </a:ext>
                </a:extLst>
              </a:tr>
            </a:tbl>
          </a:graphicData>
        </a:graphic>
      </p:graphicFrame>
      <p:graphicFrame>
        <p:nvGraphicFramePr>
          <p:cNvPr id="5" name="Content Placeholder 4">
            <a:extLst>
              <a:ext uri="{FF2B5EF4-FFF2-40B4-BE49-F238E27FC236}">
                <a16:creationId xmlns:a16="http://schemas.microsoft.com/office/drawing/2014/main" id="{87C82FE1-36FF-45D5-4F0F-93365C62F5B7}"/>
              </a:ext>
            </a:extLst>
          </p:cNvPr>
          <p:cNvGraphicFramePr>
            <a:graphicFrameLocks noGrp="1"/>
          </p:cNvGraphicFramePr>
          <p:nvPr>
            <p:ph sz="quarter" idx="23"/>
            <p:extLst>
              <p:ext uri="{D42A27DB-BD31-4B8C-83A1-F6EECF244321}">
                <p14:modId xmlns:p14="http://schemas.microsoft.com/office/powerpoint/2010/main" val="3523556864"/>
              </p:ext>
            </p:extLst>
          </p:nvPr>
        </p:nvGraphicFramePr>
        <p:xfrm>
          <a:off x="250825" y="1384300"/>
          <a:ext cx="4141788" cy="21780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ontent Placeholder 7">
            <a:extLst>
              <a:ext uri="{FF2B5EF4-FFF2-40B4-BE49-F238E27FC236}">
                <a16:creationId xmlns:a16="http://schemas.microsoft.com/office/drawing/2014/main" id="{C87B7209-29BF-10FB-6DA7-57F79BCCA464}"/>
              </a:ext>
            </a:extLst>
          </p:cNvPr>
          <p:cNvGraphicFramePr>
            <a:graphicFrameLocks noGrp="1"/>
          </p:cNvGraphicFramePr>
          <p:nvPr>
            <p:ph sz="quarter" idx="29"/>
          </p:nvPr>
        </p:nvGraphicFramePr>
        <p:xfrm>
          <a:off x="250825" y="4014788"/>
          <a:ext cx="4141788" cy="21780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ontent Placeholder 12">
            <a:extLst>
              <a:ext uri="{FF2B5EF4-FFF2-40B4-BE49-F238E27FC236}">
                <a16:creationId xmlns:a16="http://schemas.microsoft.com/office/drawing/2014/main" id="{FD7077CD-21A8-3D87-086A-5A5211B6AF54}"/>
              </a:ext>
            </a:extLst>
          </p:cNvPr>
          <p:cNvGraphicFramePr>
            <a:graphicFrameLocks noGrp="1"/>
          </p:cNvGraphicFramePr>
          <p:nvPr>
            <p:ph sz="quarter" idx="30"/>
          </p:nvPr>
        </p:nvGraphicFramePr>
        <p:xfrm>
          <a:off x="4751388" y="4014788"/>
          <a:ext cx="4141787" cy="21780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712433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6E4FA3-9297-C3D5-2D99-259A448A595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CD34B8B-69FF-F4D1-FDDD-531BBF3C03AC}"/>
              </a:ext>
            </a:extLst>
          </p:cNvPr>
          <p:cNvSpPr>
            <a:spLocks noGrp="1"/>
          </p:cNvSpPr>
          <p:nvPr>
            <p:ph type="body" sz="quarter" idx="21"/>
          </p:nvPr>
        </p:nvSpPr>
        <p:spPr>
          <a:xfrm>
            <a:off x="250825" y="643094"/>
            <a:ext cx="8642350" cy="280016"/>
          </a:xfrm>
        </p:spPr>
        <p:txBody>
          <a:bodyPr>
            <a:normAutofit lnSpcReduction="10000"/>
          </a:bodyPr>
          <a:lstStyle/>
          <a:p>
            <a:r>
              <a:rPr lang="en-US"/>
              <a:t>Where </a:t>
            </a:r>
            <a:r>
              <a:rPr lang="en-US" err="1"/>
              <a:t>AppLovin</a:t>
            </a:r>
            <a:r>
              <a:rPr lang="en-US"/>
              <a:t> Could Also Fit in the Equation</a:t>
            </a:r>
          </a:p>
        </p:txBody>
      </p:sp>
      <p:sp>
        <p:nvSpPr>
          <p:cNvPr id="4" name="Title 3">
            <a:extLst>
              <a:ext uri="{FF2B5EF4-FFF2-40B4-BE49-F238E27FC236}">
                <a16:creationId xmlns:a16="http://schemas.microsoft.com/office/drawing/2014/main" id="{0601D520-8357-F5BD-5AB4-CE54080599AA}"/>
              </a:ext>
            </a:extLst>
          </p:cNvPr>
          <p:cNvSpPr>
            <a:spLocks noGrp="1"/>
          </p:cNvSpPr>
          <p:nvPr>
            <p:ph type="title"/>
          </p:nvPr>
        </p:nvSpPr>
        <p:spPr/>
        <p:txBody>
          <a:bodyPr/>
          <a:lstStyle/>
          <a:p>
            <a:r>
              <a:rPr lang="en-US"/>
              <a:t>Shopify Ventures Portfolio</a:t>
            </a:r>
          </a:p>
        </p:txBody>
      </p:sp>
      <p:sp>
        <p:nvSpPr>
          <p:cNvPr id="5" name="Text Placeholder 4">
            <a:extLst>
              <a:ext uri="{FF2B5EF4-FFF2-40B4-BE49-F238E27FC236}">
                <a16:creationId xmlns:a16="http://schemas.microsoft.com/office/drawing/2014/main" id="{D79F03D4-8C93-8AAF-7F70-8BA0C82D54C1}"/>
              </a:ext>
            </a:extLst>
          </p:cNvPr>
          <p:cNvSpPr>
            <a:spLocks noGrp="1"/>
          </p:cNvSpPr>
          <p:nvPr>
            <p:ph type="body" sz="quarter" idx="13"/>
          </p:nvPr>
        </p:nvSpPr>
        <p:spPr/>
        <p:txBody>
          <a:bodyPr/>
          <a:lstStyle/>
          <a:p>
            <a:r>
              <a:rPr lang="en-US"/>
              <a:t>Source(s): Capital IQ, </a:t>
            </a:r>
            <a:r>
              <a:rPr lang="en-US" err="1"/>
              <a:t>PitchBook</a:t>
            </a:r>
            <a:r>
              <a:rPr lang="en-US"/>
              <a:t>, Bloomberg</a:t>
            </a:r>
          </a:p>
          <a:p>
            <a:endParaRPr lang="en-US"/>
          </a:p>
        </p:txBody>
      </p:sp>
      <p:sp>
        <p:nvSpPr>
          <p:cNvPr id="7" name="Rounded Rectangle 6">
            <a:extLst>
              <a:ext uri="{FF2B5EF4-FFF2-40B4-BE49-F238E27FC236}">
                <a16:creationId xmlns:a16="http://schemas.microsoft.com/office/drawing/2014/main" id="{FCF3EAE4-0A48-550E-437F-A10A9056A31E}"/>
              </a:ext>
            </a:extLst>
          </p:cNvPr>
          <p:cNvSpPr/>
          <p:nvPr/>
        </p:nvSpPr>
        <p:spPr>
          <a:xfrm>
            <a:off x="250825" y="5122473"/>
            <a:ext cx="8642350" cy="109022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a:solidFill>
                  <a:schemeClr val="accent3"/>
                </a:solidFill>
              </a:rPr>
              <a:t>Supports innovative commerce solutions and entrepreneurs globally</a:t>
            </a:r>
          </a:p>
        </p:txBody>
      </p:sp>
      <p:sp>
        <p:nvSpPr>
          <p:cNvPr id="8" name="Oval 7">
            <a:extLst>
              <a:ext uri="{FF2B5EF4-FFF2-40B4-BE49-F238E27FC236}">
                <a16:creationId xmlns:a16="http://schemas.microsoft.com/office/drawing/2014/main" id="{7795129B-EABC-5967-E244-5DD9EE24DC70}"/>
              </a:ext>
            </a:extLst>
          </p:cNvPr>
          <p:cNvSpPr/>
          <p:nvPr/>
        </p:nvSpPr>
        <p:spPr>
          <a:xfrm>
            <a:off x="409720" y="5185221"/>
            <a:ext cx="983112" cy="964728"/>
          </a:xfrm>
          <a:prstGeom prst="ellipse">
            <a:avLst/>
          </a:prstGeom>
          <a:solidFill>
            <a:srgbClr val="D8FAE5"/>
          </a:solidFill>
          <a:ln>
            <a:solidFill>
              <a:srgbClr val="102C2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a:solidFill>
                  <a:schemeClr val="tx2"/>
                </a:solidFill>
              </a:rPr>
              <a:t>Shopify</a:t>
            </a:r>
          </a:p>
          <a:p>
            <a:pPr algn="ctr"/>
            <a:r>
              <a:rPr lang="en-US" sz="900" b="1">
                <a:solidFill>
                  <a:schemeClr val="tx2"/>
                </a:solidFill>
              </a:rPr>
              <a:t>Ventures</a:t>
            </a:r>
          </a:p>
        </p:txBody>
      </p:sp>
      <p:sp>
        <p:nvSpPr>
          <p:cNvPr id="3" name="Flowchart: Connector 2">
            <a:extLst>
              <a:ext uri="{FF2B5EF4-FFF2-40B4-BE49-F238E27FC236}">
                <a16:creationId xmlns:a16="http://schemas.microsoft.com/office/drawing/2014/main" id="{1C652BBE-A614-1DBE-25F0-4DB0C9D83A03}"/>
              </a:ext>
            </a:extLst>
          </p:cNvPr>
          <p:cNvSpPr/>
          <p:nvPr/>
        </p:nvSpPr>
        <p:spPr>
          <a:xfrm>
            <a:off x="1392832" y="1321390"/>
            <a:ext cx="3600000" cy="3600000"/>
          </a:xfrm>
          <a:prstGeom prst="flowChartConnector">
            <a:avLst/>
          </a:prstGeom>
          <a:solidFill>
            <a:srgbClr val="008864">
              <a:alpha val="10000"/>
            </a:srgb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6" name="Flowchart: Connector 5">
            <a:extLst>
              <a:ext uri="{FF2B5EF4-FFF2-40B4-BE49-F238E27FC236}">
                <a16:creationId xmlns:a16="http://schemas.microsoft.com/office/drawing/2014/main" id="{745C97BB-9C2B-CE94-CC8B-4278B0D1310C}"/>
              </a:ext>
            </a:extLst>
          </p:cNvPr>
          <p:cNvSpPr/>
          <p:nvPr/>
        </p:nvSpPr>
        <p:spPr>
          <a:xfrm>
            <a:off x="4025240" y="1321390"/>
            <a:ext cx="3600000" cy="3600000"/>
          </a:xfrm>
          <a:prstGeom prst="flowChartConnector">
            <a:avLst/>
          </a:prstGeom>
          <a:solidFill>
            <a:srgbClr val="102C23">
              <a:alpha val="10000"/>
            </a:srgb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9" name="TextBox 8">
            <a:extLst>
              <a:ext uri="{FF2B5EF4-FFF2-40B4-BE49-F238E27FC236}">
                <a16:creationId xmlns:a16="http://schemas.microsoft.com/office/drawing/2014/main" id="{D2BC90F8-341B-E1EA-7281-86F3B9B44F80}"/>
              </a:ext>
            </a:extLst>
          </p:cNvPr>
          <p:cNvSpPr txBox="1"/>
          <p:nvPr/>
        </p:nvSpPr>
        <p:spPr>
          <a:xfrm>
            <a:off x="2399987" y="1632343"/>
            <a:ext cx="1585690" cy="261610"/>
          </a:xfrm>
          <a:prstGeom prst="rect">
            <a:avLst/>
          </a:prstGeom>
          <a:noFill/>
        </p:spPr>
        <p:txBody>
          <a:bodyPr wrap="none" rtlCol="0">
            <a:spAutoFit/>
          </a:bodyPr>
          <a:lstStyle/>
          <a:p>
            <a:r>
              <a:rPr lang="en-US" sz="1100" b="1">
                <a:solidFill>
                  <a:srgbClr val="102C23"/>
                </a:solidFill>
              </a:rPr>
              <a:t>Future Of Commerce</a:t>
            </a:r>
            <a:endParaRPr lang="en-CA" sz="1100" b="1">
              <a:solidFill>
                <a:srgbClr val="102C23"/>
              </a:solidFill>
            </a:endParaRPr>
          </a:p>
        </p:txBody>
      </p:sp>
      <p:sp>
        <p:nvSpPr>
          <p:cNvPr id="10" name="TextBox 9">
            <a:extLst>
              <a:ext uri="{FF2B5EF4-FFF2-40B4-BE49-F238E27FC236}">
                <a16:creationId xmlns:a16="http://schemas.microsoft.com/office/drawing/2014/main" id="{8D28E409-704F-284D-320A-10E7AE1E4A9C}"/>
              </a:ext>
            </a:extLst>
          </p:cNvPr>
          <p:cNvSpPr txBox="1"/>
          <p:nvPr/>
        </p:nvSpPr>
        <p:spPr>
          <a:xfrm>
            <a:off x="4967966" y="1632343"/>
            <a:ext cx="1941557" cy="261610"/>
          </a:xfrm>
          <a:prstGeom prst="rect">
            <a:avLst/>
          </a:prstGeom>
          <a:noFill/>
        </p:spPr>
        <p:txBody>
          <a:bodyPr wrap="none" rtlCol="0">
            <a:spAutoFit/>
          </a:bodyPr>
          <a:lstStyle/>
          <a:p>
            <a:r>
              <a:rPr lang="en-US" sz="1100" b="1">
                <a:solidFill>
                  <a:srgbClr val="102C23"/>
                </a:solidFill>
              </a:rPr>
              <a:t>Developer + Infrastructure</a:t>
            </a:r>
            <a:endParaRPr lang="en-CA" sz="1100" b="1">
              <a:solidFill>
                <a:srgbClr val="102C23"/>
              </a:solidFill>
            </a:endParaRPr>
          </a:p>
        </p:txBody>
      </p:sp>
      <p:pic>
        <p:nvPicPr>
          <p:cNvPr id="12" name="Picture 14" descr="Crossing Minds Recruiting">
            <a:extLst>
              <a:ext uri="{FF2B5EF4-FFF2-40B4-BE49-F238E27FC236}">
                <a16:creationId xmlns:a16="http://schemas.microsoft.com/office/drawing/2014/main" id="{F5B06D0B-5808-A171-E72F-4F12FEC85F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9052" y="2399520"/>
            <a:ext cx="721870" cy="72187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8" descr="Crstl - The Modern B2B Commerce Network">
            <a:extLst>
              <a:ext uri="{FF2B5EF4-FFF2-40B4-BE49-F238E27FC236}">
                <a16:creationId xmlns:a16="http://schemas.microsoft.com/office/drawing/2014/main" id="{6E51E622-0204-22BA-0049-C73086AF26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8131" y="2421814"/>
            <a:ext cx="623695" cy="677282"/>
          </a:xfrm>
          <a:prstGeom prst="rect">
            <a:avLst/>
          </a:prstGeom>
          <a:noFill/>
          <a:extLst>
            <a:ext uri="{909E8E84-426E-40DD-AFC4-6F175D3DCCD1}">
              <a14:hiddenFill xmlns:a14="http://schemas.microsoft.com/office/drawing/2010/main">
                <a:solidFill>
                  <a:srgbClr val="FFFFFF"/>
                </a:solidFill>
              </a14:hiddenFill>
            </a:ext>
          </a:extLst>
        </p:spPr>
      </p:pic>
      <p:sp>
        <p:nvSpPr>
          <p:cNvPr id="23" name="AutoShape 6" descr="AppLovin - Adjust Technology Partner Directory">
            <a:extLst>
              <a:ext uri="{FF2B5EF4-FFF2-40B4-BE49-F238E27FC236}">
                <a16:creationId xmlns:a16="http://schemas.microsoft.com/office/drawing/2014/main" id="{AFB146F0-D027-01E1-1883-EE75335C7B1B}"/>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24" name="AutoShape 8" descr="AppLovin - Adjust Technology Partner Directory">
            <a:extLst>
              <a:ext uri="{FF2B5EF4-FFF2-40B4-BE49-F238E27FC236}">
                <a16:creationId xmlns:a16="http://schemas.microsoft.com/office/drawing/2014/main" id="{D969378E-0AA6-9D3E-02A9-0819DB8D6C4C}"/>
              </a:ext>
            </a:extLst>
          </p:cNvPr>
          <p:cNvSpPr>
            <a:spLocks noChangeAspect="1" noChangeArrowheads="1"/>
          </p:cNvSpPr>
          <p:nvPr/>
        </p:nvSpPr>
        <p:spPr bwMode="auto">
          <a:xfrm>
            <a:off x="4572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25" name="AutoShape 10" descr="AppLovin - Adjust Technology Partner Directory">
            <a:extLst>
              <a:ext uri="{FF2B5EF4-FFF2-40B4-BE49-F238E27FC236}">
                <a16:creationId xmlns:a16="http://schemas.microsoft.com/office/drawing/2014/main" id="{6C07E516-93C8-D308-EB94-7FFB59CC89DE}"/>
              </a:ext>
            </a:extLst>
          </p:cNvPr>
          <p:cNvSpPr>
            <a:spLocks noChangeAspect="1" noChangeArrowheads="1"/>
          </p:cNvSpPr>
          <p:nvPr/>
        </p:nvSpPr>
        <p:spPr bwMode="auto">
          <a:xfrm>
            <a:off x="5745973" y="2314762"/>
            <a:ext cx="73220" cy="7322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pic>
        <p:nvPicPr>
          <p:cNvPr id="2060" name="Picture 12" descr="CLIENTS | Sooqista Studios">
            <a:extLst>
              <a:ext uri="{FF2B5EF4-FFF2-40B4-BE49-F238E27FC236}">
                <a16:creationId xmlns:a16="http://schemas.microsoft.com/office/drawing/2014/main" id="{AEDBB7EC-5689-F29A-4CB0-2FC180D955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83874" y="2663199"/>
            <a:ext cx="677282" cy="67728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4" descr="Faire - Products, Competitors, Financials, Employees ...">
            <a:extLst>
              <a:ext uri="{FF2B5EF4-FFF2-40B4-BE49-F238E27FC236}">
                <a16:creationId xmlns:a16="http://schemas.microsoft.com/office/drawing/2014/main" id="{4E6AF047-689D-C0CE-C660-3065D11918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96388" y="3374222"/>
            <a:ext cx="876452" cy="109556"/>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descr="A black background with white text&#10;&#10;AI-generated content may be incorrect.">
            <a:extLst>
              <a:ext uri="{FF2B5EF4-FFF2-40B4-BE49-F238E27FC236}">
                <a16:creationId xmlns:a16="http://schemas.microsoft.com/office/drawing/2014/main" id="{E1189883-A7AE-3D24-90AD-0F01E99F85D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51725" y="3021933"/>
            <a:ext cx="1080066" cy="771476"/>
          </a:xfrm>
          <a:prstGeom prst="rect">
            <a:avLst/>
          </a:prstGeom>
        </p:spPr>
      </p:pic>
      <p:pic>
        <p:nvPicPr>
          <p:cNvPr id="42" name="Picture 32" descr="Graphite uses Claude to speed up code review by 40x \ Anthropic">
            <a:extLst>
              <a:ext uri="{FF2B5EF4-FFF2-40B4-BE49-F238E27FC236}">
                <a16:creationId xmlns:a16="http://schemas.microsoft.com/office/drawing/2014/main" id="{6D9BD1DE-DFEC-85BB-6416-4BDEF5DEC56B}"/>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9985" b="89863" l="7622" r="90930">
                        <a14:foregroundMark x1="21494" y1="52820" x2="19588" y2="55716"/>
                        <a14:foregroundMark x1="17454" y1="51753" x2="11204" y2="48247"/>
                        <a14:foregroundMark x1="11585" y1="51448" x2="19741" y2="49314"/>
                        <a14:foregroundMark x1="20960" y1="48247" x2="20960" y2="48247"/>
                        <a14:foregroundMark x1="22180" y1="50381" x2="19893" y2="45351"/>
                        <a14:foregroundMark x1="22027" y1="48552" x2="16387" y2="43598"/>
                        <a14:foregroundMark x1="14024" y1="55488" x2="7622" y2="41845"/>
                        <a14:foregroundMark x1="40854" y1="49314" x2="39101" y2="51601"/>
                        <a14:foregroundMark x1="43979" y1="48323" x2="47027" y2="48323"/>
                        <a14:foregroundMark x1="49390" y1="48704" x2="50534" y2="52591"/>
                        <a14:foregroundMark x1="48780" y1="53582" x2="48780" y2="53582"/>
                        <a14:foregroundMark x1="49162" y1="54345" x2="49009" y2="51601"/>
                        <a14:foregroundMark x1="58232" y1="50457" x2="60213" y2="54116"/>
                        <a14:foregroundMark x1="66159" y1="45808" x2="69893" y2="53201"/>
                        <a14:foregroundMark x1="67759" y1="54345" x2="67759" y2="54345"/>
                        <a14:foregroundMark x1="67149" y1="55107" x2="67149" y2="55107"/>
                        <a14:foregroundMark x1="69893" y1="55488" x2="69893" y2="55488"/>
                        <a14:foregroundMark x1="66006" y1="55335" x2="68293" y2="46189"/>
                        <a14:foregroundMark x1="74924" y1="49085" x2="81098" y2="54954"/>
                        <a14:foregroundMark x1="79345" y1="46418" x2="81631" y2="53201"/>
                        <a14:foregroundMark x1="76220" y1="46189" x2="76601" y2="54116"/>
                        <a14:foregroundMark x1="87424" y1="48933" x2="90930" y2="50457"/>
                        <a14:foregroundMark x1="88034" y1="35823" x2="88034" y2="35823"/>
                      </a14:backgroundRemoval>
                    </a14:imgEffect>
                  </a14:imgLayer>
                </a14:imgProps>
              </a:ext>
              <a:ext uri="{28A0092B-C50C-407E-A947-70E740481C1C}">
                <a14:useLocalDpi xmlns:a14="http://schemas.microsoft.com/office/drawing/2010/main" val="0"/>
              </a:ext>
            </a:extLst>
          </a:blip>
          <a:srcRect/>
          <a:stretch>
            <a:fillRect/>
          </a:stretch>
        </p:blipFill>
        <p:spPr bwMode="auto">
          <a:xfrm>
            <a:off x="5157082" y="2316167"/>
            <a:ext cx="894289" cy="894289"/>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30">
            <a:extLst>
              <a:ext uri="{FF2B5EF4-FFF2-40B4-BE49-F238E27FC236}">
                <a16:creationId xmlns:a16="http://schemas.microsoft.com/office/drawing/2014/main" id="{C78D2783-9FC9-AA58-2407-AE5D3243E2F5}"/>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foregroundMark x1="46750" y1="36500" x2="42000" y2="54500"/>
                      </a14:backgroundRemoval>
                    </a14:imgEffect>
                  </a14:imgLayer>
                </a14:imgProps>
              </a:ext>
              <a:ext uri="{28A0092B-C50C-407E-A947-70E740481C1C}">
                <a14:useLocalDpi xmlns:a14="http://schemas.microsoft.com/office/drawing/2010/main" val="0"/>
              </a:ext>
            </a:extLst>
          </a:blip>
          <a:srcRect/>
          <a:stretch>
            <a:fillRect/>
          </a:stretch>
        </p:blipFill>
        <p:spPr bwMode="auto">
          <a:xfrm>
            <a:off x="6173007" y="2224450"/>
            <a:ext cx="986555" cy="986555"/>
          </a:xfrm>
          <a:prstGeom prst="rect">
            <a:avLst/>
          </a:prstGeom>
          <a:noFill/>
          <a:extLst>
            <a:ext uri="{909E8E84-426E-40DD-AFC4-6F175D3DCCD1}">
              <a14:hiddenFill xmlns:a14="http://schemas.microsoft.com/office/drawing/2010/main">
                <a:solidFill>
                  <a:srgbClr val="FFFFFF"/>
                </a:solidFill>
              </a14:hiddenFill>
            </a:ext>
          </a:extLst>
        </p:spPr>
      </p:pic>
      <p:cxnSp>
        <p:nvCxnSpPr>
          <p:cNvPr id="45" name="Straight Connector 44">
            <a:extLst>
              <a:ext uri="{FF2B5EF4-FFF2-40B4-BE49-F238E27FC236}">
                <a16:creationId xmlns:a16="http://schemas.microsoft.com/office/drawing/2014/main" id="{1DEEF954-14B5-9EA5-B01F-D691FD975E67}"/>
              </a:ext>
            </a:extLst>
          </p:cNvPr>
          <p:cNvCxnSpPr/>
          <p:nvPr/>
        </p:nvCxnSpPr>
        <p:spPr>
          <a:xfrm>
            <a:off x="2318305" y="1856325"/>
            <a:ext cx="1667372"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46" name="Straight Connector 45">
            <a:extLst>
              <a:ext uri="{FF2B5EF4-FFF2-40B4-BE49-F238E27FC236}">
                <a16:creationId xmlns:a16="http://schemas.microsoft.com/office/drawing/2014/main" id="{73B69C57-31F9-4A96-7528-B9DC5D82320F}"/>
              </a:ext>
            </a:extLst>
          </p:cNvPr>
          <p:cNvCxnSpPr>
            <a:cxnSpLocks/>
          </p:cNvCxnSpPr>
          <p:nvPr/>
        </p:nvCxnSpPr>
        <p:spPr>
          <a:xfrm>
            <a:off x="4917576" y="1856325"/>
            <a:ext cx="2004180" cy="0"/>
          </a:xfrm>
          <a:prstGeom prst="line">
            <a:avLst/>
          </a:prstGeom>
          <a:ln w="12700"/>
        </p:spPr>
        <p:style>
          <a:lnRef idx="1">
            <a:schemeClr val="accent2"/>
          </a:lnRef>
          <a:fillRef idx="0">
            <a:schemeClr val="accent2"/>
          </a:fillRef>
          <a:effectRef idx="0">
            <a:schemeClr val="accent2"/>
          </a:effectRef>
          <a:fontRef idx="minor">
            <a:schemeClr val="tx1"/>
          </a:fontRef>
        </p:style>
      </p:cxnSp>
      <p:pic>
        <p:nvPicPr>
          <p:cNvPr id="4098" name="Picture 2">
            <a:extLst>
              <a:ext uri="{FF2B5EF4-FFF2-40B4-BE49-F238E27FC236}">
                <a16:creationId xmlns:a16="http://schemas.microsoft.com/office/drawing/2014/main" id="{184387F5-4781-03AF-8C56-F05C22CFFBC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05185" y="3195292"/>
            <a:ext cx="559962" cy="559962"/>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ThirdWeb">
            <a:extLst>
              <a:ext uri="{FF2B5EF4-FFF2-40B4-BE49-F238E27FC236}">
                <a16:creationId xmlns:a16="http://schemas.microsoft.com/office/drawing/2014/main" id="{999C2797-EAAE-C634-E33F-74E12548214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r="69281"/>
          <a:stretch/>
        </p:blipFill>
        <p:spPr bwMode="auto">
          <a:xfrm>
            <a:off x="5451725" y="3329179"/>
            <a:ext cx="559528" cy="2921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24986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C9733B-74E8-9EA5-5F00-1D2E7A93771E}"/>
            </a:ext>
          </a:extLst>
        </p:cNvPr>
        <p:cNvGrpSpPr/>
        <p:nvPr/>
      </p:nvGrpSpPr>
      <p:grpSpPr>
        <a:xfrm>
          <a:off x="0" y="0"/>
          <a:ext cx="0" cy="0"/>
          <a:chOff x="0" y="0"/>
          <a:chExt cx="0" cy="0"/>
        </a:xfrm>
      </p:grpSpPr>
      <p:pic>
        <p:nvPicPr>
          <p:cNvPr id="5" name="Picture Placeholder 4" descr="A reception desk in a building&#10;&#10;AI-generated content may be incorrect.">
            <a:extLst>
              <a:ext uri="{FF2B5EF4-FFF2-40B4-BE49-F238E27FC236}">
                <a16:creationId xmlns:a16="http://schemas.microsoft.com/office/drawing/2014/main" id="{02F87791-0C7F-8482-BAC5-0AFC93BC0429}"/>
              </a:ext>
            </a:extLst>
          </p:cNvPr>
          <p:cNvPicPr>
            <a:picLocks noGrp="1" noChangeAspect="1"/>
          </p:cNvPicPr>
          <p:nvPr>
            <p:ph type="pic" sz="quarter" idx="10"/>
          </p:nvPr>
        </p:nvPicPr>
        <p:blipFill>
          <a:blip r:embed="rId2"/>
          <a:srcRect t="7996" b="35754"/>
          <a:stretch/>
        </p:blipFill>
        <p:spPr>
          <a:xfrm>
            <a:off x="20" y="10"/>
            <a:ext cx="9143980" cy="6857990"/>
          </a:xfrm>
          <a:noFill/>
        </p:spPr>
      </p:pic>
      <p:sp>
        <p:nvSpPr>
          <p:cNvPr id="41" name="Text Placeholder 2">
            <a:extLst>
              <a:ext uri="{FF2B5EF4-FFF2-40B4-BE49-F238E27FC236}">
                <a16:creationId xmlns:a16="http://schemas.microsoft.com/office/drawing/2014/main" id="{A40C6383-DB7E-D724-5F28-C72A44091818}"/>
              </a:ext>
            </a:extLst>
          </p:cNvPr>
          <p:cNvSpPr>
            <a:spLocks noGrp="1"/>
          </p:cNvSpPr>
          <p:nvPr>
            <p:ph type="body" sz="quarter" idx="13"/>
          </p:nvPr>
        </p:nvSpPr>
        <p:spPr>
          <a:xfrm>
            <a:off x="0" y="5121275"/>
            <a:ext cx="9144000" cy="1736724"/>
          </a:xfrm>
        </p:spPr>
        <p:txBody>
          <a:bodyPr/>
          <a:lstStyle/>
          <a:p>
            <a:endParaRPr lang="en-US"/>
          </a:p>
        </p:txBody>
      </p:sp>
      <p:sp>
        <p:nvSpPr>
          <p:cNvPr id="4" name="Title 3">
            <a:extLst>
              <a:ext uri="{FF2B5EF4-FFF2-40B4-BE49-F238E27FC236}">
                <a16:creationId xmlns:a16="http://schemas.microsoft.com/office/drawing/2014/main" id="{5394FF33-2975-CDCA-CF25-681BF4B46758}"/>
              </a:ext>
            </a:extLst>
          </p:cNvPr>
          <p:cNvSpPr>
            <a:spLocks noGrp="1"/>
          </p:cNvSpPr>
          <p:nvPr>
            <p:ph type="ctrTitle"/>
          </p:nvPr>
        </p:nvSpPr>
        <p:spPr>
          <a:xfrm>
            <a:off x="250825" y="5339798"/>
            <a:ext cx="8642349" cy="810730"/>
          </a:xfrm>
        </p:spPr>
        <p:txBody>
          <a:bodyPr anchor="ctr">
            <a:normAutofit/>
          </a:bodyPr>
          <a:lstStyle/>
          <a:p>
            <a:pPr>
              <a:lnSpc>
                <a:spcPct val="90000"/>
              </a:lnSpc>
            </a:pPr>
            <a:r>
              <a:rPr lang="en-US" sz="5100"/>
              <a:t>M&amp;A Financing</a:t>
            </a:r>
          </a:p>
        </p:txBody>
      </p:sp>
      <p:sp>
        <p:nvSpPr>
          <p:cNvPr id="43" name="Subtitle 4">
            <a:extLst>
              <a:ext uri="{FF2B5EF4-FFF2-40B4-BE49-F238E27FC236}">
                <a16:creationId xmlns:a16="http://schemas.microsoft.com/office/drawing/2014/main" id="{8FCE67D7-3E25-81E1-0ABD-FDB263B7AB0C}"/>
              </a:ext>
            </a:extLst>
          </p:cNvPr>
          <p:cNvSpPr>
            <a:spLocks noGrp="1"/>
          </p:cNvSpPr>
          <p:nvPr>
            <p:ph type="subTitle" idx="1"/>
          </p:nvPr>
        </p:nvSpPr>
        <p:spPr>
          <a:xfrm>
            <a:off x="250827" y="6237292"/>
            <a:ext cx="8642348" cy="395287"/>
          </a:xfrm>
        </p:spPr>
        <p:txBody>
          <a:bodyPr/>
          <a:lstStyle/>
          <a:p>
            <a:endParaRPr lang="en-US"/>
          </a:p>
        </p:txBody>
      </p:sp>
      <p:sp>
        <p:nvSpPr>
          <p:cNvPr id="45" name="Content Placeholder 5">
            <a:extLst>
              <a:ext uri="{FF2B5EF4-FFF2-40B4-BE49-F238E27FC236}">
                <a16:creationId xmlns:a16="http://schemas.microsoft.com/office/drawing/2014/main" id="{0A12F75D-4228-B66D-F5A5-0022A798066D}"/>
              </a:ext>
            </a:extLst>
          </p:cNvPr>
          <p:cNvSpPr>
            <a:spLocks noGrp="1"/>
          </p:cNvSpPr>
          <p:nvPr>
            <p:ph sz="quarter" idx="12"/>
          </p:nvPr>
        </p:nvSpPr>
        <p:spPr>
          <a:xfrm>
            <a:off x="395399" y="6165850"/>
            <a:ext cx="1614097" cy="71438"/>
          </a:xfrm>
        </p:spPr>
        <p:txBody>
          <a:bodyPr/>
          <a:lstStyle/>
          <a:p>
            <a:endParaRPr lang="en-US"/>
          </a:p>
        </p:txBody>
      </p:sp>
    </p:spTree>
    <p:extLst>
      <p:ext uri="{BB962C8B-B14F-4D97-AF65-F5344CB8AC3E}">
        <p14:creationId xmlns:p14="http://schemas.microsoft.com/office/powerpoint/2010/main" val="25354330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9A3E195-69FC-F9AE-CDCD-0AB7B7A13290}"/>
              </a:ext>
            </a:extLst>
          </p:cNvPr>
          <p:cNvSpPr/>
          <p:nvPr/>
        </p:nvSpPr>
        <p:spPr>
          <a:xfrm>
            <a:off x="0" y="1069495"/>
            <a:ext cx="9144000" cy="1850715"/>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 name="Text Placeholder 1">
            <a:extLst>
              <a:ext uri="{FF2B5EF4-FFF2-40B4-BE49-F238E27FC236}">
                <a16:creationId xmlns:a16="http://schemas.microsoft.com/office/drawing/2014/main" id="{C419F548-3B72-045A-075D-14DE0C372F39}"/>
              </a:ext>
            </a:extLst>
          </p:cNvPr>
          <p:cNvSpPr>
            <a:spLocks noGrp="1"/>
          </p:cNvSpPr>
          <p:nvPr>
            <p:ph type="body" sz="quarter" idx="21"/>
          </p:nvPr>
        </p:nvSpPr>
        <p:spPr/>
        <p:txBody>
          <a:bodyPr/>
          <a:lstStyle/>
          <a:p>
            <a:r>
              <a:rPr lang="en-CA"/>
              <a:t>TFS Investment Group – President</a:t>
            </a:r>
          </a:p>
        </p:txBody>
      </p:sp>
      <p:sp>
        <p:nvSpPr>
          <p:cNvPr id="4" name="Title 3">
            <a:extLst>
              <a:ext uri="{FF2B5EF4-FFF2-40B4-BE49-F238E27FC236}">
                <a16:creationId xmlns:a16="http://schemas.microsoft.com/office/drawing/2014/main" id="{A4BC5B77-C0CD-1A16-F05F-23850F46E927}"/>
              </a:ext>
            </a:extLst>
          </p:cNvPr>
          <p:cNvSpPr>
            <a:spLocks noGrp="1"/>
          </p:cNvSpPr>
          <p:nvPr>
            <p:ph type="title"/>
          </p:nvPr>
        </p:nvSpPr>
        <p:spPr/>
        <p:txBody>
          <a:bodyPr/>
          <a:lstStyle/>
          <a:p>
            <a:r>
              <a:rPr lang="en-CA"/>
              <a:t>Contributors</a:t>
            </a:r>
          </a:p>
        </p:txBody>
      </p:sp>
      <p:sp>
        <p:nvSpPr>
          <p:cNvPr id="6" name="Rectangle 5">
            <a:extLst>
              <a:ext uri="{FF2B5EF4-FFF2-40B4-BE49-F238E27FC236}">
                <a16:creationId xmlns:a16="http://schemas.microsoft.com/office/drawing/2014/main" id="{5E06860B-9857-6E2A-0EDF-116927C09F32}"/>
              </a:ext>
            </a:extLst>
          </p:cNvPr>
          <p:cNvSpPr/>
          <p:nvPr/>
        </p:nvSpPr>
        <p:spPr>
          <a:xfrm>
            <a:off x="154245" y="2620014"/>
            <a:ext cx="1696241" cy="203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900" b="1">
                <a:solidFill>
                  <a:schemeClr val="tx2"/>
                </a:solidFill>
              </a:rPr>
              <a:t>Joey Zahr </a:t>
            </a:r>
          </a:p>
          <a:p>
            <a:pPr algn="ctr"/>
            <a:r>
              <a:rPr lang="en-CA" sz="900" b="1">
                <a:solidFill>
                  <a:schemeClr val="tx2"/>
                </a:solidFill>
              </a:rPr>
              <a:t>President</a:t>
            </a:r>
          </a:p>
        </p:txBody>
      </p:sp>
      <p:sp>
        <p:nvSpPr>
          <p:cNvPr id="7" name="Rectangle 6">
            <a:extLst>
              <a:ext uri="{FF2B5EF4-FFF2-40B4-BE49-F238E27FC236}">
                <a16:creationId xmlns:a16="http://schemas.microsoft.com/office/drawing/2014/main" id="{4E1146ED-61C1-AB9C-EABB-00FFB0353CFA}"/>
              </a:ext>
            </a:extLst>
          </p:cNvPr>
          <p:cNvSpPr/>
          <p:nvPr/>
        </p:nvSpPr>
        <p:spPr>
          <a:xfrm>
            <a:off x="1972106" y="1185956"/>
            <a:ext cx="3216136" cy="2018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a:t>Experience</a:t>
            </a:r>
          </a:p>
        </p:txBody>
      </p:sp>
      <p:sp>
        <p:nvSpPr>
          <p:cNvPr id="8" name="Rectangle 7">
            <a:extLst>
              <a:ext uri="{FF2B5EF4-FFF2-40B4-BE49-F238E27FC236}">
                <a16:creationId xmlns:a16="http://schemas.microsoft.com/office/drawing/2014/main" id="{24A69260-365A-3CFF-8012-F04485BE3E11}"/>
              </a:ext>
            </a:extLst>
          </p:cNvPr>
          <p:cNvSpPr/>
          <p:nvPr/>
        </p:nvSpPr>
        <p:spPr>
          <a:xfrm>
            <a:off x="5481934" y="1185956"/>
            <a:ext cx="3216136" cy="2018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a:t>Achievements</a:t>
            </a:r>
          </a:p>
        </p:txBody>
      </p:sp>
      <p:sp>
        <p:nvSpPr>
          <p:cNvPr id="9" name="Rectangle 8">
            <a:extLst>
              <a:ext uri="{FF2B5EF4-FFF2-40B4-BE49-F238E27FC236}">
                <a16:creationId xmlns:a16="http://schemas.microsoft.com/office/drawing/2014/main" id="{F542ECCE-A83B-AAB2-AC65-87E030490D1B}"/>
              </a:ext>
            </a:extLst>
          </p:cNvPr>
          <p:cNvSpPr/>
          <p:nvPr/>
        </p:nvSpPr>
        <p:spPr>
          <a:xfrm>
            <a:off x="1972106" y="1448964"/>
            <a:ext cx="3216136"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46" indent="-171446">
              <a:buClr>
                <a:schemeClr val="accent1"/>
              </a:buClr>
              <a:buFont typeface="Wingdings" pitchFamily="2" charset="2"/>
              <a:buChar char="§"/>
            </a:pPr>
            <a:r>
              <a:rPr lang="en-CA" sz="900" b="1">
                <a:solidFill>
                  <a:srgbClr val="102C23"/>
                </a:solidFill>
              </a:rPr>
              <a:t>University of Ottawa</a:t>
            </a:r>
            <a:r>
              <a:rPr lang="en-CA" sz="900">
                <a:solidFill>
                  <a:srgbClr val="102C23"/>
                </a:solidFill>
              </a:rPr>
              <a:t>: Undergrad | Finance 2025</a:t>
            </a:r>
          </a:p>
          <a:p>
            <a:pPr marL="171446" indent="-171446">
              <a:buClr>
                <a:schemeClr val="accent1"/>
              </a:buClr>
              <a:buFont typeface="Wingdings" pitchFamily="2" charset="2"/>
              <a:buChar char="§"/>
            </a:pPr>
            <a:r>
              <a:rPr lang="en-CA" sz="900" b="1">
                <a:solidFill>
                  <a:srgbClr val="102C23"/>
                </a:solidFill>
              </a:rPr>
              <a:t>Soctiabank GBM: </a:t>
            </a:r>
            <a:r>
              <a:rPr lang="en-CA" sz="900">
                <a:solidFill>
                  <a:srgbClr val="102C23"/>
                </a:solidFill>
              </a:rPr>
              <a:t>Equity Research Associate Intern</a:t>
            </a:r>
            <a:endParaRPr lang="en-CA" sz="900" b="1">
              <a:solidFill>
                <a:srgbClr val="102C23"/>
              </a:solidFill>
            </a:endParaRPr>
          </a:p>
          <a:p>
            <a:pPr marL="171446" indent="-171446">
              <a:buClr>
                <a:schemeClr val="accent1"/>
              </a:buClr>
              <a:buFont typeface="Wingdings" pitchFamily="2" charset="2"/>
              <a:buChar char="§"/>
            </a:pPr>
            <a:r>
              <a:rPr lang="en-CA" sz="900" b="1">
                <a:solidFill>
                  <a:srgbClr val="102C23"/>
                </a:solidFill>
              </a:rPr>
              <a:t>BMO Private Wealth: </a:t>
            </a:r>
            <a:r>
              <a:rPr lang="en-CA" sz="900">
                <a:solidFill>
                  <a:srgbClr val="102C23"/>
                </a:solidFill>
              </a:rPr>
              <a:t>Analyst</a:t>
            </a:r>
          </a:p>
          <a:p>
            <a:pPr marL="171446" indent="-171446">
              <a:buClr>
                <a:schemeClr val="accent1"/>
              </a:buClr>
              <a:buFont typeface="Wingdings" pitchFamily="2" charset="2"/>
              <a:buChar char="§"/>
            </a:pPr>
            <a:r>
              <a:rPr lang="en-CA" sz="900" b="1">
                <a:solidFill>
                  <a:srgbClr val="102C23"/>
                </a:solidFill>
              </a:rPr>
              <a:t>Gold Label Marketing: </a:t>
            </a:r>
            <a:r>
              <a:rPr lang="en-CA" sz="900">
                <a:solidFill>
                  <a:srgbClr val="102C23"/>
                </a:solidFill>
              </a:rPr>
              <a:t>Founder</a:t>
            </a:r>
          </a:p>
        </p:txBody>
      </p:sp>
      <p:sp>
        <p:nvSpPr>
          <p:cNvPr id="10" name="Rectangle 9">
            <a:extLst>
              <a:ext uri="{FF2B5EF4-FFF2-40B4-BE49-F238E27FC236}">
                <a16:creationId xmlns:a16="http://schemas.microsoft.com/office/drawing/2014/main" id="{4EAE832B-7247-C0F5-CF47-46688B1042EB}"/>
              </a:ext>
            </a:extLst>
          </p:cNvPr>
          <p:cNvSpPr/>
          <p:nvPr/>
        </p:nvSpPr>
        <p:spPr>
          <a:xfrm>
            <a:off x="5481934" y="1450874"/>
            <a:ext cx="3150734"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46" indent="-171446">
              <a:buClr>
                <a:schemeClr val="accent1"/>
              </a:buClr>
              <a:buFont typeface="Wingdings" pitchFamily="2" charset="2"/>
              <a:buChar char="§"/>
            </a:pPr>
            <a:r>
              <a:rPr lang="en-CA" sz="900">
                <a:solidFill>
                  <a:srgbClr val="102C23"/>
                </a:solidFill>
              </a:rPr>
              <a:t>TFSIG President</a:t>
            </a:r>
          </a:p>
          <a:p>
            <a:pPr marL="171446" indent="-171446">
              <a:buClr>
                <a:schemeClr val="accent1"/>
              </a:buClr>
              <a:buFont typeface="Wingdings" pitchFamily="2" charset="2"/>
              <a:buChar char="§"/>
            </a:pPr>
            <a:r>
              <a:rPr lang="en-CA" sz="900">
                <a:solidFill>
                  <a:srgbClr val="102C23"/>
                </a:solidFill>
              </a:rPr>
              <a:t>CIBC Stock Pitch Case Competition (2</a:t>
            </a:r>
            <a:r>
              <a:rPr lang="en-CA" sz="900" baseline="30000">
                <a:solidFill>
                  <a:srgbClr val="102C23"/>
                </a:solidFill>
              </a:rPr>
              <a:t>nd</a:t>
            </a:r>
            <a:r>
              <a:rPr lang="en-CA" sz="900">
                <a:solidFill>
                  <a:srgbClr val="102C23"/>
                </a:solidFill>
              </a:rPr>
              <a:t> place)</a:t>
            </a:r>
          </a:p>
          <a:p>
            <a:pPr marL="171446" indent="-171446">
              <a:buClr>
                <a:schemeClr val="accent1"/>
              </a:buClr>
              <a:buFont typeface="Wingdings" pitchFamily="2" charset="2"/>
              <a:buChar char="§"/>
            </a:pPr>
            <a:r>
              <a:rPr lang="en-CA" sz="900">
                <a:solidFill>
                  <a:srgbClr val="102C23"/>
                </a:solidFill>
              </a:rPr>
              <a:t>Omnium Financier Corporate Finance (5</a:t>
            </a:r>
            <a:r>
              <a:rPr lang="en-CA" sz="900" baseline="30000">
                <a:solidFill>
                  <a:srgbClr val="102C23"/>
                </a:solidFill>
              </a:rPr>
              <a:t>th</a:t>
            </a:r>
            <a:r>
              <a:rPr lang="en-CA" sz="900">
                <a:solidFill>
                  <a:srgbClr val="102C23"/>
                </a:solidFill>
              </a:rPr>
              <a:t> place)</a:t>
            </a:r>
          </a:p>
          <a:p>
            <a:pPr marL="171446" indent="-171446">
              <a:buClr>
                <a:schemeClr val="accent1"/>
              </a:buClr>
              <a:buFont typeface="Wingdings" pitchFamily="2" charset="2"/>
              <a:buChar char="§"/>
            </a:pPr>
            <a:r>
              <a:rPr lang="en-CA" sz="900">
                <a:solidFill>
                  <a:schemeClr val="tx1"/>
                </a:solidFill>
              </a:rPr>
              <a:t>McGill Int’l Portfolio Challenge</a:t>
            </a:r>
            <a:endParaRPr lang="en-CA" sz="900">
              <a:solidFill>
                <a:srgbClr val="102C23"/>
              </a:solidFill>
            </a:endParaRPr>
          </a:p>
        </p:txBody>
      </p:sp>
      <p:pic>
        <p:nvPicPr>
          <p:cNvPr id="12" name="Picture 11">
            <a:extLst>
              <a:ext uri="{FF2B5EF4-FFF2-40B4-BE49-F238E27FC236}">
                <a16:creationId xmlns:a16="http://schemas.microsoft.com/office/drawing/2014/main" id="{0AD480C2-D3C0-7237-651C-49E05721BE00}"/>
              </a:ext>
            </a:extLst>
          </p:cNvPr>
          <p:cNvPicPr>
            <a:picLocks noChangeAspect="1"/>
          </p:cNvPicPr>
          <p:nvPr/>
        </p:nvPicPr>
        <p:blipFill rotWithShape="1">
          <a:blip r:embed="rId2">
            <a:extLst>
              <a:ext uri="{28A0092B-C50C-407E-A947-70E740481C1C}">
                <a14:useLocalDpi xmlns:a14="http://schemas.microsoft.com/office/drawing/2010/main" val="0"/>
              </a:ext>
            </a:extLst>
          </a:blip>
          <a:srcRect l="19211" t="15151" r="14417" b="33867"/>
          <a:stretch/>
        </p:blipFill>
        <p:spPr>
          <a:xfrm>
            <a:off x="326319" y="1154450"/>
            <a:ext cx="1352095" cy="1352095"/>
          </a:xfrm>
          <a:prstGeom prst="flowChartConnector">
            <a:avLst/>
          </a:prstGeom>
        </p:spPr>
      </p:pic>
      <p:pic>
        <p:nvPicPr>
          <p:cNvPr id="1026" name="Picture 2" descr="TFS Investment Group">
            <a:extLst>
              <a:ext uri="{FF2B5EF4-FFF2-40B4-BE49-F238E27FC236}">
                <a16:creationId xmlns:a16="http://schemas.microsoft.com/office/drawing/2014/main" id="{2A9B9FE7-E5E5-1401-0520-0AD10F95A7D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935" r="69779"/>
          <a:stretch/>
        </p:blipFill>
        <p:spPr bwMode="auto">
          <a:xfrm>
            <a:off x="2971934" y="3499878"/>
            <a:ext cx="1386654" cy="200032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0CD95456-9592-7419-D4C5-AB1666A648AE}"/>
              </a:ext>
            </a:extLst>
          </p:cNvPr>
          <p:cNvSpPr txBox="1"/>
          <p:nvPr/>
        </p:nvSpPr>
        <p:spPr>
          <a:xfrm>
            <a:off x="4358588" y="3715212"/>
            <a:ext cx="2754840" cy="1569660"/>
          </a:xfrm>
          <a:prstGeom prst="rect">
            <a:avLst/>
          </a:prstGeom>
          <a:noFill/>
        </p:spPr>
        <p:txBody>
          <a:bodyPr wrap="square" lIns="91440" tIns="45720" rIns="91440" bIns="45720" rtlCol="0" anchor="t">
            <a:spAutoFit/>
          </a:bodyPr>
          <a:lstStyle/>
          <a:p>
            <a:r>
              <a:rPr lang="en-CA" sz="3200" b="1" u="sng">
                <a:solidFill>
                  <a:srgbClr val="0C3459"/>
                </a:solidFill>
                <a:hlinkClick r:id="rId4">
                  <a:extLst>
                    <a:ext uri="{A12FA001-AC4F-418D-AE19-62706E023703}">
                      <ahyp:hlinkClr xmlns:ahyp="http://schemas.microsoft.com/office/drawing/2018/hyperlinkcolor" val="tx"/>
                    </a:ext>
                  </a:extLst>
                </a:hlinkClick>
              </a:rPr>
              <a:t>TFS</a:t>
            </a:r>
            <a:endParaRPr lang="en-CA" sz="3200" b="1" u="sng">
              <a:solidFill>
                <a:srgbClr val="0C3459"/>
              </a:solidFill>
              <a:cs typeface="Arial"/>
            </a:endParaRPr>
          </a:p>
          <a:p>
            <a:r>
              <a:rPr lang="en-CA" sz="3200" b="1" u="sng">
                <a:solidFill>
                  <a:srgbClr val="0C3459"/>
                </a:solidFill>
                <a:hlinkClick r:id="rId4">
                  <a:extLst>
                    <a:ext uri="{A12FA001-AC4F-418D-AE19-62706E023703}">
                      <ahyp:hlinkClr xmlns:ahyp="http://schemas.microsoft.com/office/drawing/2018/hyperlinkcolor" val="tx"/>
                    </a:ext>
                  </a:extLst>
                </a:hlinkClick>
              </a:rPr>
              <a:t>Investment </a:t>
            </a:r>
            <a:endParaRPr lang="en-CA" sz="3200" b="1" u="sng">
              <a:solidFill>
                <a:srgbClr val="0C3459"/>
              </a:solidFill>
              <a:cs typeface="Arial"/>
            </a:endParaRPr>
          </a:p>
          <a:p>
            <a:r>
              <a:rPr lang="en-CA" sz="3200" b="1" u="sng">
                <a:solidFill>
                  <a:srgbClr val="0C3459"/>
                </a:solidFill>
                <a:hlinkClick r:id="rId4">
                  <a:extLst>
                    <a:ext uri="{A12FA001-AC4F-418D-AE19-62706E023703}">
                      <ahyp:hlinkClr xmlns:ahyp="http://schemas.microsoft.com/office/drawing/2018/hyperlinkcolor" val="tx"/>
                    </a:ext>
                  </a:extLst>
                </a:hlinkClick>
              </a:rPr>
              <a:t>Group</a:t>
            </a:r>
            <a:endParaRPr lang="en-CA" sz="3200" b="1" u="sng">
              <a:solidFill>
                <a:srgbClr val="0C3459"/>
              </a:solidFill>
            </a:endParaRPr>
          </a:p>
        </p:txBody>
      </p:sp>
    </p:spTree>
    <p:extLst>
      <p:ext uri="{BB962C8B-B14F-4D97-AF65-F5344CB8AC3E}">
        <p14:creationId xmlns:p14="http://schemas.microsoft.com/office/powerpoint/2010/main" val="80786969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F4EF2798-F97B-9EAB-AA9F-D8565357DB10}"/>
              </a:ext>
            </a:extLst>
          </p:cNvPr>
          <p:cNvSpPr/>
          <p:nvPr/>
        </p:nvSpPr>
        <p:spPr>
          <a:xfrm>
            <a:off x="6620244" y="2274822"/>
            <a:ext cx="2286197"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18" name="Rectangle 17">
            <a:extLst>
              <a:ext uri="{FF2B5EF4-FFF2-40B4-BE49-F238E27FC236}">
                <a16:creationId xmlns:a16="http://schemas.microsoft.com/office/drawing/2014/main" id="{35B1D297-DAFC-0FE4-8208-E7BCA0B37A8B}"/>
              </a:ext>
            </a:extLst>
          </p:cNvPr>
          <p:cNvSpPr/>
          <p:nvPr/>
        </p:nvSpPr>
        <p:spPr>
          <a:xfrm>
            <a:off x="3611793" y="2255574"/>
            <a:ext cx="2286197" cy="1143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17" name="Rectangle 16">
            <a:extLst>
              <a:ext uri="{FF2B5EF4-FFF2-40B4-BE49-F238E27FC236}">
                <a16:creationId xmlns:a16="http://schemas.microsoft.com/office/drawing/2014/main" id="{240AA0E8-0131-9E31-37F4-A24CC3A6C3A1}"/>
              </a:ext>
            </a:extLst>
          </p:cNvPr>
          <p:cNvSpPr/>
          <p:nvPr/>
        </p:nvSpPr>
        <p:spPr>
          <a:xfrm>
            <a:off x="273884" y="2255574"/>
            <a:ext cx="2286197" cy="1143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16" name="Rectangle 15">
            <a:extLst>
              <a:ext uri="{FF2B5EF4-FFF2-40B4-BE49-F238E27FC236}">
                <a16:creationId xmlns:a16="http://schemas.microsoft.com/office/drawing/2014/main" id="{D6C21FCD-939C-BB97-FECE-F27ED2D6A332}"/>
              </a:ext>
            </a:extLst>
          </p:cNvPr>
          <p:cNvSpPr/>
          <p:nvPr/>
        </p:nvSpPr>
        <p:spPr>
          <a:xfrm>
            <a:off x="6620244" y="899939"/>
            <a:ext cx="2286197" cy="1143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9" name="Rectangle 8">
            <a:extLst>
              <a:ext uri="{FF2B5EF4-FFF2-40B4-BE49-F238E27FC236}">
                <a16:creationId xmlns:a16="http://schemas.microsoft.com/office/drawing/2014/main" id="{1D5BD2AC-374C-52C0-A5D2-F3E1082C3727}"/>
              </a:ext>
            </a:extLst>
          </p:cNvPr>
          <p:cNvSpPr/>
          <p:nvPr/>
        </p:nvSpPr>
        <p:spPr>
          <a:xfrm>
            <a:off x="3611794" y="916300"/>
            <a:ext cx="2286197" cy="1143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6" name="Rectangle 5">
            <a:extLst>
              <a:ext uri="{FF2B5EF4-FFF2-40B4-BE49-F238E27FC236}">
                <a16:creationId xmlns:a16="http://schemas.microsoft.com/office/drawing/2014/main" id="{962F631C-8C5B-11E1-1DAA-A5425DE322CE}"/>
              </a:ext>
            </a:extLst>
          </p:cNvPr>
          <p:cNvSpPr/>
          <p:nvPr/>
        </p:nvSpPr>
        <p:spPr>
          <a:xfrm>
            <a:off x="250825" y="916300"/>
            <a:ext cx="2286197" cy="1143000"/>
          </a:xfrm>
          <a:prstGeom prst="rect">
            <a:avLst/>
          </a:prstGeom>
          <a:solidFill>
            <a:srgbClr val="FD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0" name="Text Placeholder 19">
            <a:extLst>
              <a:ext uri="{FF2B5EF4-FFF2-40B4-BE49-F238E27FC236}">
                <a16:creationId xmlns:a16="http://schemas.microsoft.com/office/drawing/2014/main" id="{121F992F-943B-B3C4-EB42-4851FD4AF2A0}"/>
              </a:ext>
            </a:extLst>
          </p:cNvPr>
          <p:cNvSpPr>
            <a:spLocks noGrp="1"/>
          </p:cNvSpPr>
          <p:nvPr>
            <p:ph type="body" sz="quarter" idx="13"/>
          </p:nvPr>
        </p:nvSpPr>
        <p:spPr/>
        <p:txBody>
          <a:bodyPr/>
          <a:lstStyle/>
          <a:p>
            <a:endParaRPr lang="en-US"/>
          </a:p>
        </p:txBody>
      </p:sp>
      <p:sp>
        <p:nvSpPr>
          <p:cNvPr id="10" name="Text Placeholder 9">
            <a:extLst>
              <a:ext uri="{FF2B5EF4-FFF2-40B4-BE49-F238E27FC236}">
                <a16:creationId xmlns:a16="http://schemas.microsoft.com/office/drawing/2014/main" id="{6E02BA5E-C8A0-29EE-4DD6-BB44BE9CB46D}"/>
              </a:ext>
            </a:extLst>
          </p:cNvPr>
          <p:cNvSpPr>
            <a:spLocks noGrp="1"/>
          </p:cNvSpPr>
          <p:nvPr>
            <p:ph type="body" sz="quarter" idx="21"/>
          </p:nvPr>
        </p:nvSpPr>
        <p:spPr/>
        <p:txBody>
          <a:bodyPr/>
          <a:lstStyle/>
          <a:p>
            <a:r>
              <a:rPr lang="en-US"/>
              <a:t>If SHOP Were to Pursue the Deal </a:t>
            </a:r>
            <a:r>
              <a:rPr lang="en-US" b="0"/>
              <a:t>(</a:t>
            </a:r>
            <a:r>
              <a:rPr lang="en-US" b="0" i="1"/>
              <a:t>in USD mm</a:t>
            </a:r>
            <a:r>
              <a:rPr lang="en-US" b="0"/>
              <a:t>)</a:t>
            </a:r>
            <a:endParaRPr lang="en-US"/>
          </a:p>
        </p:txBody>
      </p:sp>
      <p:sp>
        <p:nvSpPr>
          <p:cNvPr id="7" name="Title 6">
            <a:extLst>
              <a:ext uri="{FF2B5EF4-FFF2-40B4-BE49-F238E27FC236}">
                <a16:creationId xmlns:a16="http://schemas.microsoft.com/office/drawing/2014/main" id="{73E2AEFC-2F2B-3D42-17FD-57EB25436BA9}"/>
              </a:ext>
            </a:extLst>
          </p:cNvPr>
          <p:cNvSpPr>
            <a:spLocks noGrp="1"/>
          </p:cNvSpPr>
          <p:nvPr>
            <p:ph type="title"/>
          </p:nvPr>
        </p:nvSpPr>
        <p:spPr/>
        <p:txBody>
          <a:bodyPr/>
          <a:lstStyle/>
          <a:p>
            <a:r>
              <a:rPr lang="en-US"/>
              <a:t>Purchasing Scenario</a:t>
            </a:r>
          </a:p>
        </p:txBody>
      </p:sp>
      <p:sp>
        <p:nvSpPr>
          <p:cNvPr id="21" name="Text Placeholder 20">
            <a:extLst>
              <a:ext uri="{FF2B5EF4-FFF2-40B4-BE49-F238E27FC236}">
                <a16:creationId xmlns:a16="http://schemas.microsoft.com/office/drawing/2014/main" id="{93233C1B-22F4-1B04-FCA5-951B52D16546}"/>
              </a:ext>
            </a:extLst>
          </p:cNvPr>
          <p:cNvSpPr>
            <a:spLocks noGrp="1"/>
          </p:cNvSpPr>
          <p:nvPr>
            <p:ph type="body" idx="27"/>
          </p:nvPr>
        </p:nvSpPr>
        <p:spPr/>
        <p:txBody>
          <a:bodyPr/>
          <a:lstStyle/>
          <a:p>
            <a:r>
              <a:rPr lang="en-US"/>
              <a:t>Sensitivity Analysis – Purchase Price (Control Premium/Implied Share Price)</a:t>
            </a:r>
          </a:p>
        </p:txBody>
      </p:sp>
      <p:sp>
        <p:nvSpPr>
          <p:cNvPr id="24" name="TextBox 23">
            <a:extLst>
              <a:ext uri="{FF2B5EF4-FFF2-40B4-BE49-F238E27FC236}">
                <a16:creationId xmlns:a16="http://schemas.microsoft.com/office/drawing/2014/main" id="{5A36CB5F-44F5-6C73-31E7-70DA811FA564}"/>
              </a:ext>
            </a:extLst>
          </p:cNvPr>
          <p:cNvSpPr txBox="1"/>
          <p:nvPr/>
        </p:nvSpPr>
        <p:spPr>
          <a:xfrm>
            <a:off x="4372360" y="1137496"/>
            <a:ext cx="1103037" cy="584775"/>
          </a:xfrm>
          <a:prstGeom prst="rect">
            <a:avLst/>
          </a:prstGeom>
          <a:noFill/>
        </p:spPr>
        <p:txBody>
          <a:bodyPr wrap="square" rtlCol="0">
            <a:spAutoFit/>
          </a:bodyPr>
          <a:lstStyle/>
          <a:p>
            <a:r>
              <a:rPr lang="en-US" sz="3200" b="1"/>
              <a:t>51%</a:t>
            </a:r>
          </a:p>
        </p:txBody>
      </p:sp>
      <p:sp>
        <p:nvSpPr>
          <p:cNvPr id="25" name="TextBox 24">
            <a:extLst>
              <a:ext uri="{FF2B5EF4-FFF2-40B4-BE49-F238E27FC236}">
                <a16:creationId xmlns:a16="http://schemas.microsoft.com/office/drawing/2014/main" id="{8E5C8B46-49BD-148D-AB9B-5CCFB5AF3738}"/>
              </a:ext>
            </a:extLst>
          </p:cNvPr>
          <p:cNvSpPr txBox="1"/>
          <p:nvPr/>
        </p:nvSpPr>
        <p:spPr>
          <a:xfrm>
            <a:off x="4085551" y="1698499"/>
            <a:ext cx="1347980" cy="276999"/>
          </a:xfrm>
          <a:prstGeom prst="rect">
            <a:avLst/>
          </a:prstGeom>
          <a:noFill/>
        </p:spPr>
        <p:txBody>
          <a:bodyPr wrap="square" rtlCol="0">
            <a:spAutoFit/>
          </a:bodyPr>
          <a:lstStyle/>
          <a:p>
            <a:r>
              <a:rPr lang="en-US" sz="1200" i="1">
                <a:solidFill>
                  <a:srgbClr val="008864"/>
                </a:solidFill>
              </a:rPr>
              <a:t>Controlling Stake</a:t>
            </a:r>
          </a:p>
        </p:txBody>
      </p:sp>
      <p:sp>
        <p:nvSpPr>
          <p:cNvPr id="29" name="TextBox 28">
            <a:extLst>
              <a:ext uri="{FF2B5EF4-FFF2-40B4-BE49-F238E27FC236}">
                <a16:creationId xmlns:a16="http://schemas.microsoft.com/office/drawing/2014/main" id="{489B9A6A-B81C-ED5D-A364-ACBCFC4827DE}"/>
              </a:ext>
            </a:extLst>
          </p:cNvPr>
          <p:cNvSpPr txBox="1"/>
          <p:nvPr/>
        </p:nvSpPr>
        <p:spPr>
          <a:xfrm>
            <a:off x="361237" y="1134717"/>
            <a:ext cx="2286197" cy="584775"/>
          </a:xfrm>
          <a:prstGeom prst="rect">
            <a:avLst/>
          </a:prstGeom>
          <a:noFill/>
        </p:spPr>
        <p:txBody>
          <a:bodyPr wrap="square" rtlCol="0">
            <a:spAutoFit/>
          </a:bodyPr>
          <a:lstStyle/>
          <a:p>
            <a:r>
              <a:rPr lang="en-US" sz="3200" b="1"/>
              <a:t>106,495.3</a:t>
            </a:r>
          </a:p>
        </p:txBody>
      </p:sp>
      <p:sp>
        <p:nvSpPr>
          <p:cNvPr id="30" name="TextBox 29">
            <a:extLst>
              <a:ext uri="{FF2B5EF4-FFF2-40B4-BE49-F238E27FC236}">
                <a16:creationId xmlns:a16="http://schemas.microsoft.com/office/drawing/2014/main" id="{F932B129-1F49-7411-1DF3-9C1DF36A3033}"/>
              </a:ext>
            </a:extLst>
          </p:cNvPr>
          <p:cNvSpPr txBox="1"/>
          <p:nvPr/>
        </p:nvSpPr>
        <p:spPr>
          <a:xfrm>
            <a:off x="677222" y="1658316"/>
            <a:ext cx="1289164" cy="276999"/>
          </a:xfrm>
          <a:prstGeom prst="rect">
            <a:avLst/>
          </a:prstGeom>
          <a:noFill/>
        </p:spPr>
        <p:txBody>
          <a:bodyPr wrap="square" rtlCol="0">
            <a:spAutoFit/>
          </a:bodyPr>
          <a:lstStyle/>
          <a:p>
            <a:r>
              <a:rPr lang="en-US" sz="1200" i="1">
                <a:solidFill>
                  <a:srgbClr val="008864"/>
                </a:solidFill>
              </a:rPr>
              <a:t>APP EV @ DCF</a:t>
            </a:r>
          </a:p>
        </p:txBody>
      </p:sp>
      <p:sp>
        <p:nvSpPr>
          <p:cNvPr id="31" name="TextBox 30">
            <a:extLst>
              <a:ext uri="{FF2B5EF4-FFF2-40B4-BE49-F238E27FC236}">
                <a16:creationId xmlns:a16="http://schemas.microsoft.com/office/drawing/2014/main" id="{3C6D2BA2-F1A7-0B0B-0ADC-3C0281CA053A}"/>
              </a:ext>
            </a:extLst>
          </p:cNvPr>
          <p:cNvSpPr txBox="1"/>
          <p:nvPr/>
        </p:nvSpPr>
        <p:spPr>
          <a:xfrm>
            <a:off x="6969017" y="1142899"/>
            <a:ext cx="2286197" cy="584775"/>
          </a:xfrm>
          <a:prstGeom prst="rect">
            <a:avLst/>
          </a:prstGeom>
          <a:noFill/>
        </p:spPr>
        <p:txBody>
          <a:bodyPr wrap="square" rtlCol="0">
            <a:spAutoFit/>
          </a:bodyPr>
          <a:lstStyle/>
          <a:p>
            <a:r>
              <a:rPr lang="en-US" sz="3200" b="1"/>
              <a:t>54,312.6</a:t>
            </a:r>
          </a:p>
        </p:txBody>
      </p:sp>
      <p:sp>
        <p:nvSpPr>
          <p:cNvPr id="33" name="TextBox 32">
            <a:extLst>
              <a:ext uri="{FF2B5EF4-FFF2-40B4-BE49-F238E27FC236}">
                <a16:creationId xmlns:a16="http://schemas.microsoft.com/office/drawing/2014/main" id="{2DD83C68-B26E-458E-F768-05E6E31F2BD0}"/>
              </a:ext>
            </a:extLst>
          </p:cNvPr>
          <p:cNvSpPr txBox="1"/>
          <p:nvPr/>
        </p:nvSpPr>
        <p:spPr>
          <a:xfrm>
            <a:off x="560490" y="2527968"/>
            <a:ext cx="1900180" cy="584775"/>
          </a:xfrm>
          <a:prstGeom prst="rect">
            <a:avLst/>
          </a:prstGeom>
          <a:noFill/>
        </p:spPr>
        <p:txBody>
          <a:bodyPr wrap="square" rtlCol="0">
            <a:spAutoFit/>
          </a:bodyPr>
          <a:lstStyle/>
          <a:p>
            <a:r>
              <a:rPr lang="en-US" sz="3200" b="1"/>
              <a:t>54,312.6</a:t>
            </a:r>
          </a:p>
        </p:txBody>
      </p:sp>
      <p:sp>
        <p:nvSpPr>
          <p:cNvPr id="38" name="TextBox 37">
            <a:extLst>
              <a:ext uri="{FF2B5EF4-FFF2-40B4-BE49-F238E27FC236}">
                <a16:creationId xmlns:a16="http://schemas.microsoft.com/office/drawing/2014/main" id="{AC4D3630-388C-0869-98DD-818B3CEAFF34}"/>
              </a:ext>
            </a:extLst>
          </p:cNvPr>
          <p:cNvSpPr txBox="1"/>
          <p:nvPr/>
        </p:nvSpPr>
        <p:spPr>
          <a:xfrm>
            <a:off x="4387932" y="2384038"/>
            <a:ext cx="1103037" cy="584775"/>
          </a:xfrm>
          <a:prstGeom prst="rect">
            <a:avLst/>
          </a:prstGeom>
          <a:noFill/>
        </p:spPr>
        <p:txBody>
          <a:bodyPr wrap="square" lIns="91440" tIns="45720" rIns="91440" bIns="45720" rtlCol="0" anchor="t">
            <a:spAutoFit/>
          </a:bodyPr>
          <a:lstStyle/>
          <a:p>
            <a:r>
              <a:rPr lang="en-US" sz="3200" b="1"/>
              <a:t>20%</a:t>
            </a:r>
          </a:p>
        </p:txBody>
      </p:sp>
      <p:sp>
        <p:nvSpPr>
          <p:cNvPr id="40" name="TextBox 39">
            <a:extLst>
              <a:ext uri="{FF2B5EF4-FFF2-40B4-BE49-F238E27FC236}">
                <a16:creationId xmlns:a16="http://schemas.microsoft.com/office/drawing/2014/main" id="{2353BFEE-5F0D-A9C4-E26B-37DECFC9CED2}"/>
              </a:ext>
            </a:extLst>
          </p:cNvPr>
          <p:cNvSpPr txBox="1"/>
          <p:nvPr/>
        </p:nvSpPr>
        <p:spPr>
          <a:xfrm>
            <a:off x="3336220" y="2926829"/>
            <a:ext cx="2863414" cy="276999"/>
          </a:xfrm>
          <a:prstGeom prst="rect">
            <a:avLst/>
          </a:prstGeom>
          <a:noFill/>
        </p:spPr>
        <p:txBody>
          <a:bodyPr wrap="square" rtlCol="0">
            <a:spAutoFit/>
          </a:bodyPr>
          <a:lstStyle/>
          <a:p>
            <a:pPr algn="ctr"/>
            <a:r>
              <a:rPr lang="en-US" sz="1200" i="1">
                <a:solidFill>
                  <a:srgbClr val="008864"/>
                </a:solidFill>
              </a:rPr>
              <a:t>Control + Synergy Premium</a:t>
            </a:r>
          </a:p>
        </p:txBody>
      </p:sp>
      <p:sp>
        <p:nvSpPr>
          <p:cNvPr id="42" name="TextBox 41">
            <a:extLst>
              <a:ext uri="{FF2B5EF4-FFF2-40B4-BE49-F238E27FC236}">
                <a16:creationId xmlns:a16="http://schemas.microsoft.com/office/drawing/2014/main" id="{3DBCB7AE-3616-784F-FDA2-ACA18357EA92}"/>
              </a:ext>
            </a:extLst>
          </p:cNvPr>
          <p:cNvSpPr txBox="1"/>
          <p:nvPr/>
        </p:nvSpPr>
        <p:spPr>
          <a:xfrm>
            <a:off x="6845645" y="2382439"/>
            <a:ext cx="1832940" cy="584775"/>
          </a:xfrm>
          <a:prstGeom prst="rect">
            <a:avLst/>
          </a:prstGeom>
          <a:noFill/>
        </p:spPr>
        <p:txBody>
          <a:bodyPr wrap="square" lIns="91440" tIns="45720" rIns="91440" bIns="45720" rtlCol="0" anchor="t">
            <a:spAutoFit/>
          </a:bodyPr>
          <a:lstStyle/>
          <a:p>
            <a:r>
              <a:rPr lang="en-US" sz="3200" b="1">
                <a:solidFill>
                  <a:schemeClr val="accent3"/>
                </a:solidFill>
                <a:cs typeface="Arial"/>
              </a:rPr>
              <a:t>65,175.1</a:t>
            </a:r>
            <a:endParaRPr lang="en-US">
              <a:solidFill>
                <a:srgbClr val="000000"/>
              </a:solidFill>
              <a:cs typeface="Arial"/>
            </a:endParaRPr>
          </a:p>
        </p:txBody>
      </p:sp>
      <p:sp>
        <p:nvSpPr>
          <p:cNvPr id="43" name="TextBox 42">
            <a:extLst>
              <a:ext uri="{FF2B5EF4-FFF2-40B4-BE49-F238E27FC236}">
                <a16:creationId xmlns:a16="http://schemas.microsoft.com/office/drawing/2014/main" id="{6662DC18-4354-1679-69DD-C0E088004B2C}"/>
              </a:ext>
            </a:extLst>
          </p:cNvPr>
          <p:cNvSpPr txBox="1"/>
          <p:nvPr/>
        </p:nvSpPr>
        <p:spPr>
          <a:xfrm>
            <a:off x="6766980" y="2943518"/>
            <a:ext cx="1992723" cy="276999"/>
          </a:xfrm>
          <a:prstGeom prst="rect">
            <a:avLst/>
          </a:prstGeom>
          <a:noFill/>
        </p:spPr>
        <p:txBody>
          <a:bodyPr wrap="square" rtlCol="0">
            <a:spAutoFit/>
          </a:bodyPr>
          <a:lstStyle/>
          <a:p>
            <a:pPr algn="ctr"/>
            <a:r>
              <a:rPr lang="en-US" sz="1200" i="1">
                <a:solidFill>
                  <a:schemeClr val="accent3"/>
                </a:solidFill>
              </a:rPr>
              <a:t>Purchase Price</a:t>
            </a:r>
          </a:p>
        </p:txBody>
      </p:sp>
      <p:sp>
        <p:nvSpPr>
          <p:cNvPr id="3" name="Triangle 40">
            <a:extLst>
              <a:ext uri="{FF2B5EF4-FFF2-40B4-BE49-F238E27FC236}">
                <a16:creationId xmlns:a16="http://schemas.microsoft.com/office/drawing/2014/main" id="{54A11D32-A819-1D28-A448-CED101F63A5F}"/>
              </a:ext>
            </a:extLst>
          </p:cNvPr>
          <p:cNvSpPr/>
          <p:nvPr/>
        </p:nvSpPr>
        <p:spPr>
          <a:xfrm rot="5400000">
            <a:off x="5957680" y="2718182"/>
            <a:ext cx="660953" cy="244706"/>
          </a:xfrm>
          <a:prstGeom prst="triangle">
            <a:avLst/>
          </a:prstGeom>
          <a:solidFill>
            <a:srgbClr val="102C23"/>
          </a:solidFill>
          <a:ln>
            <a:solidFill>
              <a:srgbClr val="102C2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riangle 40">
            <a:extLst>
              <a:ext uri="{FF2B5EF4-FFF2-40B4-BE49-F238E27FC236}">
                <a16:creationId xmlns:a16="http://schemas.microsoft.com/office/drawing/2014/main" id="{77E4463C-0DDB-3A02-3802-209853828492}"/>
              </a:ext>
            </a:extLst>
          </p:cNvPr>
          <p:cNvSpPr/>
          <p:nvPr/>
        </p:nvSpPr>
        <p:spPr>
          <a:xfrm rot="5400000">
            <a:off x="5963250" y="1353574"/>
            <a:ext cx="660953" cy="244706"/>
          </a:xfrm>
          <a:prstGeom prst="triangle">
            <a:avLst/>
          </a:prstGeom>
          <a:solidFill>
            <a:srgbClr val="102C23"/>
          </a:solidFill>
          <a:ln>
            <a:solidFill>
              <a:srgbClr val="102C2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ectangle 12">
            <a:extLst>
              <a:ext uri="{FF2B5EF4-FFF2-40B4-BE49-F238E27FC236}">
                <a16:creationId xmlns:a16="http://schemas.microsoft.com/office/drawing/2014/main" id="{1FCB8327-EA6C-12DB-8888-4731C55CAACB}"/>
              </a:ext>
            </a:extLst>
          </p:cNvPr>
          <p:cNvSpPr/>
          <p:nvPr/>
        </p:nvSpPr>
        <p:spPr>
          <a:xfrm>
            <a:off x="2667242" y="2228445"/>
            <a:ext cx="823388" cy="1036284"/>
          </a:xfrm>
          <a:prstGeom prst="rect">
            <a:avLst/>
          </a:prstGeom>
          <a:no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8800" b="1" i="0" u="none" strike="noStrike" kern="0" cap="none" spc="0" normalizeH="0" baseline="0" noProof="0">
                <a:ln>
                  <a:noFill/>
                </a:ln>
                <a:solidFill>
                  <a:srgbClr val="0F2B23"/>
                </a:solidFill>
                <a:effectLst/>
                <a:uLnTx/>
                <a:uFillTx/>
                <a:latin typeface="Segoe UI"/>
                <a:ea typeface="+mn-ea"/>
                <a:cs typeface="+mn-cs"/>
              </a:rPr>
              <a:t>+</a:t>
            </a:r>
          </a:p>
        </p:txBody>
      </p:sp>
      <p:sp>
        <p:nvSpPr>
          <p:cNvPr id="15" name="Rectangle 14">
            <a:extLst>
              <a:ext uri="{FF2B5EF4-FFF2-40B4-BE49-F238E27FC236}">
                <a16:creationId xmlns:a16="http://schemas.microsoft.com/office/drawing/2014/main" id="{F12482D7-85F0-F110-694C-98D2CAE839EC}"/>
              </a:ext>
            </a:extLst>
          </p:cNvPr>
          <p:cNvSpPr/>
          <p:nvPr/>
        </p:nvSpPr>
        <p:spPr>
          <a:xfrm rot="2647580">
            <a:off x="2717920" y="924743"/>
            <a:ext cx="823388" cy="1036284"/>
          </a:xfrm>
          <a:prstGeom prst="rect">
            <a:avLst/>
          </a:prstGeom>
          <a:no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8800" b="1" i="0" u="none" strike="noStrike" kern="0" cap="none" spc="0" normalizeH="0" baseline="0" noProof="0">
                <a:ln>
                  <a:noFill/>
                </a:ln>
                <a:solidFill>
                  <a:srgbClr val="0F2B23"/>
                </a:solidFill>
                <a:effectLst/>
                <a:uLnTx/>
                <a:uFillTx/>
                <a:latin typeface="Segoe UI"/>
                <a:ea typeface="+mn-ea"/>
                <a:cs typeface="+mn-cs"/>
              </a:rPr>
              <a:t>+</a:t>
            </a:r>
          </a:p>
        </p:txBody>
      </p:sp>
      <p:graphicFrame>
        <p:nvGraphicFramePr>
          <p:cNvPr id="26" name="Table 25">
            <a:extLst>
              <a:ext uri="{FF2B5EF4-FFF2-40B4-BE49-F238E27FC236}">
                <a16:creationId xmlns:a16="http://schemas.microsoft.com/office/drawing/2014/main" id="{5C5AE16B-67B4-4230-3456-0964280632DF}"/>
              </a:ext>
            </a:extLst>
          </p:cNvPr>
          <p:cNvGraphicFramePr>
            <a:graphicFrameLocks noGrp="1"/>
          </p:cNvGraphicFramePr>
          <p:nvPr>
            <p:extLst>
              <p:ext uri="{D42A27DB-BD31-4B8C-83A1-F6EECF244321}">
                <p14:modId xmlns:p14="http://schemas.microsoft.com/office/powerpoint/2010/main" val="1441988614"/>
              </p:ext>
            </p:extLst>
          </p:nvPr>
        </p:nvGraphicFramePr>
        <p:xfrm>
          <a:off x="250825" y="3998050"/>
          <a:ext cx="8642340" cy="2075630"/>
        </p:xfrm>
        <a:graphic>
          <a:graphicData uri="http://schemas.openxmlformats.org/drawingml/2006/table">
            <a:tbl>
              <a:tblPr/>
              <a:tblGrid>
                <a:gridCol w="864234">
                  <a:extLst>
                    <a:ext uri="{9D8B030D-6E8A-4147-A177-3AD203B41FA5}">
                      <a16:colId xmlns:a16="http://schemas.microsoft.com/office/drawing/2014/main" val="1075947697"/>
                    </a:ext>
                  </a:extLst>
                </a:gridCol>
                <a:gridCol w="864234">
                  <a:extLst>
                    <a:ext uri="{9D8B030D-6E8A-4147-A177-3AD203B41FA5}">
                      <a16:colId xmlns:a16="http://schemas.microsoft.com/office/drawing/2014/main" val="2770335204"/>
                    </a:ext>
                  </a:extLst>
                </a:gridCol>
                <a:gridCol w="864234">
                  <a:extLst>
                    <a:ext uri="{9D8B030D-6E8A-4147-A177-3AD203B41FA5}">
                      <a16:colId xmlns:a16="http://schemas.microsoft.com/office/drawing/2014/main" val="981306706"/>
                    </a:ext>
                  </a:extLst>
                </a:gridCol>
                <a:gridCol w="864234">
                  <a:extLst>
                    <a:ext uri="{9D8B030D-6E8A-4147-A177-3AD203B41FA5}">
                      <a16:colId xmlns:a16="http://schemas.microsoft.com/office/drawing/2014/main" val="2037630293"/>
                    </a:ext>
                  </a:extLst>
                </a:gridCol>
                <a:gridCol w="864234">
                  <a:extLst>
                    <a:ext uri="{9D8B030D-6E8A-4147-A177-3AD203B41FA5}">
                      <a16:colId xmlns:a16="http://schemas.microsoft.com/office/drawing/2014/main" val="2862463429"/>
                    </a:ext>
                  </a:extLst>
                </a:gridCol>
                <a:gridCol w="864234">
                  <a:extLst>
                    <a:ext uri="{9D8B030D-6E8A-4147-A177-3AD203B41FA5}">
                      <a16:colId xmlns:a16="http://schemas.microsoft.com/office/drawing/2014/main" val="2105414152"/>
                    </a:ext>
                  </a:extLst>
                </a:gridCol>
                <a:gridCol w="864234">
                  <a:extLst>
                    <a:ext uri="{9D8B030D-6E8A-4147-A177-3AD203B41FA5}">
                      <a16:colId xmlns:a16="http://schemas.microsoft.com/office/drawing/2014/main" val="1952721718"/>
                    </a:ext>
                  </a:extLst>
                </a:gridCol>
                <a:gridCol w="864234">
                  <a:extLst>
                    <a:ext uri="{9D8B030D-6E8A-4147-A177-3AD203B41FA5}">
                      <a16:colId xmlns:a16="http://schemas.microsoft.com/office/drawing/2014/main" val="472226089"/>
                    </a:ext>
                  </a:extLst>
                </a:gridCol>
                <a:gridCol w="864234">
                  <a:extLst>
                    <a:ext uri="{9D8B030D-6E8A-4147-A177-3AD203B41FA5}">
                      <a16:colId xmlns:a16="http://schemas.microsoft.com/office/drawing/2014/main" val="3392016279"/>
                    </a:ext>
                  </a:extLst>
                </a:gridCol>
                <a:gridCol w="864234">
                  <a:extLst>
                    <a:ext uri="{9D8B030D-6E8A-4147-A177-3AD203B41FA5}">
                      <a16:colId xmlns:a16="http://schemas.microsoft.com/office/drawing/2014/main" val="2858887582"/>
                    </a:ext>
                  </a:extLst>
                </a:gridCol>
              </a:tblGrid>
              <a:tr h="207563">
                <a:tc>
                  <a:txBody>
                    <a:bodyPr/>
                    <a:lstStyle/>
                    <a:p>
                      <a:pPr algn="ctr" rtl="0" fontAlgn="b"/>
                      <a:r>
                        <a:rPr lang="en-CA" sz="800" b="1" i="0" u="none" strike="noStrike">
                          <a:solidFill>
                            <a:srgbClr val="102C23"/>
                          </a:solidFill>
                          <a:effectLst/>
                          <a:latin typeface="Arial" panose="020B0604020202020204" pitchFamily="34" charset="0"/>
                        </a:rPr>
                        <a:t>6517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b"/>
                      <a:r>
                        <a:rPr lang="en-CA" sz="800" b="1" i="0" u="none" strike="noStrike">
                          <a:solidFill>
                            <a:srgbClr val="3F685E"/>
                          </a:solidFill>
                          <a:effectLst/>
                          <a:latin typeface="Arial" panose="020B0604020202020204" pitchFamily="34" charset="0"/>
                        </a:rPr>
                        <a:t>12%</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CA" sz="800" b="1" i="0" u="none" strike="noStrike">
                          <a:solidFill>
                            <a:srgbClr val="3F685E"/>
                          </a:solidFill>
                          <a:effectLst/>
                          <a:latin typeface="Arial" panose="020B0604020202020204" pitchFamily="34" charset="0"/>
                        </a:rPr>
                        <a:t>1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CA" sz="800" b="1" i="0" u="none" strike="noStrike">
                          <a:solidFill>
                            <a:srgbClr val="3F685E"/>
                          </a:solidFill>
                          <a:effectLst/>
                          <a:latin typeface="Arial" panose="020B0604020202020204" pitchFamily="34" charset="0"/>
                        </a:rPr>
                        <a:t>1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CA" sz="800" b="1" i="0" u="none" strike="noStrike">
                          <a:solidFill>
                            <a:srgbClr val="3F685E"/>
                          </a:solidFill>
                          <a:effectLst/>
                          <a:latin typeface="Arial" panose="020B0604020202020204" pitchFamily="34" charset="0"/>
                        </a:rPr>
                        <a:t>1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CA" sz="800" b="1" i="0" u="none" strike="noStrike">
                          <a:solidFill>
                            <a:srgbClr val="3F685E"/>
                          </a:solidFill>
                          <a:effectLst/>
                          <a:latin typeface="Arial" panose="020B0604020202020204" pitchFamily="34" charset="0"/>
                        </a:rPr>
                        <a:t>2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CA" sz="800" b="1" i="0" u="none" strike="noStrike">
                          <a:solidFill>
                            <a:srgbClr val="3F685E"/>
                          </a:solidFill>
                          <a:effectLst/>
                          <a:latin typeface="Arial" panose="020B0604020202020204" pitchFamily="34" charset="0"/>
                        </a:rPr>
                        <a:t>22%</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CA" sz="800" b="1" i="0" u="none" strike="noStrike">
                          <a:solidFill>
                            <a:srgbClr val="3F685E"/>
                          </a:solidFill>
                          <a:effectLst/>
                          <a:latin typeface="Arial" panose="020B0604020202020204" pitchFamily="34" charset="0"/>
                        </a:rPr>
                        <a:t>2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CA" sz="800" b="1" i="0" u="none" strike="noStrike">
                          <a:solidFill>
                            <a:srgbClr val="3F685E"/>
                          </a:solidFill>
                          <a:effectLst/>
                          <a:latin typeface="Arial" panose="020B0604020202020204" pitchFamily="34" charset="0"/>
                        </a:rPr>
                        <a:t>2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CA" sz="800" b="1" i="0" u="none" strike="noStrike">
                          <a:solidFill>
                            <a:srgbClr val="3F685E"/>
                          </a:solidFill>
                          <a:effectLst/>
                          <a:latin typeface="Arial" panose="020B0604020202020204" pitchFamily="34" charset="0"/>
                        </a:rPr>
                        <a:t>2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extLst>
                  <a:ext uri="{0D108BD9-81ED-4DB2-BD59-A6C34878D82A}">
                    <a16:rowId xmlns:a16="http://schemas.microsoft.com/office/drawing/2014/main" val="882933350"/>
                  </a:ext>
                </a:extLst>
              </a:tr>
              <a:tr h="207563">
                <a:tc>
                  <a:txBody>
                    <a:bodyPr/>
                    <a:lstStyle/>
                    <a:p>
                      <a:pPr algn="ctr" rtl="0" fontAlgn="b"/>
                      <a:r>
                        <a:rPr lang="en-CA" sz="800" b="1" i="0" u="none" strike="noStrike">
                          <a:solidFill>
                            <a:srgbClr val="3F685E"/>
                          </a:solidFill>
                          <a:effectLst/>
                          <a:latin typeface="Arial" panose="020B0604020202020204" pitchFamily="34" charset="0"/>
                        </a:rPr>
                        <a:t>27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0E4E5"/>
                    </a:solidFill>
                  </a:tcPr>
                </a:tc>
                <a:tc>
                  <a:txBody>
                    <a:bodyPr/>
                    <a:lstStyle/>
                    <a:p>
                      <a:pPr algn="ctr" rtl="0" fontAlgn="b"/>
                      <a:r>
                        <a:rPr lang="en-CA" sz="800" b="0" i="0" u="none" strike="noStrike">
                          <a:solidFill>
                            <a:srgbClr val="102C23"/>
                          </a:solidFill>
                          <a:effectLst/>
                          <a:latin typeface="Arial" panose="020B0604020202020204" pitchFamily="34" charset="0"/>
                        </a:rPr>
                        <a:t>56719</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tc>
                  <a:txBody>
                    <a:bodyPr/>
                    <a:lstStyle/>
                    <a:p>
                      <a:pPr algn="ctr" rtl="0" fontAlgn="b"/>
                      <a:r>
                        <a:rPr lang="en-CA" sz="800" b="0" i="0" u="none" strike="noStrike">
                          <a:solidFill>
                            <a:srgbClr val="102C23"/>
                          </a:solidFill>
                          <a:effectLst/>
                          <a:latin typeface="Arial" panose="020B0604020202020204" pitchFamily="34" charset="0"/>
                        </a:rPr>
                        <a:t>5773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tc>
                  <a:txBody>
                    <a:bodyPr/>
                    <a:lstStyle/>
                    <a:p>
                      <a:pPr algn="ctr" rtl="0" fontAlgn="b"/>
                      <a:r>
                        <a:rPr lang="en-CA" sz="800" b="0" i="0" u="none" strike="noStrike">
                          <a:solidFill>
                            <a:srgbClr val="102C23"/>
                          </a:solidFill>
                          <a:effectLst/>
                          <a:latin typeface="Arial" panose="020B0604020202020204" pitchFamily="34" charset="0"/>
                        </a:rPr>
                        <a:t>5874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tc>
                  <a:txBody>
                    <a:bodyPr/>
                    <a:lstStyle/>
                    <a:p>
                      <a:pPr algn="ctr" rtl="0" fontAlgn="b"/>
                      <a:r>
                        <a:rPr lang="en-CA" sz="800" b="0" i="0" u="none" strike="noStrike">
                          <a:solidFill>
                            <a:srgbClr val="102C23"/>
                          </a:solidFill>
                          <a:effectLst/>
                          <a:latin typeface="Arial" panose="020B0604020202020204" pitchFamily="34" charset="0"/>
                        </a:rPr>
                        <a:t>5975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tc>
                  <a:txBody>
                    <a:bodyPr/>
                    <a:lstStyle/>
                    <a:p>
                      <a:pPr algn="ctr" rtl="0" fontAlgn="b"/>
                      <a:r>
                        <a:rPr lang="en-CA" sz="800" b="0" i="0" u="none" strike="noStrike">
                          <a:solidFill>
                            <a:srgbClr val="102C23"/>
                          </a:solidFill>
                          <a:effectLst/>
                          <a:latin typeface="Arial" panose="020B0604020202020204" pitchFamily="34" charset="0"/>
                        </a:rPr>
                        <a:t>6077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tc>
                  <a:txBody>
                    <a:bodyPr/>
                    <a:lstStyle/>
                    <a:p>
                      <a:pPr algn="ctr" rtl="0" fontAlgn="b"/>
                      <a:r>
                        <a:rPr lang="en-CA" sz="800" b="0" i="0" u="none" strike="noStrike">
                          <a:solidFill>
                            <a:srgbClr val="102C23"/>
                          </a:solidFill>
                          <a:effectLst/>
                          <a:latin typeface="Arial" panose="020B0604020202020204" pitchFamily="34" charset="0"/>
                        </a:rPr>
                        <a:t>6178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tc>
                  <a:txBody>
                    <a:bodyPr/>
                    <a:lstStyle/>
                    <a:p>
                      <a:pPr algn="ctr" rtl="0" fontAlgn="b"/>
                      <a:r>
                        <a:rPr lang="en-CA" sz="800" b="0" i="0" u="none" strike="noStrike">
                          <a:solidFill>
                            <a:srgbClr val="102C23"/>
                          </a:solidFill>
                          <a:effectLst/>
                          <a:latin typeface="Arial" panose="020B0604020202020204" pitchFamily="34" charset="0"/>
                        </a:rPr>
                        <a:t>6279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tc>
                  <a:txBody>
                    <a:bodyPr/>
                    <a:lstStyle/>
                    <a:p>
                      <a:pPr algn="ctr" rtl="0" fontAlgn="b"/>
                      <a:r>
                        <a:rPr lang="en-CA" sz="800" b="0" i="0" u="none" strike="noStrike">
                          <a:solidFill>
                            <a:srgbClr val="102C23"/>
                          </a:solidFill>
                          <a:effectLst/>
                          <a:latin typeface="Arial" panose="020B0604020202020204" pitchFamily="34" charset="0"/>
                        </a:rPr>
                        <a:t>6380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tc>
                  <a:txBody>
                    <a:bodyPr/>
                    <a:lstStyle/>
                    <a:p>
                      <a:pPr algn="ctr" rtl="0" fontAlgn="b"/>
                      <a:r>
                        <a:rPr lang="en-CA" sz="800" b="0" i="0" u="none" strike="noStrike">
                          <a:solidFill>
                            <a:srgbClr val="102C23"/>
                          </a:solidFill>
                          <a:effectLst/>
                          <a:latin typeface="Arial" panose="020B0604020202020204" pitchFamily="34" charset="0"/>
                        </a:rPr>
                        <a:t>6482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extLst>
                  <a:ext uri="{0D108BD9-81ED-4DB2-BD59-A6C34878D82A}">
                    <a16:rowId xmlns:a16="http://schemas.microsoft.com/office/drawing/2014/main" val="2245939132"/>
                  </a:ext>
                </a:extLst>
              </a:tr>
              <a:tr h="207563">
                <a:tc>
                  <a:txBody>
                    <a:bodyPr/>
                    <a:lstStyle/>
                    <a:p>
                      <a:pPr algn="ctr" rtl="0" fontAlgn="b"/>
                      <a:r>
                        <a:rPr lang="en-CA" sz="800" b="1" i="0" u="none" strike="noStrike">
                          <a:solidFill>
                            <a:srgbClr val="3F685E"/>
                          </a:solidFill>
                          <a:effectLst/>
                          <a:latin typeface="Arial" panose="020B0604020202020204" pitchFamily="34" charset="0"/>
                        </a:rPr>
                        <a:t>28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0E4E5"/>
                    </a:solidFill>
                  </a:tcPr>
                </a:tc>
                <a:tc>
                  <a:txBody>
                    <a:bodyPr/>
                    <a:lstStyle/>
                    <a:p>
                      <a:pPr algn="ctr" rtl="0" fontAlgn="b"/>
                      <a:r>
                        <a:rPr lang="en-CA" sz="800" b="0" i="0" u="none" strike="noStrike">
                          <a:solidFill>
                            <a:srgbClr val="102C23"/>
                          </a:solidFill>
                          <a:effectLst/>
                          <a:latin typeface="Arial" panose="020B0604020202020204" pitchFamily="34" charset="0"/>
                        </a:rPr>
                        <a:t>57721</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CA" sz="800" b="0" i="0" u="none" strike="noStrike">
                          <a:solidFill>
                            <a:srgbClr val="102C23"/>
                          </a:solidFill>
                          <a:effectLst/>
                          <a:latin typeface="Arial" panose="020B0604020202020204" pitchFamily="34" charset="0"/>
                        </a:rPr>
                        <a:t>5875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CA" sz="800" b="0" i="0" u="none" strike="noStrike">
                          <a:solidFill>
                            <a:srgbClr val="102C23"/>
                          </a:solidFill>
                          <a:effectLst/>
                          <a:latin typeface="Arial" panose="020B0604020202020204" pitchFamily="34" charset="0"/>
                        </a:rPr>
                        <a:t>5978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CA" sz="800" b="0" i="0" u="none" strike="noStrike">
                          <a:solidFill>
                            <a:srgbClr val="102C23"/>
                          </a:solidFill>
                          <a:effectLst/>
                          <a:latin typeface="Arial" panose="020B0604020202020204" pitchFamily="34" charset="0"/>
                        </a:rPr>
                        <a:t>6081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CA" sz="800" b="0" i="0" u="none" strike="noStrike">
                          <a:solidFill>
                            <a:srgbClr val="102C23"/>
                          </a:solidFill>
                          <a:effectLst/>
                          <a:latin typeface="Arial" panose="020B0604020202020204" pitchFamily="34" charset="0"/>
                        </a:rPr>
                        <a:t>6184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CA" sz="800" b="0" i="0" u="none" strike="noStrike">
                          <a:solidFill>
                            <a:srgbClr val="102C23"/>
                          </a:solidFill>
                          <a:effectLst/>
                          <a:latin typeface="Arial" panose="020B0604020202020204" pitchFamily="34" charset="0"/>
                        </a:rPr>
                        <a:t>6287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CA" sz="800" b="0" i="0" u="none" strike="noStrike">
                          <a:solidFill>
                            <a:srgbClr val="102C23"/>
                          </a:solidFill>
                          <a:effectLst/>
                          <a:latin typeface="Arial" panose="020B0604020202020204" pitchFamily="34" charset="0"/>
                        </a:rPr>
                        <a:t>6390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CA" sz="800" b="0" i="0" u="none" strike="noStrike">
                          <a:solidFill>
                            <a:srgbClr val="102C23"/>
                          </a:solidFill>
                          <a:effectLst/>
                          <a:latin typeface="Arial" panose="020B0604020202020204" pitchFamily="34" charset="0"/>
                        </a:rPr>
                        <a:t>6493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CA" sz="800" b="0" i="0" u="none" strike="noStrike">
                          <a:solidFill>
                            <a:srgbClr val="102C23"/>
                          </a:solidFill>
                          <a:effectLst/>
                          <a:latin typeface="Arial" panose="020B0604020202020204" pitchFamily="34" charset="0"/>
                        </a:rPr>
                        <a:t>6596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extLst>
                  <a:ext uri="{0D108BD9-81ED-4DB2-BD59-A6C34878D82A}">
                    <a16:rowId xmlns:a16="http://schemas.microsoft.com/office/drawing/2014/main" val="1542801915"/>
                  </a:ext>
                </a:extLst>
              </a:tr>
              <a:tr h="207563">
                <a:tc>
                  <a:txBody>
                    <a:bodyPr/>
                    <a:lstStyle/>
                    <a:p>
                      <a:pPr algn="ctr" rtl="0" fontAlgn="b"/>
                      <a:r>
                        <a:rPr lang="en-CA" sz="800" b="1" i="0" u="none" strike="noStrike">
                          <a:solidFill>
                            <a:srgbClr val="3F685E"/>
                          </a:solidFill>
                          <a:effectLst/>
                          <a:latin typeface="Arial" panose="020B0604020202020204" pitchFamily="34" charset="0"/>
                        </a:rPr>
                        <a:t>28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0E4E5"/>
                    </a:solidFill>
                  </a:tcPr>
                </a:tc>
                <a:tc>
                  <a:txBody>
                    <a:bodyPr/>
                    <a:lstStyle/>
                    <a:p>
                      <a:pPr algn="ctr" rtl="0" fontAlgn="b"/>
                      <a:r>
                        <a:rPr lang="en-CA" sz="800" b="0" i="0" u="none" strike="noStrike">
                          <a:solidFill>
                            <a:srgbClr val="102C23"/>
                          </a:solidFill>
                          <a:effectLst/>
                          <a:latin typeface="Arial" panose="020B0604020202020204" pitchFamily="34" charset="0"/>
                        </a:rPr>
                        <a:t>5872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102C23"/>
                          </a:solidFill>
                          <a:effectLst/>
                          <a:latin typeface="Arial" panose="020B0604020202020204" pitchFamily="34" charset="0"/>
                        </a:rPr>
                        <a:t>5977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102C23"/>
                          </a:solidFill>
                          <a:effectLst/>
                          <a:latin typeface="Arial" panose="020B0604020202020204" pitchFamily="34" charset="0"/>
                        </a:rPr>
                        <a:t>6082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102C23"/>
                          </a:solidFill>
                          <a:effectLst/>
                          <a:latin typeface="Arial" panose="020B0604020202020204" pitchFamily="34" charset="0"/>
                        </a:rPr>
                        <a:t>6186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102C23"/>
                          </a:solidFill>
                          <a:effectLst/>
                          <a:latin typeface="Arial" panose="020B0604020202020204" pitchFamily="34" charset="0"/>
                        </a:rPr>
                        <a:t>6291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102C23"/>
                          </a:solidFill>
                          <a:effectLst/>
                          <a:latin typeface="Arial" panose="020B0604020202020204" pitchFamily="34" charset="0"/>
                        </a:rPr>
                        <a:t>6396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102C23"/>
                          </a:solidFill>
                          <a:effectLst/>
                          <a:latin typeface="Arial" panose="020B0604020202020204" pitchFamily="34" charset="0"/>
                        </a:rPr>
                        <a:t>6501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102C23"/>
                          </a:solidFill>
                          <a:effectLst/>
                          <a:latin typeface="Arial" panose="020B0604020202020204" pitchFamily="34" charset="0"/>
                        </a:rPr>
                        <a:t>6606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102C23"/>
                          </a:solidFill>
                          <a:effectLst/>
                          <a:latin typeface="Arial" panose="020B0604020202020204" pitchFamily="34" charset="0"/>
                        </a:rPr>
                        <a:t>6711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extLst>
                  <a:ext uri="{0D108BD9-81ED-4DB2-BD59-A6C34878D82A}">
                    <a16:rowId xmlns:a16="http://schemas.microsoft.com/office/drawing/2014/main" val="2352845992"/>
                  </a:ext>
                </a:extLst>
              </a:tr>
              <a:tr h="207563">
                <a:tc>
                  <a:txBody>
                    <a:bodyPr/>
                    <a:lstStyle/>
                    <a:p>
                      <a:pPr algn="ctr" rtl="0" fontAlgn="b"/>
                      <a:r>
                        <a:rPr lang="en-CA" sz="800" b="1" i="0" u="none" strike="noStrike">
                          <a:solidFill>
                            <a:srgbClr val="3F685E"/>
                          </a:solidFill>
                          <a:effectLst/>
                          <a:latin typeface="Arial" panose="020B0604020202020204" pitchFamily="34" charset="0"/>
                        </a:rPr>
                        <a:t>29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CA" sz="800" b="0" i="0" u="none" strike="noStrike">
                          <a:solidFill>
                            <a:srgbClr val="102C23"/>
                          </a:solidFill>
                          <a:effectLst/>
                          <a:latin typeface="Arial" panose="020B0604020202020204" pitchFamily="34" charset="0"/>
                        </a:rPr>
                        <a:t>5972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D8FAE5"/>
                          </a:solidFill>
                          <a:effectLst/>
                          <a:latin typeface="Arial" panose="020B0604020202020204" pitchFamily="34" charset="0"/>
                        </a:rPr>
                        <a:t>6079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CA" sz="800" b="0" i="0" u="none" strike="noStrike">
                          <a:solidFill>
                            <a:srgbClr val="D8FAE5"/>
                          </a:solidFill>
                          <a:effectLst/>
                          <a:latin typeface="Arial" panose="020B0604020202020204" pitchFamily="34" charset="0"/>
                        </a:rPr>
                        <a:t>6185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CA" sz="800" b="0" i="0" u="none" strike="noStrike">
                          <a:solidFill>
                            <a:srgbClr val="D8FAE5"/>
                          </a:solidFill>
                          <a:effectLst/>
                          <a:latin typeface="Arial" panose="020B0604020202020204" pitchFamily="34" charset="0"/>
                        </a:rPr>
                        <a:t>6292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CA" sz="800" b="0" i="0" u="none" strike="noStrike">
                          <a:solidFill>
                            <a:srgbClr val="D8FAE5"/>
                          </a:solidFill>
                          <a:effectLst/>
                          <a:latin typeface="Arial" panose="020B0604020202020204" pitchFamily="34" charset="0"/>
                        </a:rPr>
                        <a:t>6399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F65"/>
                    </a:solidFill>
                  </a:tcPr>
                </a:tc>
                <a:tc>
                  <a:txBody>
                    <a:bodyPr/>
                    <a:lstStyle/>
                    <a:p>
                      <a:pPr algn="ctr" rtl="0" fontAlgn="b"/>
                      <a:r>
                        <a:rPr lang="en-CA" sz="800" b="0" i="0" u="none" strike="noStrike">
                          <a:solidFill>
                            <a:srgbClr val="D8FAE5"/>
                          </a:solidFill>
                          <a:effectLst/>
                          <a:latin typeface="Arial" panose="020B0604020202020204" pitchFamily="34" charset="0"/>
                        </a:rPr>
                        <a:t>6505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CA" sz="800" b="0" i="0" u="none" strike="noStrike">
                          <a:solidFill>
                            <a:srgbClr val="D8FAE5"/>
                          </a:solidFill>
                          <a:effectLst/>
                          <a:latin typeface="Arial" panose="020B0604020202020204" pitchFamily="34" charset="0"/>
                        </a:rPr>
                        <a:t>6612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CA" sz="800" b="0" i="0" u="none" strike="noStrike">
                          <a:solidFill>
                            <a:srgbClr val="D8FAE5"/>
                          </a:solidFill>
                          <a:effectLst/>
                          <a:latin typeface="Arial" panose="020B0604020202020204" pitchFamily="34" charset="0"/>
                        </a:rPr>
                        <a:t>6719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CA" sz="800" b="0" i="0" u="none" strike="noStrike">
                          <a:solidFill>
                            <a:srgbClr val="102C23"/>
                          </a:solidFill>
                          <a:effectLst/>
                          <a:latin typeface="Arial" panose="020B0604020202020204" pitchFamily="34" charset="0"/>
                        </a:rPr>
                        <a:t>6825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extLst>
                  <a:ext uri="{0D108BD9-81ED-4DB2-BD59-A6C34878D82A}">
                    <a16:rowId xmlns:a16="http://schemas.microsoft.com/office/drawing/2014/main" val="456933457"/>
                  </a:ext>
                </a:extLst>
              </a:tr>
              <a:tr h="207563">
                <a:tc>
                  <a:txBody>
                    <a:bodyPr/>
                    <a:lstStyle/>
                    <a:p>
                      <a:pPr algn="ctr" rtl="0" fontAlgn="b"/>
                      <a:r>
                        <a:rPr lang="en-CA" sz="800" b="1" i="0" u="none" strike="noStrike">
                          <a:solidFill>
                            <a:srgbClr val="3F685E"/>
                          </a:solidFill>
                          <a:effectLst/>
                          <a:latin typeface="Arial" panose="020B0604020202020204" pitchFamily="34" charset="0"/>
                        </a:rPr>
                        <a:t>29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CA" sz="800" b="0" i="0" u="none" strike="noStrike">
                          <a:solidFill>
                            <a:srgbClr val="102C23"/>
                          </a:solidFill>
                          <a:effectLst/>
                          <a:latin typeface="Arial" panose="020B0604020202020204" pitchFamily="34" charset="0"/>
                        </a:rPr>
                        <a:t>60727</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D8FAE5"/>
                          </a:solidFill>
                          <a:effectLst/>
                          <a:latin typeface="Arial" panose="020B0604020202020204" pitchFamily="34" charset="0"/>
                        </a:rPr>
                        <a:t>6181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CA" sz="800" b="0" i="0" u="none" strike="noStrike">
                          <a:solidFill>
                            <a:srgbClr val="D8FAE5"/>
                          </a:solidFill>
                          <a:effectLst/>
                          <a:latin typeface="Arial" panose="020B0604020202020204" pitchFamily="34" charset="0"/>
                        </a:rPr>
                        <a:t>6289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C4D3D"/>
                    </a:solidFill>
                  </a:tcPr>
                </a:tc>
                <a:tc>
                  <a:txBody>
                    <a:bodyPr/>
                    <a:lstStyle/>
                    <a:p>
                      <a:pPr algn="ctr" rtl="0" fontAlgn="b"/>
                      <a:r>
                        <a:rPr lang="en-CA" sz="800" b="0" i="0" u="none" strike="noStrike">
                          <a:solidFill>
                            <a:srgbClr val="D8FAE5"/>
                          </a:solidFill>
                          <a:effectLst/>
                          <a:latin typeface="Arial" panose="020B0604020202020204" pitchFamily="34" charset="0"/>
                        </a:rPr>
                        <a:t>6398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C4D3D"/>
                    </a:solidFill>
                  </a:tcPr>
                </a:tc>
                <a:tc>
                  <a:txBody>
                    <a:bodyPr/>
                    <a:lstStyle/>
                    <a:p>
                      <a:pPr algn="ctr" rtl="0" fontAlgn="b"/>
                      <a:r>
                        <a:rPr lang="en-CA" sz="800" b="1" i="0" u="none" strike="noStrike">
                          <a:solidFill>
                            <a:srgbClr val="D8FAE5"/>
                          </a:solidFill>
                          <a:effectLst/>
                          <a:latin typeface="Arial" panose="020B0604020202020204" pitchFamily="34" charset="0"/>
                        </a:rPr>
                        <a:t>6506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02C23"/>
                    </a:solidFill>
                  </a:tcPr>
                </a:tc>
                <a:tc>
                  <a:txBody>
                    <a:bodyPr/>
                    <a:lstStyle/>
                    <a:p>
                      <a:pPr algn="ctr" rtl="0" fontAlgn="b"/>
                      <a:r>
                        <a:rPr lang="en-CA" sz="800" b="0" i="0" u="none" strike="noStrike">
                          <a:solidFill>
                            <a:srgbClr val="D8FAE5"/>
                          </a:solidFill>
                          <a:effectLst/>
                          <a:latin typeface="Arial" panose="020B0604020202020204" pitchFamily="34" charset="0"/>
                        </a:rPr>
                        <a:t>66149</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C4D3D"/>
                    </a:solidFill>
                  </a:tcPr>
                </a:tc>
                <a:tc>
                  <a:txBody>
                    <a:bodyPr/>
                    <a:lstStyle/>
                    <a:p>
                      <a:pPr algn="ctr" rtl="0" fontAlgn="b"/>
                      <a:r>
                        <a:rPr lang="en-CA" sz="800" b="0" i="0" u="none" strike="noStrike">
                          <a:solidFill>
                            <a:srgbClr val="D8FAE5"/>
                          </a:solidFill>
                          <a:effectLst/>
                          <a:latin typeface="Arial" panose="020B0604020202020204" pitchFamily="34" charset="0"/>
                        </a:rPr>
                        <a:t>6723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C4D3D"/>
                    </a:solidFill>
                  </a:tcPr>
                </a:tc>
                <a:tc>
                  <a:txBody>
                    <a:bodyPr/>
                    <a:lstStyle/>
                    <a:p>
                      <a:pPr algn="ctr" rtl="0" fontAlgn="b"/>
                      <a:r>
                        <a:rPr lang="en-CA" sz="800" b="0" i="0" u="none" strike="noStrike">
                          <a:solidFill>
                            <a:srgbClr val="D8FAE5"/>
                          </a:solidFill>
                          <a:effectLst/>
                          <a:latin typeface="Arial" panose="020B0604020202020204" pitchFamily="34" charset="0"/>
                        </a:rPr>
                        <a:t>6831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CA" sz="800" b="0" i="0" u="none" strike="noStrike">
                          <a:solidFill>
                            <a:srgbClr val="102C23"/>
                          </a:solidFill>
                          <a:effectLst/>
                          <a:latin typeface="Arial" panose="020B0604020202020204" pitchFamily="34" charset="0"/>
                        </a:rPr>
                        <a:t>6940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extLst>
                  <a:ext uri="{0D108BD9-81ED-4DB2-BD59-A6C34878D82A}">
                    <a16:rowId xmlns:a16="http://schemas.microsoft.com/office/drawing/2014/main" val="3115587175"/>
                  </a:ext>
                </a:extLst>
              </a:tr>
              <a:tr h="207563">
                <a:tc>
                  <a:txBody>
                    <a:bodyPr/>
                    <a:lstStyle/>
                    <a:p>
                      <a:pPr algn="ctr" rtl="0" fontAlgn="b"/>
                      <a:r>
                        <a:rPr lang="en-CA" sz="800" b="1" i="0" u="none" strike="noStrike">
                          <a:solidFill>
                            <a:srgbClr val="3F685E"/>
                          </a:solidFill>
                          <a:effectLst/>
                          <a:latin typeface="Arial" panose="020B0604020202020204" pitchFamily="34" charset="0"/>
                        </a:rPr>
                        <a:t>30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0E4E5"/>
                    </a:solidFill>
                  </a:tcPr>
                </a:tc>
                <a:tc>
                  <a:txBody>
                    <a:bodyPr/>
                    <a:lstStyle/>
                    <a:p>
                      <a:pPr algn="ctr" rtl="0" fontAlgn="b"/>
                      <a:r>
                        <a:rPr lang="en-CA" sz="800" b="0" i="0" u="none" strike="noStrike">
                          <a:solidFill>
                            <a:srgbClr val="102C23"/>
                          </a:solidFill>
                          <a:effectLst/>
                          <a:latin typeface="Arial" panose="020B0604020202020204" pitchFamily="34" charset="0"/>
                        </a:rPr>
                        <a:t>61729</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D8FAE5"/>
                          </a:solidFill>
                          <a:effectLst/>
                          <a:latin typeface="Arial" panose="020B0604020202020204" pitchFamily="34" charset="0"/>
                        </a:rPr>
                        <a:t>6283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CA" sz="800" b="0" i="0" u="none" strike="noStrike">
                          <a:solidFill>
                            <a:srgbClr val="D8FAE5"/>
                          </a:solidFill>
                          <a:effectLst/>
                          <a:latin typeface="Arial" panose="020B0604020202020204" pitchFamily="34" charset="0"/>
                        </a:rPr>
                        <a:t>6393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CA" sz="800" b="0" i="0" u="none" strike="noStrike">
                          <a:solidFill>
                            <a:srgbClr val="D8FAE5"/>
                          </a:solidFill>
                          <a:effectLst/>
                          <a:latin typeface="Arial" panose="020B0604020202020204" pitchFamily="34" charset="0"/>
                        </a:rPr>
                        <a:t>6503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CA" sz="800" b="0" i="0" u="none" strike="noStrike">
                          <a:solidFill>
                            <a:srgbClr val="D8FAE5"/>
                          </a:solidFill>
                          <a:effectLst/>
                          <a:latin typeface="Arial" panose="020B0604020202020204" pitchFamily="34" charset="0"/>
                        </a:rPr>
                        <a:t>6613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CA" sz="800" b="0" i="0" u="none" strike="noStrike">
                          <a:solidFill>
                            <a:srgbClr val="D8FAE5"/>
                          </a:solidFill>
                          <a:effectLst/>
                          <a:latin typeface="Arial" panose="020B0604020202020204" pitchFamily="34" charset="0"/>
                        </a:rPr>
                        <a:t>6724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CA" sz="800" b="0" i="0" u="none" strike="noStrike">
                          <a:solidFill>
                            <a:srgbClr val="D8FAE5"/>
                          </a:solidFill>
                          <a:effectLst/>
                          <a:latin typeface="Arial" panose="020B0604020202020204" pitchFamily="34" charset="0"/>
                        </a:rPr>
                        <a:t>6834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CA" sz="800" b="0" i="0" u="none" strike="noStrike">
                          <a:solidFill>
                            <a:srgbClr val="D8FAE5"/>
                          </a:solidFill>
                          <a:effectLst/>
                          <a:latin typeface="Arial" panose="020B0604020202020204" pitchFamily="34" charset="0"/>
                        </a:rPr>
                        <a:t>6944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CA" sz="800" b="0" i="0" u="none" strike="noStrike">
                          <a:solidFill>
                            <a:srgbClr val="102C23"/>
                          </a:solidFill>
                          <a:effectLst/>
                          <a:latin typeface="Arial" panose="020B0604020202020204" pitchFamily="34" charset="0"/>
                        </a:rPr>
                        <a:t>7054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extLst>
                  <a:ext uri="{0D108BD9-81ED-4DB2-BD59-A6C34878D82A}">
                    <a16:rowId xmlns:a16="http://schemas.microsoft.com/office/drawing/2014/main" val="949149864"/>
                  </a:ext>
                </a:extLst>
              </a:tr>
              <a:tr h="207563">
                <a:tc>
                  <a:txBody>
                    <a:bodyPr/>
                    <a:lstStyle/>
                    <a:p>
                      <a:pPr algn="ctr" rtl="0" fontAlgn="b"/>
                      <a:r>
                        <a:rPr lang="en-CA" sz="800" b="1" i="0" u="none" strike="noStrike">
                          <a:solidFill>
                            <a:srgbClr val="3F685E"/>
                          </a:solidFill>
                          <a:effectLst/>
                          <a:latin typeface="Arial" panose="020B0604020202020204" pitchFamily="34" charset="0"/>
                        </a:rPr>
                        <a:t>30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0E4E5"/>
                    </a:solidFill>
                  </a:tcPr>
                </a:tc>
                <a:tc>
                  <a:txBody>
                    <a:bodyPr/>
                    <a:lstStyle/>
                    <a:p>
                      <a:pPr algn="ctr" rtl="0" fontAlgn="b"/>
                      <a:r>
                        <a:rPr lang="en-CA" sz="800" b="0" i="0" u="none" strike="noStrike">
                          <a:solidFill>
                            <a:srgbClr val="102C23"/>
                          </a:solidFill>
                          <a:effectLst/>
                          <a:latin typeface="Arial" panose="020B0604020202020204" pitchFamily="34" charset="0"/>
                        </a:rPr>
                        <a:t>62731</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102C23"/>
                          </a:solidFill>
                          <a:effectLst/>
                          <a:latin typeface="Arial" panose="020B0604020202020204" pitchFamily="34" charset="0"/>
                        </a:rPr>
                        <a:t>6385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102C23"/>
                          </a:solidFill>
                          <a:effectLst/>
                          <a:latin typeface="Arial" panose="020B0604020202020204" pitchFamily="34" charset="0"/>
                        </a:rPr>
                        <a:t>6497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102C23"/>
                          </a:solidFill>
                          <a:effectLst/>
                          <a:latin typeface="Arial" panose="020B0604020202020204" pitchFamily="34" charset="0"/>
                        </a:rPr>
                        <a:t>6609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102C23"/>
                          </a:solidFill>
                          <a:effectLst/>
                          <a:latin typeface="Arial" panose="020B0604020202020204" pitchFamily="34" charset="0"/>
                        </a:rPr>
                        <a:t>6721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102C23"/>
                          </a:solidFill>
                          <a:effectLst/>
                          <a:latin typeface="Arial" panose="020B0604020202020204" pitchFamily="34" charset="0"/>
                        </a:rPr>
                        <a:t>6833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102C23"/>
                          </a:solidFill>
                          <a:effectLst/>
                          <a:latin typeface="Arial" panose="020B0604020202020204" pitchFamily="34" charset="0"/>
                        </a:rPr>
                        <a:t>6945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102C23"/>
                          </a:solidFill>
                          <a:effectLst/>
                          <a:latin typeface="Arial" panose="020B0604020202020204" pitchFamily="34" charset="0"/>
                        </a:rPr>
                        <a:t>7057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CA" sz="800" b="0" i="0" u="none" strike="noStrike">
                          <a:solidFill>
                            <a:srgbClr val="102C23"/>
                          </a:solidFill>
                          <a:effectLst/>
                          <a:latin typeface="Arial" panose="020B0604020202020204" pitchFamily="34" charset="0"/>
                        </a:rPr>
                        <a:t>7169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extLst>
                  <a:ext uri="{0D108BD9-81ED-4DB2-BD59-A6C34878D82A}">
                    <a16:rowId xmlns:a16="http://schemas.microsoft.com/office/drawing/2014/main" val="2891171701"/>
                  </a:ext>
                </a:extLst>
              </a:tr>
              <a:tr h="207563">
                <a:tc>
                  <a:txBody>
                    <a:bodyPr/>
                    <a:lstStyle/>
                    <a:p>
                      <a:pPr algn="ctr" rtl="0" fontAlgn="b"/>
                      <a:r>
                        <a:rPr lang="en-CA" sz="800" b="1" i="0" u="none" strike="noStrike">
                          <a:solidFill>
                            <a:srgbClr val="3F685E"/>
                          </a:solidFill>
                          <a:effectLst/>
                          <a:latin typeface="Arial" panose="020B0604020202020204" pitchFamily="34" charset="0"/>
                        </a:rPr>
                        <a:t>31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0E4E5"/>
                    </a:solidFill>
                  </a:tcPr>
                </a:tc>
                <a:tc>
                  <a:txBody>
                    <a:bodyPr/>
                    <a:lstStyle/>
                    <a:p>
                      <a:pPr algn="ctr" rtl="0" fontAlgn="b"/>
                      <a:r>
                        <a:rPr lang="en-CA" sz="800" b="0" i="0" u="none" strike="noStrike">
                          <a:solidFill>
                            <a:srgbClr val="102C23"/>
                          </a:solidFill>
                          <a:effectLst/>
                          <a:latin typeface="Arial" panose="020B0604020202020204" pitchFamily="34" charset="0"/>
                        </a:rPr>
                        <a:t>6373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CA" sz="800" b="0" i="0" u="none" strike="noStrike">
                          <a:solidFill>
                            <a:srgbClr val="102C23"/>
                          </a:solidFill>
                          <a:effectLst/>
                          <a:latin typeface="Arial" panose="020B0604020202020204" pitchFamily="34" charset="0"/>
                        </a:rPr>
                        <a:t>6487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CA" sz="800" b="0" i="0" u="none" strike="noStrike">
                          <a:solidFill>
                            <a:srgbClr val="102C23"/>
                          </a:solidFill>
                          <a:effectLst/>
                          <a:latin typeface="Arial" panose="020B0604020202020204" pitchFamily="34" charset="0"/>
                        </a:rPr>
                        <a:t>6600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CA" sz="800" b="0" i="0" u="none" strike="noStrike">
                          <a:solidFill>
                            <a:srgbClr val="102C23"/>
                          </a:solidFill>
                          <a:effectLst/>
                          <a:latin typeface="Arial" panose="020B0604020202020204" pitchFamily="34" charset="0"/>
                        </a:rPr>
                        <a:t>6714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CA" sz="800" b="0" i="0" u="none" strike="noStrike">
                          <a:solidFill>
                            <a:srgbClr val="102C23"/>
                          </a:solidFill>
                          <a:effectLst/>
                          <a:latin typeface="Arial" panose="020B0604020202020204" pitchFamily="34" charset="0"/>
                        </a:rPr>
                        <a:t>6828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CA" sz="800" b="0" i="0" u="none" strike="noStrike">
                          <a:solidFill>
                            <a:srgbClr val="102C23"/>
                          </a:solidFill>
                          <a:effectLst/>
                          <a:latin typeface="Arial" panose="020B0604020202020204" pitchFamily="34" charset="0"/>
                        </a:rPr>
                        <a:t>6942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CA" sz="800" b="0" i="0" u="none" strike="noStrike">
                          <a:solidFill>
                            <a:srgbClr val="102C23"/>
                          </a:solidFill>
                          <a:effectLst/>
                          <a:latin typeface="Arial" panose="020B0604020202020204" pitchFamily="34" charset="0"/>
                        </a:rPr>
                        <a:t>7056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CA" sz="800" b="0" i="0" u="none" strike="noStrike">
                          <a:solidFill>
                            <a:srgbClr val="102C23"/>
                          </a:solidFill>
                          <a:effectLst/>
                          <a:latin typeface="Arial" panose="020B0604020202020204" pitchFamily="34" charset="0"/>
                        </a:rPr>
                        <a:t>717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CA" sz="800" b="0" i="0" u="none" strike="noStrike">
                          <a:solidFill>
                            <a:srgbClr val="102C23"/>
                          </a:solidFill>
                          <a:effectLst/>
                          <a:latin typeface="Arial" panose="020B0604020202020204" pitchFamily="34" charset="0"/>
                        </a:rPr>
                        <a:t>7283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extLst>
                  <a:ext uri="{0D108BD9-81ED-4DB2-BD59-A6C34878D82A}">
                    <a16:rowId xmlns:a16="http://schemas.microsoft.com/office/drawing/2014/main" val="3163989988"/>
                  </a:ext>
                </a:extLst>
              </a:tr>
              <a:tr h="207563">
                <a:tc>
                  <a:txBody>
                    <a:bodyPr/>
                    <a:lstStyle/>
                    <a:p>
                      <a:pPr algn="ctr" rtl="0" fontAlgn="b"/>
                      <a:r>
                        <a:rPr lang="en-CA" sz="800" b="1" i="0" u="none" strike="noStrike">
                          <a:solidFill>
                            <a:srgbClr val="3F685E"/>
                          </a:solidFill>
                          <a:effectLst/>
                          <a:latin typeface="Arial" panose="020B0604020202020204" pitchFamily="34" charset="0"/>
                        </a:rPr>
                        <a:t>31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CA" sz="800" b="0" i="0" u="none" strike="noStrike">
                          <a:solidFill>
                            <a:srgbClr val="102C23"/>
                          </a:solidFill>
                          <a:effectLst/>
                          <a:latin typeface="Arial" panose="020B0604020202020204" pitchFamily="34" charset="0"/>
                        </a:rPr>
                        <a:t>6473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tc>
                  <a:txBody>
                    <a:bodyPr/>
                    <a:lstStyle/>
                    <a:p>
                      <a:pPr algn="ctr" rtl="0" fontAlgn="b"/>
                      <a:r>
                        <a:rPr lang="en-CA" sz="800" b="0" i="0" u="none" strike="noStrike">
                          <a:solidFill>
                            <a:srgbClr val="102C23"/>
                          </a:solidFill>
                          <a:effectLst/>
                          <a:latin typeface="Arial" panose="020B0604020202020204" pitchFamily="34" charset="0"/>
                        </a:rPr>
                        <a:t>6589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tc>
                  <a:txBody>
                    <a:bodyPr/>
                    <a:lstStyle/>
                    <a:p>
                      <a:pPr algn="ctr" rtl="0" fontAlgn="b"/>
                      <a:r>
                        <a:rPr lang="en-CA" sz="800" b="0" i="0" u="none" strike="noStrike">
                          <a:solidFill>
                            <a:srgbClr val="102C23"/>
                          </a:solidFill>
                          <a:effectLst/>
                          <a:latin typeface="Arial" panose="020B0604020202020204" pitchFamily="34" charset="0"/>
                        </a:rPr>
                        <a:t>6704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tc>
                  <a:txBody>
                    <a:bodyPr/>
                    <a:lstStyle/>
                    <a:p>
                      <a:pPr algn="ctr" rtl="0" fontAlgn="b"/>
                      <a:r>
                        <a:rPr lang="en-CA" sz="800" b="0" i="0" u="none" strike="noStrike">
                          <a:solidFill>
                            <a:srgbClr val="102C23"/>
                          </a:solidFill>
                          <a:effectLst/>
                          <a:latin typeface="Arial" panose="020B0604020202020204" pitchFamily="34" charset="0"/>
                        </a:rPr>
                        <a:t>6820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tc>
                  <a:txBody>
                    <a:bodyPr/>
                    <a:lstStyle/>
                    <a:p>
                      <a:pPr algn="ctr" rtl="0" fontAlgn="b"/>
                      <a:r>
                        <a:rPr lang="en-CA" sz="800" b="0" i="0" u="none" strike="noStrike">
                          <a:solidFill>
                            <a:srgbClr val="102C23"/>
                          </a:solidFill>
                          <a:effectLst/>
                          <a:latin typeface="Arial" panose="020B0604020202020204" pitchFamily="34" charset="0"/>
                        </a:rPr>
                        <a:t>6935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tc>
                  <a:txBody>
                    <a:bodyPr/>
                    <a:lstStyle/>
                    <a:p>
                      <a:pPr algn="ctr" rtl="0" fontAlgn="b"/>
                      <a:r>
                        <a:rPr lang="en-CA" sz="800" b="0" i="0" u="none" strike="noStrike">
                          <a:solidFill>
                            <a:srgbClr val="102C23"/>
                          </a:solidFill>
                          <a:effectLst/>
                          <a:latin typeface="Arial" panose="020B0604020202020204" pitchFamily="34" charset="0"/>
                        </a:rPr>
                        <a:t>7051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tc>
                  <a:txBody>
                    <a:bodyPr/>
                    <a:lstStyle/>
                    <a:p>
                      <a:pPr algn="ctr" rtl="0" fontAlgn="b"/>
                      <a:r>
                        <a:rPr lang="en-CA" sz="800" b="0" i="0" u="none" strike="noStrike">
                          <a:solidFill>
                            <a:srgbClr val="102C23"/>
                          </a:solidFill>
                          <a:effectLst/>
                          <a:latin typeface="Arial" panose="020B0604020202020204" pitchFamily="34" charset="0"/>
                        </a:rPr>
                        <a:t>7167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tc>
                  <a:txBody>
                    <a:bodyPr/>
                    <a:lstStyle/>
                    <a:p>
                      <a:pPr algn="ctr" rtl="0" fontAlgn="b"/>
                      <a:r>
                        <a:rPr lang="en-CA" sz="800" b="0" i="0" u="none" strike="noStrike">
                          <a:solidFill>
                            <a:srgbClr val="102C23"/>
                          </a:solidFill>
                          <a:effectLst/>
                          <a:latin typeface="Arial" panose="020B0604020202020204" pitchFamily="34" charset="0"/>
                        </a:rPr>
                        <a:t>7282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tc>
                  <a:txBody>
                    <a:bodyPr/>
                    <a:lstStyle/>
                    <a:p>
                      <a:pPr algn="ctr" rtl="0" fontAlgn="b"/>
                      <a:r>
                        <a:rPr lang="en-CA" sz="800" b="0" i="0" u="none" strike="noStrike">
                          <a:solidFill>
                            <a:srgbClr val="102C23"/>
                          </a:solidFill>
                          <a:effectLst/>
                          <a:latin typeface="Arial" panose="020B0604020202020204" pitchFamily="34" charset="0"/>
                        </a:rPr>
                        <a:t>7398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extLst>
                  <a:ext uri="{0D108BD9-81ED-4DB2-BD59-A6C34878D82A}">
                    <a16:rowId xmlns:a16="http://schemas.microsoft.com/office/drawing/2014/main" val="94927241"/>
                  </a:ext>
                </a:extLst>
              </a:tr>
            </a:tbl>
          </a:graphicData>
        </a:graphic>
      </p:graphicFrame>
    </p:spTree>
    <p:extLst>
      <p:ext uri="{BB962C8B-B14F-4D97-AF65-F5344CB8AC3E}">
        <p14:creationId xmlns:p14="http://schemas.microsoft.com/office/powerpoint/2010/main" val="10428575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AA87043-C128-4DDD-AC73-EA5547C0D1BD}"/>
              </a:ext>
            </a:extLst>
          </p:cNvPr>
          <p:cNvSpPr>
            <a:spLocks noGrp="1"/>
          </p:cNvSpPr>
          <p:nvPr>
            <p:ph type="body" sz="quarter" idx="21"/>
          </p:nvPr>
        </p:nvSpPr>
        <p:spPr/>
        <p:txBody>
          <a:bodyPr vert="horz" lIns="91440" tIns="45720" rIns="91440" bIns="45720" rtlCol="0" anchor="t">
            <a:normAutofit/>
          </a:bodyPr>
          <a:lstStyle/>
          <a:p>
            <a:r>
              <a:rPr lang="en-US"/>
              <a:t>PV of Cost &amp; Revenue Synergies Y1 - Y10</a:t>
            </a:r>
          </a:p>
        </p:txBody>
      </p:sp>
      <p:sp>
        <p:nvSpPr>
          <p:cNvPr id="4" name="Title 3">
            <a:extLst>
              <a:ext uri="{FF2B5EF4-FFF2-40B4-BE49-F238E27FC236}">
                <a16:creationId xmlns:a16="http://schemas.microsoft.com/office/drawing/2014/main" id="{1F1E3147-30CD-6E4C-1854-DFA79E6B0B86}"/>
              </a:ext>
            </a:extLst>
          </p:cNvPr>
          <p:cNvSpPr>
            <a:spLocks noGrp="1"/>
          </p:cNvSpPr>
          <p:nvPr>
            <p:ph type="title"/>
          </p:nvPr>
        </p:nvSpPr>
        <p:spPr/>
        <p:txBody>
          <a:bodyPr/>
          <a:lstStyle/>
          <a:p>
            <a:r>
              <a:rPr lang="en-US"/>
              <a:t>Net Present Value of Acquisition</a:t>
            </a:r>
          </a:p>
        </p:txBody>
      </p:sp>
      <p:sp>
        <p:nvSpPr>
          <p:cNvPr id="5" name="Text Placeholder 4">
            <a:extLst>
              <a:ext uri="{FF2B5EF4-FFF2-40B4-BE49-F238E27FC236}">
                <a16:creationId xmlns:a16="http://schemas.microsoft.com/office/drawing/2014/main" id="{64F9989D-75FB-53F6-3C27-1661082AD556}"/>
              </a:ext>
            </a:extLst>
          </p:cNvPr>
          <p:cNvSpPr>
            <a:spLocks noGrp="1"/>
          </p:cNvSpPr>
          <p:nvPr>
            <p:ph type="body" idx="27"/>
          </p:nvPr>
        </p:nvSpPr>
        <p:spPr/>
        <p:txBody>
          <a:bodyPr/>
          <a:lstStyle/>
          <a:p>
            <a:r>
              <a:rPr lang="en-US"/>
              <a:t>Control Premium &amp; Total (USD bn)</a:t>
            </a:r>
          </a:p>
        </p:txBody>
      </p:sp>
      <p:sp>
        <p:nvSpPr>
          <p:cNvPr id="7" name="TextBox 6">
            <a:extLst>
              <a:ext uri="{FF2B5EF4-FFF2-40B4-BE49-F238E27FC236}">
                <a16:creationId xmlns:a16="http://schemas.microsoft.com/office/drawing/2014/main" id="{373772BC-0488-6408-C6DC-5E2D9C5FD536}"/>
              </a:ext>
            </a:extLst>
          </p:cNvPr>
          <p:cNvSpPr txBox="1"/>
          <p:nvPr/>
        </p:nvSpPr>
        <p:spPr>
          <a:xfrm>
            <a:off x="1163609" y="1443178"/>
            <a:ext cx="2743200" cy="3657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8" name="TextBox 7">
            <a:extLst>
              <a:ext uri="{FF2B5EF4-FFF2-40B4-BE49-F238E27FC236}">
                <a16:creationId xmlns:a16="http://schemas.microsoft.com/office/drawing/2014/main" id="{B1F1BB57-F56A-CA64-3708-0DD527157C6D}"/>
              </a:ext>
            </a:extLst>
          </p:cNvPr>
          <p:cNvSpPr txBox="1"/>
          <p:nvPr/>
        </p:nvSpPr>
        <p:spPr>
          <a:xfrm>
            <a:off x="581804" y="1314728"/>
            <a:ext cx="2743200" cy="3657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5" name="Oval 14">
            <a:extLst>
              <a:ext uri="{FF2B5EF4-FFF2-40B4-BE49-F238E27FC236}">
                <a16:creationId xmlns:a16="http://schemas.microsoft.com/office/drawing/2014/main" id="{642896CE-3588-1E33-3A44-86A1839A6F3D}"/>
              </a:ext>
            </a:extLst>
          </p:cNvPr>
          <p:cNvSpPr/>
          <p:nvPr/>
        </p:nvSpPr>
        <p:spPr>
          <a:xfrm>
            <a:off x="455254" y="949316"/>
            <a:ext cx="2371921" cy="2181407"/>
          </a:xfrm>
          <a:prstGeom prst="ellipse">
            <a:avLst/>
          </a:prstGeom>
          <a:solidFill>
            <a:srgbClr val="008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000" b="1">
                <a:latin typeface="+mj-lt"/>
                <a:cs typeface="Segoe UI"/>
              </a:rPr>
              <a:t>1.30</a:t>
            </a:r>
            <a:r>
              <a:rPr lang="en-US" sz="2800" b="1">
                <a:latin typeface="+mj-lt"/>
                <a:cs typeface="Segoe UI"/>
              </a:rPr>
              <a:t>x</a:t>
            </a:r>
            <a:endParaRPr lang="en-US" b="1">
              <a:cs typeface="Arial"/>
            </a:endParaRPr>
          </a:p>
          <a:p>
            <a:pPr algn="ctr"/>
            <a:endParaRPr lang="en-US" sz="1400">
              <a:latin typeface="+mj-lt"/>
              <a:cs typeface="Segoe UI" panose="020B0502040204020203" pitchFamily="34" charset="0"/>
            </a:endParaRPr>
          </a:p>
        </p:txBody>
      </p:sp>
      <p:sp>
        <p:nvSpPr>
          <p:cNvPr id="10" name="Oval 9">
            <a:extLst>
              <a:ext uri="{FF2B5EF4-FFF2-40B4-BE49-F238E27FC236}">
                <a16:creationId xmlns:a16="http://schemas.microsoft.com/office/drawing/2014/main" id="{F37AC5D5-32BF-C535-7AE2-52D94CB4F2AC}"/>
              </a:ext>
            </a:extLst>
          </p:cNvPr>
          <p:cNvSpPr/>
          <p:nvPr/>
        </p:nvSpPr>
        <p:spPr>
          <a:xfrm>
            <a:off x="3386037" y="929187"/>
            <a:ext cx="2371921" cy="2181407"/>
          </a:xfrm>
          <a:prstGeom prst="ellipse">
            <a:avLst/>
          </a:prstGeom>
          <a:solidFill>
            <a:srgbClr val="008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000" b="1">
                <a:latin typeface="+mj-lt"/>
                <a:cs typeface="Segoe UI"/>
              </a:rPr>
              <a:t>2,308.54</a:t>
            </a:r>
          </a:p>
          <a:p>
            <a:pPr algn="ctr"/>
            <a:endParaRPr lang="en-US" sz="1400">
              <a:latin typeface="+mj-lt"/>
              <a:cs typeface="Segoe UI" panose="020B0502040204020203" pitchFamily="34" charset="0"/>
            </a:endParaRPr>
          </a:p>
        </p:txBody>
      </p:sp>
      <p:sp>
        <p:nvSpPr>
          <p:cNvPr id="16" name="Oval 15">
            <a:extLst>
              <a:ext uri="{FF2B5EF4-FFF2-40B4-BE49-F238E27FC236}">
                <a16:creationId xmlns:a16="http://schemas.microsoft.com/office/drawing/2014/main" id="{E5F95313-C29A-5E90-5853-71AB000C2400}"/>
              </a:ext>
            </a:extLst>
          </p:cNvPr>
          <p:cNvSpPr/>
          <p:nvPr/>
        </p:nvSpPr>
        <p:spPr>
          <a:xfrm>
            <a:off x="6320806" y="952566"/>
            <a:ext cx="2371921" cy="2181407"/>
          </a:xfrm>
          <a:prstGeom prst="ellipse">
            <a:avLst/>
          </a:prstGeom>
          <a:solidFill>
            <a:srgbClr val="008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000" b="1">
                <a:latin typeface="+mj-lt"/>
                <a:cs typeface="Segoe UI"/>
              </a:rPr>
              <a:t>21,168.1</a:t>
            </a:r>
          </a:p>
          <a:p>
            <a:pPr algn="ctr"/>
            <a:endParaRPr lang="en-US" sz="1400">
              <a:latin typeface="+mj-lt"/>
              <a:cs typeface="Segoe UI" panose="020B0502040204020203" pitchFamily="34" charset="0"/>
            </a:endParaRPr>
          </a:p>
        </p:txBody>
      </p:sp>
      <p:sp>
        <p:nvSpPr>
          <p:cNvPr id="18" name="TextBox 17">
            <a:extLst>
              <a:ext uri="{FF2B5EF4-FFF2-40B4-BE49-F238E27FC236}">
                <a16:creationId xmlns:a16="http://schemas.microsoft.com/office/drawing/2014/main" id="{F9C19210-5439-18D4-8823-869BD360F1CF}"/>
              </a:ext>
            </a:extLst>
          </p:cNvPr>
          <p:cNvSpPr txBox="1"/>
          <p:nvPr/>
        </p:nvSpPr>
        <p:spPr>
          <a:xfrm>
            <a:off x="3583741" y="3164884"/>
            <a:ext cx="2102094" cy="523220"/>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400">
                <a:cs typeface="Arial"/>
              </a:rPr>
              <a:t>PV of Cost Synergies (including multiplier) </a:t>
            </a:r>
            <a:endParaRPr lang="en-US">
              <a:cs typeface="Arial"/>
            </a:endParaRPr>
          </a:p>
        </p:txBody>
      </p:sp>
      <p:sp>
        <p:nvSpPr>
          <p:cNvPr id="19" name="TextBox 18">
            <a:extLst>
              <a:ext uri="{FF2B5EF4-FFF2-40B4-BE49-F238E27FC236}">
                <a16:creationId xmlns:a16="http://schemas.microsoft.com/office/drawing/2014/main" id="{92290B90-CAD2-803F-4147-1F62F17B4B83}"/>
              </a:ext>
            </a:extLst>
          </p:cNvPr>
          <p:cNvSpPr txBox="1"/>
          <p:nvPr/>
        </p:nvSpPr>
        <p:spPr>
          <a:xfrm>
            <a:off x="562955" y="3303221"/>
            <a:ext cx="2115701" cy="307777"/>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400">
                <a:cs typeface="Arial"/>
              </a:rPr>
              <a:t>Cost Synergy Multiplier</a:t>
            </a:r>
          </a:p>
        </p:txBody>
      </p:sp>
      <p:sp>
        <p:nvSpPr>
          <p:cNvPr id="20" name="TextBox 19">
            <a:extLst>
              <a:ext uri="{FF2B5EF4-FFF2-40B4-BE49-F238E27FC236}">
                <a16:creationId xmlns:a16="http://schemas.microsoft.com/office/drawing/2014/main" id="{645DFC58-B6FB-CDF6-67EC-E346C25DF1BE}"/>
              </a:ext>
            </a:extLst>
          </p:cNvPr>
          <p:cNvSpPr txBox="1"/>
          <p:nvPr/>
        </p:nvSpPr>
        <p:spPr>
          <a:xfrm>
            <a:off x="6373204" y="3306622"/>
            <a:ext cx="2272183" cy="307777"/>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400">
                <a:cs typeface="Arial"/>
              </a:rPr>
              <a:t>PV of Revenue Synergies </a:t>
            </a:r>
            <a:endParaRPr lang="en-US">
              <a:cs typeface="Arial"/>
            </a:endParaRPr>
          </a:p>
        </p:txBody>
      </p:sp>
      <p:sp>
        <p:nvSpPr>
          <p:cNvPr id="22" name="TextBox 21">
            <a:extLst>
              <a:ext uri="{FF2B5EF4-FFF2-40B4-BE49-F238E27FC236}">
                <a16:creationId xmlns:a16="http://schemas.microsoft.com/office/drawing/2014/main" id="{324595E9-4475-E732-120A-A8C3141DE4BD}"/>
              </a:ext>
            </a:extLst>
          </p:cNvPr>
          <p:cNvSpPr txBox="1"/>
          <p:nvPr/>
        </p:nvSpPr>
        <p:spPr>
          <a:xfrm>
            <a:off x="1197626" y="4470767"/>
            <a:ext cx="2743200" cy="3657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23" name="TextBox 22">
            <a:extLst>
              <a:ext uri="{FF2B5EF4-FFF2-40B4-BE49-F238E27FC236}">
                <a16:creationId xmlns:a16="http://schemas.microsoft.com/office/drawing/2014/main" id="{FA863349-8216-46F1-9C70-0B680174BBA2}"/>
              </a:ext>
            </a:extLst>
          </p:cNvPr>
          <p:cNvSpPr txBox="1"/>
          <p:nvPr/>
        </p:nvSpPr>
        <p:spPr>
          <a:xfrm>
            <a:off x="615822" y="4342317"/>
            <a:ext cx="2743200" cy="3657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27" name="TextBox 26">
            <a:extLst>
              <a:ext uri="{FF2B5EF4-FFF2-40B4-BE49-F238E27FC236}">
                <a16:creationId xmlns:a16="http://schemas.microsoft.com/office/drawing/2014/main" id="{005E1469-FF6A-C8E8-A707-DDB8D2247547}"/>
              </a:ext>
            </a:extLst>
          </p:cNvPr>
          <p:cNvSpPr txBox="1"/>
          <p:nvPr/>
        </p:nvSpPr>
        <p:spPr>
          <a:xfrm>
            <a:off x="3604151" y="5810337"/>
            <a:ext cx="2102094" cy="307777"/>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400">
                <a:cs typeface="Arial"/>
              </a:rPr>
              <a:t>Premium Paid</a:t>
            </a:r>
          </a:p>
        </p:txBody>
      </p:sp>
      <p:sp>
        <p:nvSpPr>
          <p:cNvPr id="28" name="TextBox 27">
            <a:extLst>
              <a:ext uri="{FF2B5EF4-FFF2-40B4-BE49-F238E27FC236}">
                <a16:creationId xmlns:a16="http://schemas.microsoft.com/office/drawing/2014/main" id="{FA79AFFE-7ECD-0A5A-F689-93AA4942093B}"/>
              </a:ext>
            </a:extLst>
          </p:cNvPr>
          <p:cNvSpPr txBox="1"/>
          <p:nvPr/>
        </p:nvSpPr>
        <p:spPr>
          <a:xfrm>
            <a:off x="583365" y="5840954"/>
            <a:ext cx="2115701" cy="307777"/>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400">
                <a:cs typeface="Arial"/>
              </a:rPr>
              <a:t>PV of all Synergies</a:t>
            </a:r>
          </a:p>
        </p:txBody>
      </p:sp>
      <p:sp>
        <p:nvSpPr>
          <p:cNvPr id="29" name="TextBox 28">
            <a:extLst>
              <a:ext uri="{FF2B5EF4-FFF2-40B4-BE49-F238E27FC236}">
                <a16:creationId xmlns:a16="http://schemas.microsoft.com/office/drawing/2014/main" id="{1D2D41FF-E945-9BD4-DB10-ECD97EBE82E0}"/>
              </a:ext>
            </a:extLst>
          </p:cNvPr>
          <p:cNvSpPr txBox="1"/>
          <p:nvPr/>
        </p:nvSpPr>
        <p:spPr>
          <a:xfrm>
            <a:off x="6393615" y="5844354"/>
            <a:ext cx="2272183" cy="307777"/>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400">
                <a:cs typeface="Arial"/>
              </a:rPr>
              <a:t>NPV of Deal</a:t>
            </a:r>
          </a:p>
        </p:txBody>
      </p:sp>
      <p:sp>
        <p:nvSpPr>
          <p:cNvPr id="32" name="Triangle 40">
            <a:extLst>
              <a:ext uri="{FF2B5EF4-FFF2-40B4-BE49-F238E27FC236}">
                <a16:creationId xmlns:a16="http://schemas.microsoft.com/office/drawing/2014/main" id="{B87538FE-A6E8-CCC4-42F1-8B7D67D1E4CA}"/>
              </a:ext>
            </a:extLst>
          </p:cNvPr>
          <p:cNvSpPr/>
          <p:nvPr/>
        </p:nvSpPr>
        <p:spPr>
          <a:xfrm rot="5400000">
            <a:off x="5756171" y="5013895"/>
            <a:ext cx="660953" cy="244706"/>
          </a:xfrm>
          <a:prstGeom prst="triangle">
            <a:avLst/>
          </a:prstGeom>
          <a:solidFill>
            <a:srgbClr val="102C23"/>
          </a:solidFill>
          <a:ln>
            <a:solidFill>
              <a:srgbClr val="102C2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4" name="Minus 10">
            <a:extLst>
              <a:ext uri="{FF2B5EF4-FFF2-40B4-BE49-F238E27FC236}">
                <a16:creationId xmlns:a16="http://schemas.microsoft.com/office/drawing/2014/main" id="{50091877-0CBA-B3E2-5789-B49FC7B31B26}"/>
              </a:ext>
            </a:extLst>
          </p:cNvPr>
          <p:cNvSpPr/>
          <p:nvPr/>
        </p:nvSpPr>
        <p:spPr>
          <a:xfrm>
            <a:off x="2762443" y="4979853"/>
            <a:ext cx="642551" cy="325947"/>
          </a:xfrm>
          <a:prstGeom prst="mathMin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5" name="Rectangle 34">
            <a:extLst>
              <a:ext uri="{FF2B5EF4-FFF2-40B4-BE49-F238E27FC236}">
                <a16:creationId xmlns:a16="http://schemas.microsoft.com/office/drawing/2014/main" id="{E560CC23-FE03-BD2C-311A-C5274020C605}"/>
              </a:ext>
            </a:extLst>
          </p:cNvPr>
          <p:cNvSpPr/>
          <p:nvPr/>
        </p:nvSpPr>
        <p:spPr>
          <a:xfrm>
            <a:off x="3524845" y="4687314"/>
            <a:ext cx="2099942" cy="984392"/>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t>$10,862.52</a:t>
            </a:r>
          </a:p>
        </p:txBody>
      </p:sp>
      <p:sp>
        <p:nvSpPr>
          <p:cNvPr id="36" name="Rectangle 35">
            <a:extLst>
              <a:ext uri="{FF2B5EF4-FFF2-40B4-BE49-F238E27FC236}">
                <a16:creationId xmlns:a16="http://schemas.microsoft.com/office/drawing/2014/main" id="{5B7AD90A-6FF4-8834-7204-9DFCDA331EF3}"/>
              </a:ext>
            </a:extLst>
          </p:cNvPr>
          <p:cNvSpPr/>
          <p:nvPr/>
        </p:nvSpPr>
        <p:spPr>
          <a:xfrm>
            <a:off x="573189" y="4687313"/>
            <a:ext cx="2099942" cy="984392"/>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cs typeface="Arial"/>
              </a:rPr>
              <a:t>$</a:t>
            </a:r>
            <a:r>
              <a:rPr lang="en-US"/>
              <a:t> 23,476.64</a:t>
            </a:r>
            <a:endParaRPr lang="en-US">
              <a:cs typeface="Arial"/>
            </a:endParaRPr>
          </a:p>
        </p:txBody>
      </p:sp>
      <p:sp>
        <p:nvSpPr>
          <p:cNvPr id="37" name="Rectangle 36">
            <a:extLst>
              <a:ext uri="{FF2B5EF4-FFF2-40B4-BE49-F238E27FC236}">
                <a16:creationId xmlns:a16="http://schemas.microsoft.com/office/drawing/2014/main" id="{72E82B11-3CB7-08BE-7C9F-B8DC72E5341C}"/>
              </a:ext>
            </a:extLst>
          </p:cNvPr>
          <p:cNvSpPr/>
          <p:nvPr/>
        </p:nvSpPr>
        <p:spPr>
          <a:xfrm>
            <a:off x="6476501" y="4687313"/>
            <a:ext cx="2099942" cy="984392"/>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t>$12,614.12</a:t>
            </a:r>
          </a:p>
        </p:txBody>
      </p:sp>
    </p:spTree>
    <p:extLst>
      <p:ext uri="{BB962C8B-B14F-4D97-AF65-F5344CB8AC3E}">
        <p14:creationId xmlns:p14="http://schemas.microsoft.com/office/powerpoint/2010/main" val="16087664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C1FADC1-399A-6B7D-6C72-9A90E555A455}"/>
              </a:ext>
            </a:extLst>
          </p:cNvPr>
          <p:cNvSpPr>
            <a:spLocks noGrp="1"/>
          </p:cNvSpPr>
          <p:nvPr>
            <p:ph type="body" sz="quarter" idx="13"/>
          </p:nvPr>
        </p:nvSpPr>
        <p:spPr/>
        <p:txBody>
          <a:bodyPr/>
          <a:lstStyle/>
          <a:p>
            <a:r>
              <a:rPr lang="en-US"/>
              <a:t>Source(s): Capital IQ, </a:t>
            </a:r>
            <a:r>
              <a:rPr lang="en-US" err="1"/>
              <a:t>PitchBook</a:t>
            </a:r>
            <a:r>
              <a:rPr lang="en-US"/>
              <a:t>, Bloomberg</a:t>
            </a:r>
          </a:p>
          <a:p>
            <a:endParaRPr lang="en-US"/>
          </a:p>
        </p:txBody>
      </p:sp>
      <p:sp>
        <p:nvSpPr>
          <p:cNvPr id="9" name="Text Placeholder 8">
            <a:extLst>
              <a:ext uri="{FF2B5EF4-FFF2-40B4-BE49-F238E27FC236}">
                <a16:creationId xmlns:a16="http://schemas.microsoft.com/office/drawing/2014/main" id="{87115979-9F7E-B653-38A8-7055EEE32051}"/>
              </a:ext>
            </a:extLst>
          </p:cNvPr>
          <p:cNvSpPr>
            <a:spLocks noGrp="1"/>
          </p:cNvSpPr>
          <p:nvPr>
            <p:ph type="body" sz="quarter" idx="21"/>
          </p:nvPr>
        </p:nvSpPr>
        <p:spPr/>
        <p:txBody>
          <a:bodyPr/>
          <a:lstStyle/>
          <a:p>
            <a:r>
              <a:rPr lang="en-US"/>
              <a:t>Optimizing Excess Cash, Debt and Equity</a:t>
            </a:r>
          </a:p>
        </p:txBody>
      </p:sp>
      <p:sp>
        <p:nvSpPr>
          <p:cNvPr id="7" name="Title 6">
            <a:extLst>
              <a:ext uri="{FF2B5EF4-FFF2-40B4-BE49-F238E27FC236}">
                <a16:creationId xmlns:a16="http://schemas.microsoft.com/office/drawing/2014/main" id="{22A2C65A-FAED-0DB1-1399-8B361FB5117C}"/>
              </a:ext>
            </a:extLst>
          </p:cNvPr>
          <p:cNvSpPr>
            <a:spLocks noGrp="1"/>
          </p:cNvSpPr>
          <p:nvPr>
            <p:ph type="title"/>
          </p:nvPr>
        </p:nvSpPr>
        <p:spPr/>
        <p:txBody>
          <a:bodyPr/>
          <a:lstStyle/>
          <a:p>
            <a:r>
              <a:rPr lang="en-US"/>
              <a:t>M&amp;A Financing</a:t>
            </a:r>
          </a:p>
        </p:txBody>
      </p:sp>
      <p:sp>
        <p:nvSpPr>
          <p:cNvPr id="10" name="Text Placeholder 9">
            <a:extLst>
              <a:ext uri="{FF2B5EF4-FFF2-40B4-BE49-F238E27FC236}">
                <a16:creationId xmlns:a16="http://schemas.microsoft.com/office/drawing/2014/main" id="{DE44CE6E-7600-6A4D-A9F0-808FAAA234B4}"/>
              </a:ext>
            </a:extLst>
          </p:cNvPr>
          <p:cNvSpPr>
            <a:spLocks noGrp="1"/>
          </p:cNvSpPr>
          <p:nvPr>
            <p:ph type="body" idx="22"/>
          </p:nvPr>
        </p:nvSpPr>
        <p:spPr/>
        <p:txBody>
          <a:bodyPr/>
          <a:lstStyle/>
          <a:p>
            <a:r>
              <a:rPr lang="en-US"/>
              <a:t>Maximum Debt Raising </a:t>
            </a:r>
          </a:p>
        </p:txBody>
      </p:sp>
      <p:sp>
        <p:nvSpPr>
          <p:cNvPr id="12" name="Text Placeholder 11">
            <a:extLst>
              <a:ext uri="{FF2B5EF4-FFF2-40B4-BE49-F238E27FC236}">
                <a16:creationId xmlns:a16="http://schemas.microsoft.com/office/drawing/2014/main" id="{2BD02593-F42A-73A6-6241-48387F6559F6}"/>
              </a:ext>
            </a:extLst>
          </p:cNvPr>
          <p:cNvSpPr>
            <a:spLocks noGrp="1"/>
          </p:cNvSpPr>
          <p:nvPr>
            <p:ph type="body" idx="26"/>
          </p:nvPr>
        </p:nvSpPr>
        <p:spPr/>
        <p:txBody>
          <a:bodyPr/>
          <a:lstStyle/>
          <a:p>
            <a:r>
              <a:rPr lang="en-US"/>
              <a:t>Shopify’s Excess Cash</a:t>
            </a:r>
          </a:p>
        </p:txBody>
      </p:sp>
      <p:sp>
        <p:nvSpPr>
          <p:cNvPr id="3" name="Text Placeholder 2">
            <a:extLst>
              <a:ext uri="{FF2B5EF4-FFF2-40B4-BE49-F238E27FC236}">
                <a16:creationId xmlns:a16="http://schemas.microsoft.com/office/drawing/2014/main" id="{5F38FCEE-2874-1445-EDD1-5980B7C0E1DE}"/>
              </a:ext>
            </a:extLst>
          </p:cNvPr>
          <p:cNvSpPr>
            <a:spLocks noGrp="1"/>
          </p:cNvSpPr>
          <p:nvPr>
            <p:ph type="body" idx="27"/>
          </p:nvPr>
        </p:nvSpPr>
        <p:spPr/>
        <p:txBody>
          <a:bodyPr/>
          <a:lstStyle/>
          <a:p>
            <a:r>
              <a:rPr lang="en-US"/>
              <a:t>Sensitivity Analysis - Max Debt (Interest Rate on Debt/Maximum Interest Expense)</a:t>
            </a:r>
          </a:p>
        </p:txBody>
      </p:sp>
      <p:graphicFrame>
        <p:nvGraphicFramePr>
          <p:cNvPr id="24" name="Content Placeholder 23">
            <a:extLst>
              <a:ext uri="{FF2B5EF4-FFF2-40B4-BE49-F238E27FC236}">
                <a16:creationId xmlns:a16="http://schemas.microsoft.com/office/drawing/2014/main" id="{7C59455E-FF07-C056-6D59-43FE5AF8512D}"/>
              </a:ext>
            </a:extLst>
          </p:cNvPr>
          <p:cNvGraphicFramePr>
            <a:graphicFrameLocks noGrp="1"/>
          </p:cNvGraphicFramePr>
          <p:nvPr>
            <p:ph sz="quarter" idx="28"/>
            <p:extLst>
              <p:ext uri="{D42A27DB-BD31-4B8C-83A1-F6EECF244321}">
                <p14:modId xmlns:p14="http://schemas.microsoft.com/office/powerpoint/2010/main" val="1880520749"/>
              </p:ext>
            </p:extLst>
          </p:nvPr>
        </p:nvGraphicFramePr>
        <p:xfrm>
          <a:off x="4751388" y="1384301"/>
          <a:ext cx="4141786" cy="2044701"/>
        </p:xfrm>
        <a:graphic>
          <a:graphicData uri="http://schemas.openxmlformats.org/drawingml/2006/table">
            <a:tbl>
              <a:tblPr/>
              <a:tblGrid>
                <a:gridCol w="3091246">
                  <a:extLst>
                    <a:ext uri="{9D8B030D-6E8A-4147-A177-3AD203B41FA5}">
                      <a16:colId xmlns:a16="http://schemas.microsoft.com/office/drawing/2014/main" val="2652583963"/>
                    </a:ext>
                  </a:extLst>
                </a:gridCol>
                <a:gridCol w="1050540">
                  <a:extLst>
                    <a:ext uri="{9D8B030D-6E8A-4147-A177-3AD203B41FA5}">
                      <a16:colId xmlns:a16="http://schemas.microsoft.com/office/drawing/2014/main" val="2614072303"/>
                    </a:ext>
                  </a:extLst>
                </a:gridCol>
              </a:tblGrid>
              <a:tr h="273640">
                <a:tc>
                  <a:txBody>
                    <a:bodyPr/>
                    <a:lstStyle/>
                    <a:p>
                      <a:pPr algn="l" fontAlgn="b"/>
                      <a:r>
                        <a:rPr lang="en-CA" sz="900" b="0" i="1" u="none" strike="noStrike" err="1">
                          <a:solidFill>
                            <a:schemeClr val="bg1"/>
                          </a:solidFill>
                          <a:effectLst/>
                          <a:latin typeface="Arial" panose="020B0604020202020204" pitchFamily="34" charset="0"/>
                        </a:rPr>
                        <a:t>usd</a:t>
                      </a:r>
                      <a:r>
                        <a:rPr lang="en-CA" sz="900" b="0" i="1" u="none" strike="noStrike">
                          <a:solidFill>
                            <a:schemeClr val="bg1"/>
                          </a:solidFill>
                          <a:effectLst/>
                          <a:latin typeface="Arial" panose="020B0604020202020204" pitchFamily="34" charset="0"/>
                        </a:rPr>
                        <a:t> mm</a:t>
                      </a:r>
                    </a:p>
                  </a:txBody>
                  <a:tcPr marL="0" marR="0" marT="0" marB="0" anchor="ctr">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tx2"/>
                    </a:solidFill>
                  </a:tcPr>
                </a:tc>
                <a:tc>
                  <a:txBody>
                    <a:bodyPr/>
                    <a:lstStyle/>
                    <a:p>
                      <a:pPr algn="r" fontAlgn="b"/>
                      <a:r>
                        <a:rPr lang="en-CA" sz="900" b="0" i="0" u="none" strike="noStrike">
                          <a:solidFill>
                            <a:schemeClr val="bg1"/>
                          </a:solidFill>
                          <a:effectLst/>
                          <a:latin typeface="Arial" panose="020B0604020202020204" pitchFamily="34" charset="0"/>
                        </a:rPr>
                        <a:t>2024A</a:t>
                      </a:r>
                    </a:p>
                  </a:txBody>
                  <a:tcPr marL="0" marR="0" marT="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271238972"/>
                  </a:ext>
                </a:extLst>
              </a:tr>
              <a:tr h="368971">
                <a:tc>
                  <a:txBody>
                    <a:bodyPr/>
                    <a:lstStyle/>
                    <a:p>
                      <a:pPr algn="l" fontAlgn="b"/>
                      <a:r>
                        <a:rPr lang="en-CA" sz="900" b="0" i="0" u="none" strike="noStrike">
                          <a:solidFill>
                            <a:schemeClr val="tx2"/>
                          </a:solidFill>
                          <a:effectLst/>
                          <a:latin typeface="Arial" panose="020B0604020202020204" pitchFamily="34" charset="0"/>
                        </a:rPr>
                        <a:t>EBIT</a:t>
                      </a:r>
                    </a:p>
                  </a:txBody>
                  <a:tcPr marL="0" marR="0" marT="0" marB="0" anchor="ctr">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tc>
                  <a:txBody>
                    <a:bodyPr/>
                    <a:lstStyle/>
                    <a:p>
                      <a:pPr algn="r" fontAlgn="b"/>
                      <a:r>
                        <a:rPr lang="en-CA" sz="900" b="0" i="0" u="none" strike="noStrike">
                          <a:solidFill>
                            <a:schemeClr val="tx2"/>
                          </a:solidFill>
                          <a:effectLst/>
                          <a:latin typeface="Arial" panose="020B0604020202020204" pitchFamily="34" charset="0"/>
                        </a:rPr>
                        <a:t>1,075.0 </a:t>
                      </a:r>
                    </a:p>
                  </a:txBody>
                  <a:tcPr marL="0" marR="0" marT="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05770874"/>
                  </a:ext>
                </a:extLst>
              </a:tr>
              <a:tr h="344373">
                <a:tc>
                  <a:txBody>
                    <a:bodyPr/>
                    <a:lstStyle/>
                    <a:p>
                      <a:pPr algn="l" fontAlgn="b"/>
                      <a:r>
                        <a:rPr lang="en-CA" sz="900" b="0" i="0" u="none" strike="noStrike">
                          <a:solidFill>
                            <a:schemeClr val="tx2"/>
                          </a:solidFill>
                          <a:effectLst/>
                          <a:latin typeface="Arial" panose="020B0604020202020204" pitchFamily="34" charset="0"/>
                        </a:rPr>
                        <a:t>Target ICR</a:t>
                      </a:r>
                    </a:p>
                  </a:txBody>
                  <a:tcPr marL="0" marR="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r" fontAlgn="b"/>
                      <a:r>
                        <a:rPr lang="en-CA" sz="900" b="0" i="0" u="none" strike="noStrike">
                          <a:solidFill>
                            <a:schemeClr val="tx2"/>
                          </a:solidFill>
                          <a:effectLst/>
                          <a:latin typeface="Arial" panose="020B0604020202020204" pitchFamily="34" charset="0"/>
                        </a:rPr>
                        <a:t>5.0x</a:t>
                      </a:r>
                    </a:p>
                  </a:txBody>
                  <a:tcPr marL="0" marR="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719272519"/>
                  </a:ext>
                </a:extLst>
              </a:tr>
              <a:tr h="344373">
                <a:tc>
                  <a:txBody>
                    <a:bodyPr/>
                    <a:lstStyle/>
                    <a:p>
                      <a:pPr algn="l" fontAlgn="b"/>
                      <a:r>
                        <a:rPr lang="en-CA" sz="900" b="0" i="0" u="none" strike="noStrike">
                          <a:solidFill>
                            <a:schemeClr val="tx2"/>
                          </a:solidFill>
                          <a:effectLst/>
                          <a:latin typeface="Arial" panose="020B0604020202020204" pitchFamily="34" charset="0"/>
                        </a:rPr>
                        <a:t>Interest Rate Assumption</a:t>
                      </a:r>
                    </a:p>
                  </a:txBody>
                  <a:tcPr marL="0" marR="0" marT="0" marB="0" anchor="ctr">
                    <a:lnL w="635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r" fontAlgn="b"/>
                      <a:r>
                        <a:rPr lang="en-CA" sz="900" b="0" i="0" u="none" strike="noStrike">
                          <a:solidFill>
                            <a:schemeClr val="tx2"/>
                          </a:solidFill>
                          <a:effectLst/>
                          <a:latin typeface="Arial" panose="020B0604020202020204" pitchFamily="34" charset="0"/>
                        </a:rPr>
                        <a:t>6.00%</a:t>
                      </a:r>
                    </a:p>
                  </a:txBody>
                  <a:tcPr marL="0" marR="0" marT="0" marB="0" anchor="ctr">
                    <a:lnL>
                      <a:noFill/>
                    </a:lnL>
                    <a:lnR w="635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370550821"/>
                  </a:ext>
                </a:extLst>
              </a:tr>
              <a:tr h="344373">
                <a:tc>
                  <a:txBody>
                    <a:bodyPr/>
                    <a:lstStyle/>
                    <a:p>
                      <a:pPr algn="l" fontAlgn="b"/>
                      <a:r>
                        <a:rPr lang="en-CA" sz="900" b="0" i="0" u="none" strike="noStrike">
                          <a:solidFill>
                            <a:schemeClr val="tx2"/>
                          </a:solidFill>
                          <a:effectLst/>
                          <a:latin typeface="Arial" panose="020B0604020202020204" pitchFamily="34" charset="0"/>
                        </a:rPr>
                        <a:t>Maximum Allowable Interest Expense</a:t>
                      </a:r>
                    </a:p>
                  </a:txBody>
                  <a:tcPr marL="0" marR="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r" fontAlgn="b"/>
                      <a:r>
                        <a:rPr lang="en-CA" sz="900" b="0" i="0" u="none" strike="noStrike">
                          <a:solidFill>
                            <a:schemeClr val="tx2"/>
                          </a:solidFill>
                          <a:effectLst/>
                          <a:latin typeface="Arial" panose="020B0604020202020204" pitchFamily="34" charset="0"/>
                        </a:rPr>
                        <a:t>215.0 </a:t>
                      </a:r>
                    </a:p>
                  </a:txBody>
                  <a:tcPr marL="0" marR="0" marT="0" marB="0" anchor="ctr">
                    <a:lnL>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5392751"/>
                  </a:ext>
                </a:extLst>
              </a:tr>
              <a:tr h="368971">
                <a:tc>
                  <a:txBody>
                    <a:bodyPr/>
                    <a:lstStyle/>
                    <a:p>
                      <a:pPr algn="l" fontAlgn="b"/>
                      <a:r>
                        <a:rPr lang="en-CA" sz="900" b="1" i="0" u="none" strike="noStrike">
                          <a:solidFill>
                            <a:schemeClr val="tx2"/>
                          </a:solidFill>
                          <a:effectLst/>
                          <a:latin typeface="Arial" panose="020B0604020202020204" pitchFamily="34" charset="0"/>
                        </a:rPr>
                        <a:t>Maximum Debt</a:t>
                      </a:r>
                    </a:p>
                  </a:txBody>
                  <a:tcPr marL="0" marR="0" marT="0" marB="0" anchor="ctr">
                    <a:lnL w="6350" cap="flat" cmpd="sng" algn="ctr">
                      <a:noFill/>
                      <a:prstDash val="solid"/>
                      <a:round/>
                      <a:headEnd type="none" w="med" len="med"/>
                      <a:tailEnd type="none" w="med" len="med"/>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r" fontAlgn="b"/>
                      <a:r>
                        <a:rPr lang="en-CA" sz="900" b="1" i="0" u="none" strike="noStrike">
                          <a:solidFill>
                            <a:schemeClr val="tx2"/>
                          </a:solidFill>
                          <a:effectLst/>
                          <a:latin typeface="Arial" panose="020B0604020202020204" pitchFamily="34" charset="0"/>
                        </a:rPr>
                        <a:t>3,583.3 </a:t>
                      </a:r>
                    </a:p>
                  </a:txBody>
                  <a:tcPr marL="0" marR="0" marT="0" marB="0" anchor="ct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70133699"/>
                  </a:ext>
                </a:extLst>
              </a:tr>
            </a:tbl>
          </a:graphicData>
        </a:graphic>
      </p:graphicFrame>
      <p:graphicFrame>
        <p:nvGraphicFramePr>
          <p:cNvPr id="19" name="Content Placeholder 18">
            <a:extLst>
              <a:ext uri="{FF2B5EF4-FFF2-40B4-BE49-F238E27FC236}">
                <a16:creationId xmlns:a16="http://schemas.microsoft.com/office/drawing/2014/main" id="{13859A5B-7537-8969-C37D-60AC46A8A97C}"/>
              </a:ext>
            </a:extLst>
          </p:cNvPr>
          <p:cNvGraphicFramePr>
            <a:graphicFrameLocks noGrp="1"/>
          </p:cNvGraphicFramePr>
          <p:nvPr>
            <p:ph sz="quarter" idx="23"/>
            <p:extLst>
              <p:ext uri="{D42A27DB-BD31-4B8C-83A1-F6EECF244321}">
                <p14:modId xmlns:p14="http://schemas.microsoft.com/office/powerpoint/2010/main" val="1033476770"/>
              </p:ext>
            </p:extLst>
          </p:nvPr>
        </p:nvGraphicFramePr>
        <p:xfrm>
          <a:off x="250825" y="1384299"/>
          <a:ext cx="4141786" cy="2044700"/>
        </p:xfrm>
        <a:graphic>
          <a:graphicData uri="http://schemas.openxmlformats.org/drawingml/2006/table">
            <a:tbl>
              <a:tblPr/>
              <a:tblGrid>
                <a:gridCol w="3038377">
                  <a:extLst>
                    <a:ext uri="{9D8B030D-6E8A-4147-A177-3AD203B41FA5}">
                      <a16:colId xmlns:a16="http://schemas.microsoft.com/office/drawing/2014/main" val="1605720809"/>
                    </a:ext>
                  </a:extLst>
                </a:gridCol>
                <a:gridCol w="1103409">
                  <a:extLst>
                    <a:ext uri="{9D8B030D-6E8A-4147-A177-3AD203B41FA5}">
                      <a16:colId xmlns:a16="http://schemas.microsoft.com/office/drawing/2014/main" val="2319932533"/>
                    </a:ext>
                  </a:extLst>
                </a:gridCol>
              </a:tblGrid>
              <a:tr h="292100">
                <a:tc>
                  <a:txBody>
                    <a:bodyPr/>
                    <a:lstStyle/>
                    <a:p>
                      <a:pPr algn="l" fontAlgn="b"/>
                      <a:r>
                        <a:rPr lang="en-CA" sz="900" b="0" i="1" u="none" strike="noStrike">
                          <a:solidFill>
                            <a:srgbClr val="FFFFFF"/>
                          </a:solidFill>
                          <a:effectLst/>
                          <a:latin typeface="Arial" panose="020B0604020202020204" pitchFamily="34" charset="0"/>
                        </a:rPr>
                        <a:t>usd mm</a:t>
                      </a:r>
                    </a:p>
                  </a:txBody>
                  <a:tcPr marL="0" marR="0" marT="0" marB="0" anchor="ctr">
                    <a:lnL>
                      <a:noFill/>
                    </a:lnL>
                    <a:lnR>
                      <a:noFill/>
                    </a:lnR>
                    <a:lnT>
                      <a:noFill/>
                    </a:lnT>
                    <a:lnB>
                      <a:noFill/>
                    </a:lnB>
                    <a:solidFill>
                      <a:srgbClr val="102C23"/>
                    </a:solidFill>
                  </a:tcPr>
                </a:tc>
                <a:tc>
                  <a:txBody>
                    <a:bodyPr/>
                    <a:lstStyle/>
                    <a:p>
                      <a:pPr algn="r" fontAlgn="b"/>
                      <a:r>
                        <a:rPr lang="en-CA" sz="900" b="0" i="0" u="none" strike="noStrike">
                          <a:solidFill>
                            <a:srgbClr val="FFFFFF"/>
                          </a:solidFill>
                          <a:effectLst/>
                          <a:latin typeface="Arial" panose="020B0604020202020204" pitchFamily="34" charset="0"/>
                        </a:rPr>
                        <a:t>2024A</a:t>
                      </a:r>
                    </a:p>
                  </a:txBody>
                  <a:tcPr marL="0" marR="0" marT="0" marB="0" anchor="ctr">
                    <a:lnL>
                      <a:noFill/>
                    </a:lnL>
                    <a:lnR>
                      <a:noFill/>
                    </a:lnR>
                    <a:lnT>
                      <a:noFill/>
                    </a:lnT>
                    <a:lnB>
                      <a:noFill/>
                    </a:lnB>
                    <a:solidFill>
                      <a:srgbClr val="102C23"/>
                    </a:solidFill>
                  </a:tcPr>
                </a:tc>
                <a:extLst>
                  <a:ext uri="{0D108BD9-81ED-4DB2-BD59-A6C34878D82A}">
                    <a16:rowId xmlns:a16="http://schemas.microsoft.com/office/drawing/2014/main" val="3143791890"/>
                  </a:ext>
                </a:extLst>
              </a:tr>
              <a:tr h="292100">
                <a:tc>
                  <a:txBody>
                    <a:bodyPr/>
                    <a:lstStyle/>
                    <a:p>
                      <a:pPr algn="l" fontAlgn="b"/>
                      <a:r>
                        <a:rPr lang="en-CA" sz="900" b="0" i="0" u="none" strike="noStrike">
                          <a:solidFill>
                            <a:srgbClr val="000000"/>
                          </a:solidFill>
                          <a:effectLst/>
                          <a:latin typeface="Arial" panose="020B0604020202020204" pitchFamily="34" charset="0"/>
                        </a:rPr>
                        <a:t>Cash and Equivalents</a:t>
                      </a:r>
                    </a:p>
                  </a:txBody>
                  <a:tcPr marL="0" marR="0" marT="0" marB="0" anchor="ctr">
                    <a:lnL>
                      <a:noFill/>
                    </a:lnL>
                    <a:lnR>
                      <a:noFill/>
                    </a:lnR>
                    <a:lnT>
                      <a:noFill/>
                    </a:lnT>
                    <a:lnB>
                      <a:noFill/>
                    </a:lnB>
                    <a:solidFill>
                      <a:srgbClr val="D8FAE5"/>
                    </a:solidFill>
                  </a:tcPr>
                </a:tc>
                <a:tc>
                  <a:txBody>
                    <a:bodyPr/>
                    <a:lstStyle/>
                    <a:p>
                      <a:pPr algn="r" fontAlgn="b"/>
                      <a:r>
                        <a:rPr lang="en-CA" sz="900" b="0" i="0" u="none" strike="noStrike">
                          <a:solidFill>
                            <a:srgbClr val="000000"/>
                          </a:solidFill>
                          <a:effectLst/>
                          <a:latin typeface="Arial" panose="020B0604020202020204" pitchFamily="34" charset="0"/>
                        </a:rPr>
                        <a:t>1,498.0 </a:t>
                      </a:r>
                    </a:p>
                  </a:txBody>
                  <a:tcPr marL="0" marR="0" marT="0" marB="0" anchor="ctr">
                    <a:lnL>
                      <a:noFill/>
                    </a:lnL>
                    <a:lnR>
                      <a:noFill/>
                    </a:lnR>
                    <a:lnT>
                      <a:noFill/>
                    </a:lnT>
                    <a:lnB>
                      <a:noFill/>
                    </a:lnB>
                    <a:solidFill>
                      <a:srgbClr val="D8FAE5"/>
                    </a:solidFill>
                  </a:tcPr>
                </a:tc>
                <a:extLst>
                  <a:ext uri="{0D108BD9-81ED-4DB2-BD59-A6C34878D82A}">
                    <a16:rowId xmlns:a16="http://schemas.microsoft.com/office/drawing/2014/main" val="3658943538"/>
                  </a:ext>
                </a:extLst>
              </a:tr>
              <a:tr h="292100">
                <a:tc>
                  <a:txBody>
                    <a:bodyPr/>
                    <a:lstStyle/>
                    <a:p>
                      <a:pPr algn="l" fontAlgn="b"/>
                      <a:r>
                        <a:rPr lang="en-CA" sz="900" b="0" i="0" u="none" strike="noStrike">
                          <a:solidFill>
                            <a:srgbClr val="000000"/>
                          </a:solidFill>
                          <a:effectLst/>
                          <a:latin typeface="Arial" panose="020B0604020202020204" pitchFamily="34" charset="0"/>
                        </a:rPr>
                        <a:t>Marketable Securities</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900" b="0" i="0" u="none" strike="noStrike">
                          <a:solidFill>
                            <a:srgbClr val="000000"/>
                          </a:solidFill>
                          <a:effectLst/>
                          <a:latin typeface="Arial" panose="020B0604020202020204" pitchFamily="34" charset="0"/>
                        </a:rPr>
                        <a:t>3,981.0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8437155"/>
                  </a:ext>
                </a:extLst>
              </a:tr>
              <a:tr h="292100">
                <a:tc>
                  <a:txBody>
                    <a:bodyPr/>
                    <a:lstStyle/>
                    <a:p>
                      <a:pPr algn="l" fontAlgn="b"/>
                      <a:r>
                        <a:rPr lang="en-CA" sz="900" b="1" i="0" u="none" strike="noStrike">
                          <a:solidFill>
                            <a:srgbClr val="000000"/>
                          </a:solidFill>
                          <a:effectLst/>
                          <a:latin typeface="Arial" panose="020B0604020202020204" pitchFamily="34" charset="0"/>
                        </a:rPr>
                        <a:t>Total Cash</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D8FAE5"/>
                    </a:solidFill>
                  </a:tcPr>
                </a:tc>
                <a:tc>
                  <a:txBody>
                    <a:bodyPr/>
                    <a:lstStyle/>
                    <a:p>
                      <a:pPr algn="r" fontAlgn="b"/>
                      <a:r>
                        <a:rPr lang="en-CA" sz="900" b="1" i="0" u="none" strike="noStrike">
                          <a:solidFill>
                            <a:srgbClr val="000000"/>
                          </a:solidFill>
                          <a:effectLst/>
                          <a:latin typeface="Arial" panose="020B0604020202020204" pitchFamily="34" charset="0"/>
                        </a:rPr>
                        <a:t>5,479.0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D8FAE5"/>
                    </a:solidFill>
                  </a:tcPr>
                </a:tc>
                <a:extLst>
                  <a:ext uri="{0D108BD9-81ED-4DB2-BD59-A6C34878D82A}">
                    <a16:rowId xmlns:a16="http://schemas.microsoft.com/office/drawing/2014/main" val="3658769535"/>
                  </a:ext>
                </a:extLst>
              </a:tr>
              <a:tr h="292100">
                <a:tc>
                  <a:txBody>
                    <a:bodyPr/>
                    <a:lstStyle/>
                    <a:p>
                      <a:pPr algn="l" fontAlgn="b"/>
                      <a:r>
                        <a:rPr lang="en-CA" sz="900" b="0" i="0" u="none" strike="noStrike">
                          <a:solidFill>
                            <a:srgbClr val="000000"/>
                          </a:solidFill>
                          <a:effectLst/>
                          <a:latin typeface="Arial" panose="020B0604020202020204" pitchFamily="34" charset="0"/>
                        </a:rPr>
                        <a:t>Minimum Cash (Daily)</a:t>
                      </a:r>
                    </a:p>
                  </a:txBody>
                  <a:tcPr marL="0" marR="0" marT="0" marB="0" anchor="ctr">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81.3 </a:t>
                      </a:r>
                    </a:p>
                  </a:txBody>
                  <a:tcPr marL="0" marR="0" marT="0" marB="0" anchor="ctr">
                    <a:lnL>
                      <a:noFill/>
                    </a:lnL>
                    <a:lnR>
                      <a:noFill/>
                    </a:lnR>
                    <a:lnT>
                      <a:noFill/>
                    </a:lnT>
                    <a:lnB>
                      <a:noFill/>
                    </a:lnB>
                    <a:noFill/>
                  </a:tcPr>
                </a:tc>
                <a:extLst>
                  <a:ext uri="{0D108BD9-81ED-4DB2-BD59-A6C34878D82A}">
                    <a16:rowId xmlns:a16="http://schemas.microsoft.com/office/drawing/2014/main" val="397525496"/>
                  </a:ext>
                </a:extLst>
              </a:tr>
              <a:tr h="292100">
                <a:tc>
                  <a:txBody>
                    <a:bodyPr/>
                    <a:lstStyle/>
                    <a:p>
                      <a:pPr algn="l" fontAlgn="b"/>
                      <a:r>
                        <a:rPr lang="en-CA" sz="900" b="0" i="0" u="none" strike="noStrike">
                          <a:solidFill>
                            <a:srgbClr val="000000"/>
                          </a:solidFill>
                          <a:effectLst/>
                          <a:latin typeface="Arial" panose="020B0604020202020204" pitchFamily="34" charset="0"/>
                        </a:rPr>
                        <a:t>Buffer (IB fees)</a:t>
                      </a:r>
                    </a:p>
                  </a:txBody>
                  <a:tcPr marL="0" marR="0" marT="0" marB="0" anchor="ctr">
                    <a:lnL>
                      <a:noFill/>
                    </a:lnL>
                    <a:lnR>
                      <a:noFill/>
                    </a:lnR>
                    <a:lnT>
                      <a:noFill/>
                    </a:lnT>
                    <a:lnB>
                      <a:noFill/>
                    </a:lnB>
                    <a:solidFill>
                      <a:schemeClr val="accent5">
                        <a:lumMod val="10000"/>
                        <a:lumOff val="90000"/>
                      </a:schemeClr>
                    </a:solidFill>
                  </a:tcPr>
                </a:tc>
                <a:tc>
                  <a:txBody>
                    <a:bodyPr/>
                    <a:lstStyle/>
                    <a:p>
                      <a:pPr algn="r" fontAlgn="b"/>
                      <a:r>
                        <a:rPr lang="en-CA" sz="900" b="0" i="0" u="none" strike="noStrike">
                          <a:solidFill>
                            <a:srgbClr val="000000"/>
                          </a:solidFill>
                          <a:effectLst/>
                          <a:latin typeface="Arial" panose="020B0604020202020204" pitchFamily="34" charset="0"/>
                        </a:rPr>
                        <a:t>200</a:t>
                      </a:r>
                    </a:p>
                  </a:txBody>
                  <a:tcPr marL="0" marR="0" marT="0" marB="0" anchor="ctr">
                    <a:lnL>
                      <a:noFill/>
                    </a:lnL>
                    <a:lnR>
                      <a:noFill/>
                    </a:lnR>
                    <a:lnT>
                      <a:noFill/>
                    </a:lnT>
                    <a:lnB>
                      <a:noFill/>
                    </a:lnB>
                    <a:solidFill>
                      <a:schemeClr val="accent5">
                        <a:lumMod val="10000"/>
                        <a:lumOff val="90000"/>
                      </a:schemeClr>
                    </a:solidFill>
                  </a:tcPr>
                </a:tc>
                <a:extLst>
                  <a:ext uri="{0D108BD9-81ED-4DB2-BD59-A6C34878D82A}">
                    <a16:rowId xmlns:a16="http://schemas.microsoft.com/office/drawing/2014/main" val="1812927146"/>
                  </a:ext>
                </a:extLst>
              </a:tr>
              <a:tr h="292100">
                <a:tc>
                  <a:txBody>
                    <a:bodyPr/>
                    <a:lstStyle/>
                    <a:p>
                      <a:pPr algn="l" fontAlgn="b"/>
                      <a:r>
                        <a:rPr lang="en-CA" sz="900" b="1" i="0" u="none" strike="noStrike">
                          <a:solidFill>
                            <a:srgbClr val="000000"/>
                          </a:solidFill>
                          <a:effectLst/>
                          <a:latin typeface="Arial" panose="020B0604020202020204" pitchFamily="34" charset="0"/>
                        </a:rPr>
                        <a:t>Excess Cash w/ 2-month buffer</a:t>
                      </a:r>
                    </a:p>
                  </a:txBody>
                  <a:tcPr marL="0" marR="0" marT="0" marB="0" anchor="ctr">
                    <a:lnL>
                      <a:noFill/>
                    </a:lnL>
                    <a:lnR>
                      <a:noFill/>
                    </a:lnR>
                    <a:lnT>
                      <a:noFill/>
                    </a:lnT>
                    <a:lnB>
                      <a:noFill/>
                    </a:lnB>
                    <a:noFill/>
                  </a:tcPr>
                </a:tc>
                <a:tc>
                  <a:txBody>
                    <a:bodyPr/>
                    <a:lstStyle/>
                    <a:p>
                      <a:pPr algn="r" fontAlgn="b"/>
                      <a:r>
                        <a:rPr lang="en-US" sz="900" b="1">
                          <a:solidFill>
                            <a:srgbClr val="102C23"/>
                          </a:solidFill>
                          <a:cs typeface="Arial"/>
                        </a:rPr>
                        <a:t>5,204</a:t>
                      </a:r>
                      <a:endParaRPr lang="en-CA" sz="900" b="1" i="0" u="none" strike="noStrike">
                        <a:solidFill>
                          <a:srgbClr val="000000"/>
                        </a:solidFill>
                        <a:effectLst/>
                        <a:latin typeface="Arial" panose="020B060402020202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2262914666"/>
                  </a:ext>
                </a:extLst>
              </a:tr>
            </a:tbl>
          </a:graphicData>
        </a:graphic>
      </p:graphicFrame>
      <p:graphicFrame>
        <p:nvGraphicFramePr>
          <p:cNvPr id="11" name="Content Placeholder 10">
            <a:extLst>
              <a:ext uri="{FF2B5EF4-FFF2-40B4-BE49-F238E27FC236}">
                <a16:creationId xmlns:a16="http://schemas.microsoft.com/office/drawing/2014/main" id="{9772BE50-50D6-397F-7C7F-5584CDAAAA5F}"/>
              </a:ext>
            </a:extLst>
          </p:cNvPr>
          <p:cNvGraphicFramePr>
            <a:graphicFrameLocks noGrp="1"/>
          </p:cNvGraphicFramePr>
          <p:nvPr>
            <p:ph sz="quarter" idx="29"/>
            <p:extLst>
              <p:ext uri="{D42A27DB-BD31-4B8C-83A1-F6EECF244321}">
                <p14:modId xmlns:p14="http://schemas.microsoft.com/office/powerpoint/2010/main" val="1361779960"/>
              </p:ext>
            </p:extLst>
          </p:nvPr>
        </p:nvGraphicFramePr>
        <p:xfrm>
          <a:off x="250824" y="4027487"/>
          <a:ext cx="8642343" cy="2135190"/>
        </p:xfrm>
        <a:graphic>
          <a:graphicData uri="http://schemas.openxmlformats.org/drawingml/2006/table">
            <a:tbl>
              <a:tblPr/>
              <a:tblGrid>
                <a:gridCol w="975207">
                  <a:extLst>
                    <a:ext uri="{9D8B030D-6E8A-4147-A177-3AD203B41FA5}">
                      <a16:colId xmlns:a16="http://schemas.microsoft.com/office/drawing/2014/main" val="1690244685"/>
                    </a:ext>
                  </a:extLst>
                </a:gridCol>
                <a:gridCol w="851904">
                  <a:extLst>
                    <a:ext uri="{9D8B030D-6E8A-4147-A177-3AD203B41FA5}">
                      <a16:colId xmlns:a16="http://schemas.microsoft.com/office/drawing/2014/main" val="461700956"/>
                    </a:ext>
                  </a:extLst>
                </a:gridCol>
                <a:gridCol w="851904">
                  <a:extLst>
                    <a:ext uri="{9D8B030D-6E8A-4147-A177-3AD203B41FA5}">
                      <a16:colId xmlns:a16="http://schemas.microsoft.com/office/drawing/2014/main" val="3238629961"/>
                    </a:ext>
                  </a:extLst>
                </a:gridCol>
                <a:gridCol w="851904">
                  <a:extLst>
                    <a:ext uri="{9D8B030D-6E8A-4147-A177-3AD203B41FA5}">
                      <a16:colId xmlns:a16="http://schemas.microsoft.com/office/drawing/2014/main" val="1026854321"/>
                    </a:ext>
                  </a:extLst>
                </a:gridCol>
                <a:gridCol w="851904">
                  <a:extLst>
                    <a:ext uri="{9D8B030D-6E8A-4147-A177-3AD203B41FA5}">
                      <a16:colId xmlns:a16="http://schemas.microsoft.com/office/drawing/2014/main" val="659466773"/>
                    </a:ext>
                  </a:extLst>
                </a:gridCol>
                <a:gridCol w="851904">
                  <a:extLst>
                    <a:ext uri="{9D8B030D-6E8A-4147-A177-3AD203B41FA5}">
                      <a16:colId xmlns:a16="http://schemas.microsoft.com/office/drawing/2014/main" val="34780767"/>
                    </a:ext>
                  </a:extLst>
                </a:gridCol>
                <a:gridCol w="851904">
                  <a:extLst>
                    <a:ext uri="{9D8B030D-6E8A-4147-A177-3AD203B41FA5}">
                      <a16:colId xmlns:a16="http://schemas.microsoft.com/office/drawing/2014/main" val="1798432320"/>
                    </a:ext>
                  </a:extLst>
                </a:gridCol>
                <a:gridCol w="851904">
                  <a:extLst>
                    <a:ext uri="{9D8B030D-6E8A-4147-A177-3AD203B41FA5}">
                      <a16:colId xmlns:a16="http://schemas.microsoft.com/office/drawing/2014/main" val="4253570066"/>
                    </a:ext>
                  </a:extLst>
                </a:gridCol>
                <a:gridCol w="851904">
                  <a:extLst>
                    <a:ext uri="{9D8B030D-6E8A-4147-A177-3AD203B41FA5}">
                      <a16:colId xmlns:a16="http://schemas.microsoft.com/office/drawing/2014/main" val="2327087053"/>
                    </a:ext>
                  </a:extLst>
                </a:gridCol>
                <a:gridCol w="851904">
                  <a:extLst>
                    <a:ext uri="{9D8B030D-6E8A-4147-A177-3AD203B41FA5}">
                      <a16:colId xmlns:a16="http://schemas.microsoft.com/office/drawing/2014/main" val="196366012"/>
                    </a:ext>
                  </a:extLst>
                </a:gridCol>
              </a:tblGrid>
              <a:tr h="213519">
                <a:tc>
                  <a:txBody>
                    <a:bodyPr/>
                    <a:lstStyle/>
                    <a:p>
                      <a:pPr algn="ctr" rtl="0" fontAlgn="b"/>
                      <a:endParaRPr lang="en-US" sz="900" b="1" i="0" u="none" strike="noStrike">
                        <a:solidFill>
                          <a:srgbClr val="102C23"/>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b"/>
                      <a:r>
                        <a:rPr lang="en-US" sz="900" b="1" i="0" u="none" strike="noStrike">
                          <a:solidFill>
                            <a:srgbClr val="3F685E"/>
                          </a:solidFill>
                          <a:effectLst/>
                          <a:latin typeface="Arial" panose="020B0604020202020204" pitchFamily="34" charset="0"/>
                        </a:rPr>
                        <a:t>5.00%</a:t>
                      </a:r>
                    </a:p>
                  </a:txBody>
                  <a:tcPr marL="0" marR="0" marT="0" marB="0" anchor="ctr">
                    <a:lnL>
                      <a:noFill/>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US" sz="900" b="1" i="0" u="none" strike="noStrike">
                          <a:solidFill>
                            <a:srgbClr val="3F685E"/>
                          </a:solidFill>
                          <a:effectLst/>
                          <a:latin typeface="Arial" panose="020B0604020202020204" pitchFamily="34" charset="0"/>
                        </a:rPr>
                        <a:t>5.2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US" sz="900" b="1" i="0" u="none" strike="noStrike">
                          <a:solidFill>
                            <a:srgbClr val="3F685E"/>
                          </a:solidFill>
                          <a:effectLst/>
                          <a:latin typeface="Arial" panose="020B0604020202020204" pitchFamily="34" charset="0"/>
                        </a:rPr>
                        <a:t>5.5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US" sz="900" b="1" i="0" u="none" strike="noStrike">
                          <a:solidFill>
                            <a:srgbClr val="3F685E"/>
                          </a:solidFill>
                          <a:effectLst/>
                          <a:latin typeface="Arial" panose="020B0604020202020204" pitchFamily="34" charset="0"/>
                        </a:rPr>
                        <a:t>5.7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US" sz="900" b="1" i="0" u="none" strike="noStrike">
                          <a:solidFill>
                            <a:srgbClr val="3F685E"/>
                          </a:solidFill>
                          <a:effectLst/>
                          <a:latin typeface="Arial" panose="020B0604020202020204" pitchFamily="34" charset="0"/>
                        </a:rPr>
                        <a:t>6.0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US" sz="900" b="1" i="0" u="none" strike="noStrike">
                          <a:solidFill>
                            <a:srgbClr val="3F685E"/>
                          </a:solidFill>
                          <a:effectLst/>
                          <a:latin typeface="Arial" panose="020B0604020202020204" pitchFamily="34" charset="0"/>
                        </a:rPr>
                        <a:t>6.2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US" sz="900" b="1" i="0" u="none" strike="noStrike">
                          <a:solidFill>
                            <a:srgbClr val="3F685E"/>
                          </a:solidFill>
                          <a:effectLst/>
                          <a:latin typeface="Arial" panose="020B0604020202020204" pitchFamily="34" charset="0"/>
                        </a:rPr>
                        <a:t>6.5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US" sz="900" b="1" i="0" u="none" strike="noStrike">
                          <a:solidFill>
                            <a:srgbClr val="3F685E"/>
                          </a:solidFill>
                          <a:effectLst/>
                          <a:latin typeface="Arial" panose="020B0604020202020204" pitchFamily="34" charset="0"/>
                        </a:rPr>
                        <a:t>6.7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US" sz="900" b="1" i="0" u="none" strike="noStrike">
                          <a:solidFill>
                            <a:srgbClr val="3F685E"/>
                          </a:solidFill>
                          <a:effectLst/>
                          <a:latin typeface="Arial" panose="020B0604020202020204" pitchFamily="34" charset="0"/>
                        </a:rPr>
                        <a:t>7.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extLst>
                  <a:ext uri="{0D108BD9-81ED-4DB2-BD59-A6C34878D82A}">
                    <a16:rowId xmlns:a16="http://schemas.microsoft.com/office/drawing/2014/main" val="3761323334"/>
                  </a:ext>
                </a:extLst>
              </a:tr>
              <a:tr h="213519">
                <a:tc>
                  <a:txBody>
                    <a:bodyPr/>
                    <a:lstStyle/>
                    <a:p>
                      <a:pPr algn="ctr" rtl="0" fontAlgn="b"/>
                      <a:r>
                        <a:rPr lang="en-US" sz="900" b="1" i="0" u="none" strike="noStrike">
                          <a:solidFill>
                            <a:srgbClr val="3F685E"/>
                          </a:solidFill>
                          <a:effectLst/>
                          <a:latin typeface="Arial" panose="020B0604020202020204" pitchFamily="34" charset="0"/>
                        </a:rPr>
                        <a:t>26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0E4E5"/>
                    </a:solidFill>
                  </a:tcPr>
                </a:tc>
                <a:tc>
                  <a:txBody>
                    <a:bodyPr/>
                    <a:lstStyle/>
                    <a:p>
                      <a:pPr algn="ctr" rtl="0" fontAlgn="b"/>
                      <a:r>
                        <a:rPr lang="en-US" sz="900" b="0" i="0" u="none" strike="noStrike">
                          <a:solidFill>
                            <a:srgbClr val="102C23"/>
                          </a:solidFill>
                          <a:effectLst/>
                          <a:latin typeface="Arial" panose="020B0604020202020204" pitchFamily="34" charset="0"/>
                        </a:rPr>
                        <a:t>530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tc>
                  <a:txBody>
                    <a:bodyPr/>
                    <a:lstStyle/>
                    <a:p>
                      <a:pPr algn="ctr" rtl="0" fontAlgn="b"/>
                      <a:r>
                        <a:rPr lang="en-US" sz="900" b="0" i="0" u="none" strike="noStrike">
                          <a:solidFill>
                            <a:srgbClr val="102C23"/>
                          </a:solidFill>
                          <a:effectLst/>
                          <a:latin typeface="Arial" panose="020B0604020202020204" pitchFamily="34" charset="0"/>
                        </a:rPr>
                        <a:t>504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tc>
                  <a:txBody>
                    <a:bodyPr/>
                    <a:lstStyle/>
                    <a:p>
                      <a:pPr algn="ctr" rtl="0" fontAlgn="b"/>
                      <a:r>
                        <a:rPr lang="en-US" sz="900" b="0" i="0" u="none" strike="noStrike">
                          <a:solidFill>
                            <a:srgbClr val="102C23"/>
                          </a:solidFill>
                          <a:effectLst/>
                          <a:latin typeface="Arial" panose="020B0604020202020204" pitchFamily="34" charset="0"/>
                        </a:rPr>
                        <a:t>481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tc>
                  <a:txBody>
                    <a:bodyPr/>
                    <a:lstStyle/>
                    <a:p>
                      <a:pPr algn="ctr" rtl="0" fontAlgn="b"/>
                      <a:r>
                        <a:rPr lang="en-US" sz="900" b="0" i="0" u="none" strike="noStrike">
                          <a:solidFill>
                            <a:srgbClr val="102C23"/>
                          </a:solidFill>
                          <a:effectLst/>
                          <a:latin typeface="Arial" panose="020B0604020202020204" pitchFamily="34" charset="0"/>
                        </a:rPr>
                        <a:t>460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tc>
                  <a:txBody>
                    <a:bodyPr/>
                    <a:lstStyle/>
                    <a:p>
                      <a:pPr algn="ctr" rtl="0" fontAlgn="b"/>
                      <a:r>
                        <a:rPr lang="en-US" sz="900" b="0" i="0" u="none" strike="noStrike">
                          <a:solidFill>
                            <a:srgbClr val="102C23"/>
                          </a:solidFill>
                          <a:effectLst/>
                          <a:latin typeface="Arial" panose="020B0604020202020204" pitchFamily="34" charset="0"/>
                        </a:rPr>
                        <a:t>441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tc>
                  <a:txBody>
                    <a:bodyPr/>
                    <a:lstStyle/>
                    <a:p>
                      <a:pPr algn="ctr" rtl="0" fontAlgn="b"/>
                      <a:r>
                        <a:rPr lang="en-US" sz="900" b="0" i="0" u="none" strike="noStrike">
                          <a:solidFill>
                            <a:srgbClr val="102C23"/>
                          </a:solidFill>
                          <a:effectLst/>
                          <a:latin typeface="Arial" panose="020B0604020202020204" pitchFamily="34" charset="0"/>
                        </a:rPr>
                        <a:t>424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tc>
                  <a:txBody>
                    <a:bodyPr/>
                    <a:lstStyle/>
                    <a:p>
                      <a:pPr algn="ctr" rtl="0" fontAlgn="b"/>
                      <a:r>
                        <a:rPr lang="en-US" sz="900" b="0" i="0" u="none" strike="noStrike">
                          <a:solidFill>
                            <a:srgbClr val="102C23"/>
                          </a:solidFill>
                          <a:effectLst/>
                          <a:latin typeface="Arial" panose="020B0604020202020204" pitchFamily="34" charset="0"/>
                        </a:rPr>
                        <a:t>407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tc>
                  <a:txBody>
                    <a:bodyPr/>
                    <a:lstStyle/>
                    <a:p>
                      <a:pPr algn="ctr" rtl="0" fontAlgn="b"/>
                      <a:r>
                        <a:rPr lang="en-US" sz="900" b="0" i="0" u="none" strike="noStrike">
                          <a:solidFill>
                            <a:srgbClr val="102C23"/>
                          </a:solidFill>
                          <a:effectLst/>
                          <a:latin typeface="Arial" panose="020B0604020202020204" pitchFamily="34" charset="0"/>
                        </a:rPr>
                        <a:t>392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tc>
                  <a:txBody>
                    <a:bodyPr/>
                    <a:lstStyle/>
                    <a:p>
                      <a:pPr algn="ctr" rtl="0" fontAlgn="b"/>
                      <a:r>
                        <a:rPr lang="en-US" sz="900" b="0" i="0" u="none" strike="noStrike">
                          <a:solidFill>
                            <a:srgbClr val="102C23"/>
                          </a:solidFill>
                          <a:effectLst/>
                          <a:latin typeface="Arial" panose="020B0604020202020204" pitchFamily="34" charset="0"/>
                        </a:rPr>
                        <a:t>378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F3EC"/>
                    </a:solidFill>
                  </a:tcPr>
                </a:tc>
                <a:extLst>
                  <a:ext uri="{0D108BD9-81ED-4DB2-BD59-A6C34878D82A}">
                    <a16:rowId xmlns:a16="http://schemas.microsoft.com/office/drawing/2014/main" val="1883141933"/>
                  </a:ext>
                </a:extLst>
              </a:tr>
              <a:tr h="213519">
                <a:tc>
                  <a:txBody>
                    <a:bodyPr/>
                    <a:lstStyle/>
                    <a:p>
                      <a:pPr algn="ctr" rtl="0" fontAlgn="b"/>
                      <a:r>
                        <a:rPr lang="en-US" sz="900" b="1" i="0" u="none" strike="noStrike">
                          <a:solidFill>
                            <a:srgbClr val="3F685E"/>
                          </a:solidFill>
                          <a:effectLst/>
                          <a:latin typeface="Arial" panose="020B0604020202020204" pitchFamily="34" charset="0"/>
                        </a:rPr>
                        <a:t>25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0E4E5"/>
                    </a:solidFill>
                  </a:tcPr>
                </a:tc>
                <a:tc>
                  <a:txBody>
                    <a:bodyPr/>
                    <a:lstStyle/>
                    <a:p>
                      <a:pPr algn="ctr" rtl="0" fontAlgn="b"/>
                      <a:r>
                        <a:rPr lang="en-US" sz="900" b="0" i="0" u="none" strike="noStrike">
                          <a:solidFill>
                            <a:srgbClr val="102C23"/>
                          </a:solidFill>
                          <a:effectLst/>
                          <a:latin typeface="Arial" panose="020B0604020202020204" pitchFamily="34" charset="0"/>
                        </a:rPr>
                        <a:t>505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US" sz="900" b="0" i="0" u="none" strike="noStrike">
                          <a:solidFill>
                            <a:srgbClr val="102C23"/>
                          </a:solidFill>
                          <a:effectLst/>
                          <a:latin typeface="Arial" panose="020B0604020202020204" pitchFamily="34" charset="0"/>
                        </a:rPr>
                        <a:t>481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US" sz="900" b="0" i="0" u="none" strike="noStrike">
                          <a:solidFill>
                            <a:srgbClr val="102C23"/>
                          </a:solidFill>
                          <a:effectLst/>
                          <a:latin typeface="Arial" panose="020B0604020202020204" pitchFamily="34" charset="0"/>
                        </a:rPr>
                        <a:t>459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US" sz="900" b="0" i="0" u="none" strike="noStrike">
                          <a:solidFill>
                            <a:srgbClr val="102C23"/>
                          </a:solidFill>
                          <a:effectLst/>
                          <a:latin typeface="Arial" panose="020B0604020202020204" pitchFamily="34" charset="0"/>
                        </a:rPr>
                        <a:t>439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US" sz="900" b="0" i="0" u="none" strike="noStrike">
                          <a:solidFill>
                            <a:srgbClr val="102C23"/>
                          </a:solidFill>
                          <a:effectLst/>
                          <a:latin typeface="Arial" panose="020B0604020202020204" pitchFamily="34" charset="0"/>
                        </a:rPr>
                        <a:t>420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US" sz="900" b="0" i="0" u="none" strike="noStrike">
                          <a:solidFill>
                            <a:srgbClr val="102C23"/>
                          </a:solidFill>
                          <a:effectLst/>
                          <a:latin typeface="Arial" panose="020B0604020202020204" pitchFamily="34" charset="0"/>
                        </a:rPr>
                        <a:t>404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US" sz="900" b="0" i="0" u="none" strike="noStrike">
                          <a:solidFill>
                            <a:srgbClr val="102C23"/>
                          </a:solidFill>
                          <a:effectLst/>
                          <a:latin typeface="Arial" panose="020B0604020202020204" pitchFamily="34" charset="0"/>
                        </a:rPr>
                        <a:t>388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US" sz="900" b="0" i="0" u="none" strike="noStrike">
                          <a:solidFill>
                            <a:srgbClr val="102C23"/>
                          </a:solidFill>
                          <a:effectLst/>
                          <a:latin typeface="Arial" panose="020B0604020202020204" pitchFamily="34" charset="0"/>
                        </a:rPr>
                        <a:t>374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US" sz="900" b="0" i="0" u="none" strike="noStrike">
                          <a:solidFill>
                            <a:srgbClr val="102C23"/>
                          </a:solidFill>
                          <a:effectLst/>
                          <a:latin typeface="Arial" panose="020B0604020202020204" pitchFamily="34" charset="0"/>
                        </a:rPr>
                        <a:t>360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extLst>
                  <a:ext uri="{0D108BD9-81ED-4DB2-BD59-A6C34878D82A}">
                    <a16:rowId xmlns:a16="http://schemas.microsoft.com/office/drawing/2014/main" val="2329726262"/>
                  </a:ext>
                </a:extLst>
              </a:tr>
              <a:tr h="213519">
                <a:tc>
                  <a:txBody>
                    <a:bodyPr/>
                    <a:lstStyle/>
                    <a:p>
                      <a:pPr algn="ctr" rtl="0" fontAlgn="b"/>
                      <a:r>
                        <a:rPr lang="en-US" sz="900" b="1" i="0" u="none" strike="noStrike">
                          <a:solidFill>
                            <a:srgbClr val="3F685E"/>
                          </a:solidFill>
                          <a:effectLst/>
                          <a:latin typeface="Arial" panose="020B0604020202020204" pitchFamily="34" charset="0"/>
                        </a:rPr>
                        <a:t>24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0E4E5"/>
                    </a:solidFill>
                  </a:tcPr>
                </a:tc>
                <a:tc>
                  <a:txBody>
                    <a:bodyPr/>
                    <a:lstStyle/>
                    <a:p>
                      <a:pPr algn="ctr" rtl="0" fontAlgn="b"/>
                      <a:r>
                        <a:rPr lang="en-US" sz="900" b="0" i="0" u="none" strike="noStrike">
                          <a:solidFill>
                            <a:srgbClr val="102C23"/>
                          </a:solidFill>
                          <a:effectLst/>
                          <a:latin typeface="Arial" panose="020B0604020202020204" pitchFamily="34" charset="0"/>
                        </a:rPr>
                        <a:t>480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102C23"/>
                          </a:solidFill>
                          <a:effectLst/>
                          <a:latin typeface="Arial" panose="020B0604020202020204" pitchFamily="34" charset="0"/>
                        </a:rPr>
                        <a:t>457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102C23"/>
                          </a:solidFill>
                          <a:effectLst/>
                          <a:latin typeface="Arial" panose="020B0604020202020204" pitchFamily="34" charset="0"/>
                        </a:rPr>
                        <a:t>436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102C23"/>
                          </a:solidFill>
                          <a:effectLst/>
                          <a:latin typeface="Arial" panose="020B0604020202020204" pitchFamily="34" charset="0"/>
                        </a:rPr>
                        <a:t>417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102C23"/>
                          </a:solidFill>
                          <a:effectLst/>
                          <a:latin typeface="Arial" panose="020B0604020202020204" pitchFamily="34" charset="0"/>
                        </a:rPr>
                        <a:t>40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102C23"/>
                          </a:solidFill>
                          <a:effectLst/>
                          <a:latin typeface="Arial" panose="020B0604020202020204" pitchFamily="34" charset="0"/>
                        </a:rPr>
                        <a:t>384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102C23"/>
                          </a:solidFill>
                          <a:effectLst/>
                          <a:latin typeface="Arial" panose="020B0604020202020204" pitchFamily="34" charset="0"/>
                        </a:rPr>
                        <a:t>369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102C23"/>
                          </a:solidFill>
                          <a:effectLst/>
                          <a:latin typeface="Arial" panose="020B0604020202020204" pitchFamily="34" charset="0"/>
                        </a:rPr>
                        <a:t>355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102C23"/>
                          </a:solidFill>
                          <a:effectLst/>
                          <a:latin typeface="Arial" panose="020B0604020202020204" pitchFamily="34" charset="0"/>
                        </a:rPr>
                        <a:t>342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extLst>
                  <a:ext uri="{0D108BD9-81ED-4DB2-BD59-A6C34878D82A}">
                    <a16:rowId xmlns:a16="http://schemas.microsoft.com/office/drawing/2014/main" val="1375450420"/>
                  </a:ext>
                </a:extLst>
              </a:tr>
              <a:tr h="213519">
                <a:tc>
                  <a:txBody>
                    <a:bodyPr/>
                    <a:lstStyle/>
                    <a:p>
                      <a:pPr algn="ctr" rtl="0" fontAlgn="b"/>
                      <a:r>
                        <a:rPr lang="en-US" sz="900" b="1" i="0" u="none" strike="noStrike">
                          <a:solidFill>
                            <a:srgbClr val="3F685E"/>
                          </a:solidFill>
                          <a:effectLst/>
                          <a:latin typeface="Arial" panose="020B0604020202020204" pitchFamily="34" charset="0"/>
                        </a:rPr>
                        <a:t>228</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US" sz="900" b="0" i="0" u="none" strike="noStrike">
                          <a:solidFill>
                            <a:srgbClr val="102C23"/>
                          </a:solidFill>
                          <a:effectLst/>
                          <a:latin typeface="Arial" panose="020B0604020202020204" pitchFamily="34" charset="0"/>
                        </a:rPr>
                        <a:t>455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D8FAE5"/>
                          </a:solidFill>
                          <a:effectLst/>
                          <a:latin typeface="Arial" panose="020B0604020202020204" pitchFamily="34" charset="0"/>
                        </a:rPr>
                        <a:t>433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US" sz="900" b="0" i="0" u="none" strike="noStrike">
                          <a:solidFill>
                            <a:srgbClr val="D8FAE5"/>
                          </a:solidFill>
                          <a:effectLst/>
                          <a:latin typeface="Arial" panose="020B0604020202020204" pitchFamily="34" charset="0"/>
                        </a:rPr>
                        <a:t>413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US" sz="900" b="0" i="0" u="none" strike="noStrike">
                          <a:solidFill>
                            <a:srgbClr val="D8FAE5"/>
                          </a:solidFill>
                          <a:effectLst/>
                          <a:latin typeface="Arial" panose="020B0604020202020204" pitchFamily="34" charset="0"/>
                        </a:rPr>
                        <a:t>395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US" sz="900" b="0" i="0" u="none" strike="noStrike">
                          <a:solidFill>
                            <a:srgbClr val="D8FAE5"/>
                          </a:solidFill>
                          <a:effectLst/>
                          <a:latin typeface="Arial" panose="020B0604020202020204" pitchFamily="34" charset="0"/>
                        </a:rPr>
                        <a:t>379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F65"/>
                    </a:solidFill>
                  </a:tcPr>
                </a:tc>
                <a:tc>
                  <a:txBody>
                    <a:bodyPr/>
                    <a:lstStyle/>
                    <a:p>
                      <a:pPr algn="ctr" rtl="0" fontAlgn="b"/>
                      <a:r>
                        <a:rPr lang="en-US" sz="900" b="0" i="0" u="none" strike="noStrike">
                          <a:solidFill>
                            <a:srgbClr val="D8FAE5"/>
                          </a:solidFill>
                          <a:effectLst/>
                          <a:latin typeface="Arial" panose="020B0604020202020204" pitchFamily="34" charset="0"/>
                        </a:rPr>
                        <a:t>364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US" sz="900" b="0" i="0" u="none" strike="noStrike">
                          <a:solidFill>
                            <a:srgbClr val="D8FAE5"/>
                          </a:solidFill>
                          <a:effectLst/>
                          <a:latin typeface="Arial" panose="020B0604020202020204" pitchFamily="34" charset="0"/>
                        </a:rPr>
                        <a:t>35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US" sz="900" b="0" i="0" u="none" strike="noStrike">
                          <a:solidFill>
                            <a:srgbClr val="D8FAE5"/>
                          </a:solidFill>
                          <a:effectLst/>
                          <a:latin typeface="Arial" panose="020B0604020202020204" pitchFamily="34" charset="0"/>
                        </a:rPr>
                        <a:t>337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US" sz="900" b="0" i="0" u="none" strike="noStrike">
                          <a:solidFill>
                            <a:srgbClr val="102C23"/>
                          </a:solidFill>
                          <a:effectLst/>
                          <a:latin typeface="Arial" panose="020B0604020202020204" pitchFamily="34" charset="0"/>
                        </a:rPr>
                        <a:t>325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extLst>
                  <a:ext uri="{0D108BD9-81ED-4DB2-BD59-A6C34878D82A}">
                    <a16:rowId xmlns:a16="http://schemas.microsoft.com/office/drawing/2014/main" val="856583927"/>
                  </a:ext>
                </a:extLst>
              </a:tr>
              <a:tr h="213519">
                <a:tc>
                  <a:txBody>
                    <a:bodyPr/>
                    <a:lstStyle/>
                    <a:p>
                      <a:pPr algn="ctr" rtl="0" fontAlgn="b"/>
                      <a:r>
                        <a:rPr lang="en-US" sz="900" b="1" i="0" u="none" strike="noStrike">
                          <a:solidFill>
                            <a:srgbClr val="3F685E"/>
                          </a:solidFill>
                          <a:effectLst/>
                          <a:latin typeface="Arial" panose="020B0604020202020204" pitchFamily="34" charset="0"/>
                        </a:rPr>
                        <a:t>21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US" sz="900" b="0" i="0" u="none" strike="noStrike">
                          <a:solidFill>
                            <a:srgbClr val="102C23"/>
                          </a:solidFill>
                          <a:effectLst/>
                          <a:latin typeface="Arial" panose="020B0604020202020204" pitchFamily="34" charset="0"/>
                        </a:rPr>
                        <a:t>430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D8FAE5"/>
                          </a:solidFill>
                          <a:effectLst/>
                          <a:latin typeface="Arial" panose="020B0604020202020204" pitchFamily="34" charset="0"/>
                        </a:rPr>
                        <a:t>409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US" sz="900" b="0" i="0" u="none" strike="noStrike">
                          <a:solidFill>
                            <a:srgbClr val="D8FAE5"/>
                          </a:solidFill>
                          <a:effectLst/>
                          <a:latin typeface="Arial" panose="020B0604020202020204" pitchFamily="34" charset="0"/>
                        </a:rPr>
                        <a:t>390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C4D3D"/>
                    </a:solidFill>
                  </a:tcPr>
                </a:tc>
                <a:tc>
                  <a:txBody>
                    <a:bodyPr/>
                    <a:lstStyle/>
                    <a:p>
                      <a:pPr algn="ctr" rtl="0" fontAlgn="b"/>
                      <a:r>
                        <a:rPr lang="en-US" sz="900" b="0" i="0" u="none" strike="noStrike">
                          <a:solidFill>
                            <a:srgbClr val="D8FAE5"/>
                          </a:solidFill>
                          <a:effectLst/>
                          <a:latin typeface="Arial" panose="020B0604020202020204" pitchFamily="34" charset="0"/>
                        </a:rPr>
                        <a:t>373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C4D3D"/>
                    </a:solidFill>
                  </a:tcPr>
                </a:tc>
                <a:tc>
                  <a:txBody>
                    <a:bodyPr/>
                    <a:lstStyle/>
                    <a:p>
                      <a:pPr algn="ctr" rtl="0" fontAlgn="b"/>
                      <a:r>
                        <a:rPr lang="en-US" sz="900" b="1" i="0" u="none" strike="noStrike">
                          <a:solidFill>
                            <a:srgbClr val="D8FAE5"/>
                          </a:solidFill>
                          <a:effectLst/>
                          <a:latin typeface="Arial" panose="020B0604020202020204" pitchFamily="34" charset="0"/>
                        </a:rPr>
                        <a:t>358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02C23"/>
                    </a:solidFill>
                  </a:tcPr>
                </a:tc>
                <a:tc>
                  <a:txBody>
                    <a:bodyPr/>
                    <a:lstStyle/>
                    <a:p>
                      <a:pPr algn="ctr" rtl="0" fontAlgn="b"/>
                      <a:r>
                        <a:rPr lang="en-US" sz="900" b="0" i="0" u="none" strike="noStrike">
                          <a:solidFill>
                            <a:srgbClr val="D8FAE5"/>
                          </a:solidFill>
                          <a:effectLst/>
                          <a:latin typeface="Arial" panose="020B0604020202020204" pitchFamily="34" charset="0"/>
                        </a:rPr>
                        <a:t>344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C4D3D"/>
                    </a:solidFill>
                  </a:tcPr>
                </a:tc>
                <a:tc>
                  <a:txBody>
                    <a:bodyPr/>
                    <a:lstStyle/>
                    <a:p>
                      <a:pPr algn="ctr" rtl="0" fontAlgn="b"/>
                      <a:r>
                        <a:rPr lang="en-US" sz="900" b="0" i="0" u="none" strike="noStrike">
                          <a:solidFill>
                            <a:srgbClr val="D8FAE5"/>
                          </a:solidFill>
                          <a:effectLst/>
                          <a:latin typeface="Arial" panose="020B0604020202020204" pitchFamily="34" charset="0"/>
                        </a:rPr>
                        <a:t>330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1C4D3D"/>
                    </a:solidFill>
                  </a:tcPr>
                </a:tc>
                <a:tc>
                  <a:txBody>
                    <a:bodyPr/>
                    <a:lstStyle/>
                    <a:p>
                      <a:pPr algn="ctr" rtl="0" fontAlgn="b"/>
                      <a:r>
                        <a:rPr lang="en-US" sz="900" b="0" i="0" u="none" strike="noStrike">
                          <a:solidFill>
                            <a:srgbClr val="D8FAE5"/>
                          </a:solidFill>
                          <a:effectLst/>
                          <a:latin typeface="Arial" panose="020B0604020202020204" pitchFamily="34" charset="0"/>
                        </a:rPr>
                        <a:t>318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US" sz="900" b="0" i="0" u="none" strike="noStrike">
                          <a:solidFill>
                            <a:srgbClr val="102C23"/>
                          </a:solidFill>
                          <a:effectLst/>
                          <a:latin typeface="Arial" panose="020B0604020202020204" pitchFamily="34" charset="0"/>
                        </a:rPr>
                        <a:t>307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extLst>
                  <a:ext uri="{0D108BD9-81ED-4DB2-BD59-A6C34878D82A}">
                    <a16:rowId xmlns:a16="http://schemas.microsoft.com/office/drawing/2014/main" val="2124536846"/>
                  </a:ext>
                </a:extLst>
              </a:tr>
              <a:tr h="213519">
                <a:tc>
                  <a:txBody>
                    <a:bodyPr/>
                    <a:lstStyle/>
                    <a:p>
                      <a:pPr algn="ctr" rtl="0" fontAlgn="b"/>
                      <a:r>
                        <a:rPr lang="en-US" sz="900" b="1" i="0" u="none" strike="noStrike">
                          <a:solidFill>
                            <a:srgbClr val="3F685E"/>
                          </a:solidFill>
                          <a:effectLst/>
                          <a:latin typeface="Arial" panose="020B0604020202020204" pitchFamily="34" charset="0"/>
                        </a:rPr>
                        <a:t>20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0E4E5"/>
                    </a:solidFill>
                  </a:tcPr>
                </a:tc>
                <a:tc>
                  <a:txBody>
                    <a:bodyPr/>
                    <a:lstStyle/>
                    <a:p>
                      <a:pPr algn="ctr" rtl="0" fontAlgn="b"/>
                      <a:r>
                        <a:rPr lang="en-US" sz="900" b="0" i="0" u="none" strike="noStrike">
                          <a:solidFill>
                            <a:srgbClr val="102C23"/>
                          </a:solidFill>
                          <a:effectLst/>
                          <a:latin typeface="Arial" panose="020B0604020202020204" pitchFamily="34" charset="0"/>
                        </a:rPr>
                        <a:t>405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D8FAE5"/>
                          </a:solidFill>
                          <a:effectLst/>
                          <a:latin typeface="Arial" panose="020B0604020202020204" pitchFamily="34" charset="0"/>
                        </a:rPr>
                        <a:t>385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US" sz="900" b="0" i="0" u="none" strike="noStrike">
                          <a:solidFill>
                            <a:srgbClr val="D8FAE5"/>
                          </a:solidFill>
                          <a:effectLst/>
                          <a:latin typeface="Arial" panose="020B0604020202020204" pitchFamily="34" charset="0"/>
                        </a:rPr>
                        <a:t>368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US" sz="900" b="0" i="0" u="none" strike="noStrike">
                          <a:solidFill>
                            <a:srgbClr val="D8FAE5"/>
                          </a:solidFill>
                          <a:effectLst/>
                          <a:latin typeface="Arial" panose="020B0604020202020204" pitchFamily="34" charset="0"/>
                        </a:rPr>
                        <a:t>352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US" sz="900" b="0" i="0" u="none" strike="noStrike">
                          <a:solidFill>
                            <a:srgbClr val="D8FAE5"/>
                          </a:solidFill>
                          <a:effectLst/>
                          <a:latin typeface="Arial" panose="020B0604020202020204" pitchFamily="34" charset="0"/>
                        </a:rPr>
                        <a:t>337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US" sz="900" b="0" i="0" u="none" strike="noStrike">
                          <a:solidFill>
                            <a:srgbClr val="D8FAE5"/>
                          </a:solidFill>
                          <a:effectLst/>
                          <a:latin typeface="Arial" panose="020B0604020202020204" pitchFamily="34" charset="0"/>
                        </a:rPr>
                        <a:t>324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US" sz="900" b="0" i="0" u="none" strike="noStrike">
                          <a:solidFill>
                            <a:srgbClr val="D8FAE5"/>
                          </a:solidFill>
                          <a:effectLst/>
                          <a:latin typeface="Arial" panose="020B0604020202020204" pitchFamily="34" charset="0"/>
                        </a:rPr>
                        <a:t>311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US" sz="900" b="0" i="0" u="none" strike="noStrike">
                          <a:solidFill>
                            <a:srgbClr val="D8FAE5"/>
                          </a:solidFill>
                          <a:effectLst/>
                          <a:latin typeface="Arial" panose="020B0604020202020204" pitchFamily="34" charset="0"/>
                        </a:rPr>
                        <a:t>30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E7F65"/>
                    </a:solidFill>
                  </a:tcPr>
                </a:tc>
                <a:tc>
                  <a:txBody>
                    <a:bodyPr/>
                    <a:lstStyle/>
                    <a:p>
                      <a:pPr algn="ctr" rtl="0" fontAlgn="b"/>
                      <a:r>
                        <a:rPr lang="en-US" sz="900" b="0" i="0" u="none" strike="noStrike">
                          <a:solidFill>
                            <a:srgbClr val="102C23"/>
                          </a:solidFill>
                          <a:effectLst/>
                          <a:latin typeface="Arial" panose="020B0604020202020204" pitchFamily="34" charset="0"/>
                        </a:rPr>
                        <a:t>289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extLst>
                  <a:ext uri="{0D108BD9-81ED-4DB2-BD59-A6C34878D82A}">
                    <a16:rowId xmlns:a16="http://schemas.microsoft.com/office/drawing/2014/main" val="2534849275"/>
                  </a:ext>
                </a:extLst>
              </a:tr>
              <a:tr h="213519">
                <a:tc>
                  <a:txBody>
                    <a:bodyPr/>
                    <a:lstStyle/>
                    <a:p>
                      <a:pPr algn="ctr" rtl="0" fontAlgn="b"/>
                      <a:r>
                        <a:rPr lang="en-US" sz="900" b="1" i="0" u="none" strike="noStrike">
                          <a:solidFill>
                            <a:srgbClr val="3F685E"/>
                          </a:solidFill>
                          <a:effectLst/>
                          <a:latin typeface="Arial" panose="020B0604020202020204" pitchFamily="34" charset="0"/>
                        </a:rPr>
                        <a:t>19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0E4E5"/>
                    </a:solidFill>
                  </a:tcPr>
                </a:tc>
                <a:tc>
                  <a:txBody>
                    <a:bodyPr/>
                    <a:lstStyle/>
                    <a:p>
                      <a:pPr algn="ctr" rtl="0" fontAlgn="b"/>
                      <a:r>
                        <a:rPr lang="en-US" sz="900" b="0" i="0" u="none" strike="noStrike">
                          <a:solidFill>
                            <a:srgbClr val="102C23"/>
                          </a:solidFill>
                          <a:effectLst/>
                          <a:latin typeface="Arial" panose="020B0604020202020204" pitchFamily="34" charset="0"/>
                        </a:rPr>
                        <a:t>380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102C23"/>
                          </a:solidFill>
                          <a:effectLst/>
                          <a:latin typeface="Arial" panose="020B0604020202020204" pitchFamily="34" charset="0"/>
                        </a:rPr>
                        <a:t>361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102C23"/>
                          </a:solidFill>
                          <a:effectLst/>
                          <a:latin typeface="Arial" panose="020B0604020202020204" pitchFamily="34" charset="0"/>
                        </a:rPr>
                        <a:t>345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102C23"/>
                          </a:solidFill>
                          <a:effectLst/>
                          <a:latin typeface="Arial" panose="020B0604020202020204" pitchFamily="34" charset="0"/>
                        </a:rPr>
                        <a:t>330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102C23"/>
                          </a:solidFill>
                          <a:effectLst/>
                          <a:latin typeface="Arial" panose="020B0604020202020204" pitchFamily="34" charset="0"/>
                        </a:rPr>
                        <a:t>316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102C23"/>
                          </a:solidFill>
                          <a:effectLst/>
                          <a:latin typeface="Arial" panose="020B0604020202020204" pitchFamily="34" charset="0"/>
                        </a:rPr>
                        <a:t>304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102C23"/>
                          </a:solidFill>
                          <a:effectLst/>
                          <a:latin typeface="Arial" panose="020B0604020202020204" pitchFamily="34" charset="0"/>
                        </a:rPr>
                        <a:t>292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102C23"/>
                          </a:solidFill>
                          <a:effectLst/>
                          <a:latin typeface="Arial" panose="020B0604020202020204" pitchFamily="34" charset="0"/>
                        </a:rPr>
                        <a:t>281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tc>
                  <a:txBody>
                    <a:bodyPr/>
                    <a:lstStyle/>
                    <a:p>
                      <a:pPr algn="ctr" rtl="0" fontAlgn="b"/>
                      <a:r>
                        <a:rPr lang="en-US" sz="900" b="0" i="0" u="none" strike="noStrike">
                          <a:solidFill>
                            <a:srgbClr val="102C23"/>
                          </a:solidFill>
                          <a:effectLst/>
                          <a:latin typeface="Arial" panose="020B0604020202020204" pitchFamily="34" charset="0"/>
                        </a:rPr>
                        <a:t>271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AC3A1"/>
                    </a:solidFill>
                  </a:tcPr>
                </a:tc>
                <a:extLst>
                  <a:ext uri="{0D108BD9-81ED-4DB2-BD59-A6C34878D82A}">
                    <a16:rowId xmlns:a16="http://schemas.microsoft.com/office/drawing/2014/main" val="3824998857"/>
                  </a:ext>
                </a:extLst>
              </a:tr>
              <a:tr h="213519">
                <a:tc>
                  <a:txBody>
                    <a:bodyPr/>
                    <a:lstStyle/>
                    <a:p>
                      <a:pPr algn="ctr" rtl="0" fontAlgn="b"/>
                      <a:r>
                        <a:rPr lang="en-US" sz="900" b="1" i="0" u="none" strike="noStrike">
                          <a:solidFill>
                            <a:srgbClr val="3F685E"/>
                          </a:solidFill>
                          <a:effectLst/>
                          <a:latin typeface="Arial" panose="020B0604020202020204" pitchFamily="34" charset="0"/>
                        </a:rPr>
                        <a:t>178</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0E4E5"/>
                    </a:solidFill>
                  </a:tcPr>
                </a:tc>
                <a:tc>
                  <a:txBody>
                    <a:bodyPr/>
                    <a:lstStyle/>
                    <a:p>
                      <a:pPr algn="ctr" rtl="0" fontAlgn="b"/>
                      <a:r>
                        <a:rPr lang="en-US" sz="900" b="0" i="0" u="none" strike="noStrike">
                          <a:solidFill>
                            <a:srgbClr val="102C23"/>
                          </a:solidFill>
                          <a:effectLst/>
                          <a:latin typeface="Arial" panose="020B0604020202020204" pitchFamily="34" charset="0"/>
                        </a:rPr>
                        <a:t>355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US" sz="900" b="0" i="0" u="none" strike="noStrike">
                          <a:solidFill>
                            <a:srgbClr val="102C23"/>
                          </a:solidFill>
                          <a:effectLst/>
                          <a:latin typeface="Arial" panose="020B0604020202020204" pitchFamily="34" charset="0"/>
                        </a:rPr>
                        <a:t>338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US" sz="900" b="0" i="0" u="none" strike="noStrike">
                          <a:solidFill>
                            <a:srgbClr val="102C23"/>
                          </a:solidFill>
                          <a:effectLst/>
                          <a:latin typeface="Arial" panose="020B0604020202020204" pitchFamily="34" charset="0"/>
                        </a:rPr>
                        <a:t>322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US" sz="900" b="0" i="0" u="none" strike="noStrike">
                          <a:solidFill>
                            <a:srgbClr val="102C23"/>
                          </a:solidFill>
                          <a:effectLst/>
                          <a:latin typeface="Arial" panose="020B0604020202020204" pitchFamily="34" charset="0"/>
                        </a:rPr>
                        <a:t>308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US" sz="900" b="0" i="0" u="none" strike="noStrike">
                          <a:solidFill>
                            <a:srgbClr val="102C23"/>
                          </a:solidFill>
                          <a:effectLst/>
                          <a:latin typeface="Arial" panose="020B0604020202020204" pitchFamily="34" charset="0"/>
                        </a:rPr>
                        <a:t>295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US" sz="900" b="0" i="0" u="none" strike="noStrike">
                          <a:solidFill>
                            <a:srgbClr val="102C23"/>
                          </a:solidFill>
                          <a:effectLst/>
                          <a:latin typeface="Arial" panose="020B0604020202020204" pitchFamily="34" charset="0"/>
                        </a:rPr>
                        <a:t>284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US" sz="900" b="0" i="0" u="none" strike="noStrike">
                          <a:solidFill>
                            <a:srgbClr val="102C23"/>
                          </a:solidFill>
                          <a:effectLst/>
                          <a:latin typeface="Arial" panose="020B0604020202020204" pitchFamily="34" charset="0"/>
                        </a:rPr>
                        <a:t>273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US" sz="900" b="0" i="0" u="none" strike="noStrike">
                          <a:solidFill>
                            <a:srgbClr val="102C23"/>
                          </a:solidFill>
                          <a:effectLst/>
                          <a:latin typeface="Arial" panose="020B0604020202020204" pitchFamily="34" charset="0"/>
                        </a:rPr>
                        <a:t>263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tc>
                  <a:txBody>
                    <a:bodyPr/>
                    <a:lstStyle/>
                    <a:p>
                      <a:pPr algn="ctr" rtl="0" fontAlgn="b"/>
                      <a:r>
                        <a:rPr lang="en-US" sz="900" b="0" i="0" u="none" strike="noStrike">
                          <a:solidFill>
                            <a:srgbClr val="102C23"/>
                          </a:solidFill>
                          <a:effectLst/>
                          <a:latin typeface="Arial" panose="020B0604020202020204" pitchFamily="34" charset="0"/>
                        </a:rPr>
                        <a:t>253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CE1D0"/>
                    </a:solidFill>
                  </a:tcPr>
                </a:tc>
                <a:extLst>
                  <a:ext uri="{0D108BD9-81ED-4DB2-BD59-A6C34878D82A}">
                    <a16:rowId xmlns:a16="http://schemas.microsoft.com/office/drawing/2014/main" val="492552046"/>
                  </a:ext>
                </a:extLst>
              </a:tr>
              <a:tr h="213519">
                <a:tc>
                  <a:txBody>
                    <a:bodyPr/>
                    <a:lstStyle/>
                    <a:p>
                      <a:pPr algn="ctr" rtl="0" fontAlgn="b"/>
                      <a:r>
                        <a:rPr lang="en-US" sz="900" b="1" i="0" u="none" strike="noStrike">
                          <a:solidFill>
                            <a:srgbClr val="3F685E"/>
                          </a:solidFill>
                          <a:effectLst/>
                          <a:latin typeface="Arial" panose="020B0604020202020204" pitchFamily="34" charset="0"/>
                        </a:rPr>
                        <a:t>16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4E5"/>
                    </a:solidFill>
                  </a:tcPr>
                </a:tc>
                <a:tc>
                  <a:txBody>
                    <a:bodyPr/>
                    <a:lstStyle/>
                    <a:p>
                      <a:pPr algn="ctr" rtl="0" fontAlgn="b"/>
                      <a:r>
                        <a:rPr lang="en-US" sz="900" b="0" i="0" u="none" strike="noStrike">
                          <a:solidFill>
                            <a:srgbClr val="102C23"/>
                          </a:solidFill>
                          <a:effectLst/>
                          <a:latin typeface="Arial" panose="020B0604020202020204" pitchFamily="34" charset="0"/>
                        </a:rPr>
                        <a:t>330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tc>
                  <a:txBody>
                    <a:bodyPr/>
                    <a:lstStyle/>
                    <a:p>
                      <a:pPr algn="ctr" rtl="0" fontAlgn="b"/>
                      <a:r>
                        <a:rPr lang="en-US" sz="900" b="0" i="0" u="none" strike="noStrike">
                          <a:solidFill>
                            <a:srgbClr val="102C23"/>
                          </a:solidFill>
                          <a:effectLst/>
                          <a:latin typeface="Arial" panose="020B0604020202020204" pitchFamily="34" charset="0"/>
                        </a:rPr>
                        <a:t>314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tc>
                  <a:txBody>
                    <a:bodyPr/>
                    <a:lstStyle/>
                    <a:p>
                      <a:pPr algn="ctr" rtl="0" fontAlgn="b"/>
                      <a:r>
                        <a:rPr lang="en-US" sz="900" b="0" i="0" u="none" strike="noStrike">
                          <a:solidFill>
                            <a:srgbClr val="102C23"/>
                          </a:solidFill>
                          <a:effectLst/>
                          <a:latin typeface="Arial" panose="020B0604020202020204" pitchFamily="34" charset="0"/>
                        </a:rPr>
                        <a:t>30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tc>
                  <a:txBody>
                    <a:bodyPr/>
                    <a:lstStyle/>
                    <a:p>
                      <a:pPr algn="ctr" rtl="0" fontAlgn="b"/>
                      <a:r>
                        <a:rPr lang="en-US" sz="900" b="0" i="0" u="none" strike="noStrike">
                          <a:solidFill>
                            <a:srgbClr val="102C23"/>
                          </a:solidFill>
                          <a:effectLst/>
                          <a:latin typeface="Arial" panose="020B0604020202020204" pitchFamily="34" charset="0"/>
                        </a:rPr>
                        <a:t>287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tc>
                  <a:txBody>
                    <a:bodyPr/>
                    <a:lstStyle/>
                    <a:p>
                      <a:pPr algn="ctr" rtl="0" fontAlgn="b"/>
                      <a:r>
                        <a:rPr lang="en-US" sz="900" b="0" i="0" u="none" strike="noStrike">
                          <a:solidFill>
                            <a:srgbClr val="102C23"/>
                          </a:solidFill>
                          <a:effectLst/>
                          <a:latin typeface="Arial" panose="020B0604020202020204" pitchFamily="34" charset="0"/>
                        </a:rPr>
                        <a:t>275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tc>
                  <a:txBody>
                    <a:bodyPr/>
                    <a:lstStyle/>
                    <a:p>
                      <a:pPr algn="ctr" rtl="0" fontAlgn="b"/>
                      <a:r>
                        <a:rPr lang="en-US" sz="900" b="0" i="0" u="none" strike="noStrike">
                          <a:solidFill>
                            <a:srgbClr val="102C23"/>
                          </a:solidFill>
                          <a:effectLst/>
                          <a:latin typeface="Arial" panose="020B0604020202020204" pitchFamily="34" charset="0"/>
                        </a:rPr>
                        <a:t>264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tc>
                  <a:txBody>
                    <a:bodyPr/>
                    <a:lstStyle/>
                    <a:p>
                      <a:pPr algn="ctr" rtl="0" fontAlgn="b"/>
                      <a:r>
                        <a:rPr lang="en-US" sz="900" b="0" i="0" u="none" strike="noStrike">
                          <a:solidFill>
                            <a:srgbClr val="102C23"/>
                          </a:solidFill>
                          <a:effectLst/>
                          <a:latin typeface="Arial" panose="020B0604020202020204" pitchFamily="34" charset="0"/>
                        </a:rPr>
                        <a:t>253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tc>
                  <a:txBody>
                    <a:bodyPr/>
                    <a:lstStyle/>
                    <a:p>
                      <a:pPr algn="ctr" rtl="0" fontAlgn="b"/>
                      <a:r>
                        <a:rPr lang="en-US" sz="900" b="0" i="0" u="none" strike="noStrike">
                          <a:solidFill>
                            <a:srgbClr val="102C23"/>
                          </a:solidFill>
                          <a:effectLst/>
                          <a:latin typeface="Arial" panose="020B0604020202020204" pitchFamily="34" charset="0"/>
                        </a:rPr>
                        <a:t>244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tc>
                  <a:txBody>
                    <a:bodyPr/>
                    <a:lstStyle/>
                    <a:p>
                      <a:pPr algn="ctr" rtl="0" fontAlgn="b"/>
                      <a:r>
                        <a:rPr lang="en-US" sz="900" b="0" i="0" u="none" strike="noStrike">
                          <a:solidFill>
                            <a:srgbClr val="102C23"/>
                          </a:solidFill>
                          <a:effectLst/>
                          <a:latin typeface="Arial" panose="020B0604020202020204" pitchFamily="34" charset="0"/>
                        </a:rPr>
                        <a:t>235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F3EC"/>
                    </a:solidFill>
                  </a:tcPr>
                </a:tc>
                <a:extLst>
                  <a:ext uri="{0D108BD9-81ED-4DB2-BD59-A6C34878D82A}">
                    <a16:rowId xmlns:a16="http://schemas.microsoft.com/office/drawing/2014/main" val="3158755765"/>
                  </a:ext>
                </a:extLst>
              </a:tr>
            </a:tbl>
          </a:graphicData>
        </a:graphic>
      </p:graphicFrame>
    </p:spTree>
    <p:extLst>
      <p:ext uri="{BB962C8B-B14F-4D97-AF65-F5344CB8AC3E}">
        <p14:creationId xmlns:p14="http://schemas.microsoft.com/office/powerpoint/2010/main" val="998782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270046-B34D-2D8C-EACD-098A20E947DF}"/>
            </a:ext>
          </a:extLst>
        </p:cNvPr>
        <p:cNvGrpSpPr/>
        <p:nvPr/>
      </p:nvGrpSpPr>
      <p:grpSpPr>
        <a:xfrm>
          <a:off x="0" y="0"/>
          <a:ext cx="0" cy="0"/>
          <a:chOff x="0" y="0"/>
          <a:chExt cx="0" cy="0"/>
        </a:xfrm>
      </p:grpSpPr>
      <p:sp>
        <p:nvSpPr>
          <p:cNvPr id="30" name="Rectangle 29">
            <a:extLst>
              <a:ext uri="{FF2B5EF4-FFF2-40B4-BE49-F238E27FC236}">
                <a16:creationId xmlns:a16="http://schemas.microsoft.com/office/drawing/2014/main" id="{7327054B-52D7-D1B8-7F86-52C03C8DA44C}"/>
              </a:ext>
            </a:extLst>
          </p:cNvPr>
          <p:cNvSpPr/>
          <p:nvPr/>
        </p:nvSpPr>
        <p:spPr>
          <a:xfrm>
            <a:off x="277056" y="5229098"/>
            <a:ext cx="4141484" cy="8467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6" name="Rectangle 25">
            <a:extLst>
              <a:ext uri="{FF2B5EF4-FFF2-40B4-BE49-F238E27FC236}">
                <a16:creationId xmlns:a16="http://schemas.microsoft.com/office/drawing/2014/main" id="{B563781F-6558-1624-8EC6-4C0F6D63B1EE}"/>
              </a:ext>
            </a:extLst>
          </p:cNvPr>
          <p:cNvSpPr/>
          <p:nvPr/>
        </p:nvSpPr>
        <p:spPr>
          <a:xfrm>
            <a:off x="250825" y="3865571"/>
            <a:ext cx="4141484" cy="846767"/>
          </a:xfrm>
          <a:prstGeom prst="rect">
            <a:avLst/>
          </a:prstGeom>
          <a:solidFill>
            <a:srgbClr val="FF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2" name="Rectangle 21">
            <a:extLst>
              <a:ext uri="{FF2B5EF4-FFF2-40B4-BE49-F238E27FC236}">
                <a16:creationId xmlns:a16="http://schemas.microsoft.com/office/drawing/2014/main" id="{8EF1AF1D-179E-AE91-994B-9F1261F1C5E9}"/>
              </a:ext>
            </a:extLst>
          </p:cNvPr>
          <p:cNvSpPr/>
          <p:nvPr/>
        </p:nvSpPr>
        <p:spPr>
          <a:xfrm>
            <a:off x="250825" y="2602861"/>
            <a:ext cx="4141484" cy="846767"/>
          </a:xfrm>
          <a:prstGeom prst="rect">
            <a:avLst/>
          </a:prstGeom>
          <a:solidFill>
            <a:srgbClr val="FF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0" name="Rectangle 19">
            <a:extLst>
              <a:ext uri="{FF2B5EF4-FFF2-40B4-BE49-F238E27FC236}">
                <a16:creationId xmlns:a16="http://schemas.microsoft.com/office/drawing/2014/main" id="{470DF247-E91C-8BA2-1240-2B9D3BD37804}"/>
              </a:ext>
            </a:extLst>
          </p:cNvPr>
          <p:cNvSpPr/>
          <p:nvPr/>
        </p:nvSpPr>
        <p:spPr>
          <a:xfrm>
            <a:off x="250825" y="1358873"/>
            <a:ext cx="4141484" cy="8467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14" name="Rectangle 13">
            <a:extLst>
              <a:ext uri="{FF2B5EF4-FFF2-40B4-BE49-F238E27FC236}">
                <a16:creationId xmlns:a16="http://schemas.microsoft.com/office/drawing/2014/main" id="{CBA3385E-78CB-9A1E-AF6D-0983FFCBD5E4}"/>
              </a:ext>
            </a:extLst>
          </p:cNvPr>
          <p:cNvSpPr/>
          <p:nvPr/>
        </p:nvSpPr>
        <p:spPr>
          <a:xfrm>
            <a:off x="4751389" y="1358873"/>
            <a:ext cx="4141786" cy="2742542"/>
          </a:xfrm>
          <a:prstGeom prst="rect">
            <a:avLst/>
          </a:prstGeom>
          <a:solidFill>
            <a:srgbClr val="D8FA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6" name="Text Placeholder 5">
            <a:extLst>
              <a:ext uri="{FF2B5EF4-FFF2-40B4-BE49-F238E27FC236}">
                <a16:creationId xmlns:a16="http://schemas.microsoft.com/office/drawing/2014/main" id="{BA262EF2-E910-C9F7-5770-B69703038D01}"/>
              </a:ext>
            </a:extLst>
          </p:cNvPr>
          <p:cNvSpPr>
            <a:spLocks noGrp="1"/>
          </p:cNvSpPr>
          <p:nvPr>
            <p:ph type="body" sz="quarter" idx="13"/>
          </p:nvPr>
        </p:nvSpPr>
        <p:spPr/>
        <p:txBody>
          <a:bodyPr/>
          <a:lstStyle/>
          <a:p>
            <a:r>
              <a:rPr lang="en-US"/>
              <a:t>Source(s): Capital IQ, </a:t>
            </a:r>
            <a:r>
              <a:rPr lang="en-US" err="1"/>
              <a:t>PitchBook</a:t>
            </a:r>
            <a:r>
              <a:rPr lang="en-US"/>
              <a:t>, Bloomberg</a:t>
            </a:r>
          </a:p>
          <a:p>
            <a:endParaRPr lang="en-US"/>
          </a:p>
        </p:txBody>
      </p:sp>
      <p:sp>
        <p:nvSpPr>
          <p:cNvPr id="2" name="Text Placeholder 1">
            <a:extLst>
              <a:ext uri="{FF2B5EF4-FFF2-40B4-BE49-F238E27FC236}">
                <a16:creationId xmlns:a16="http://schemas.microsoft.com/office/drawing/2014/main" id="{2BA59DFA-525C-46F3-03E0-6DE4385F9B6B}"/>
              </a:ext>
            </a:extLst>
          </p:cNvPr>
          <p:cNvSpPr>
            <a:spLocks noGrp="1"/>
          </p:cNvSpPr>
          <p:nvPr>
            <p:ph type="body" sz="quarter" idx="21"/>
          </p:nvPr>
        </p:nvSpPr>
        <p:spPr/>
        <p:txBody>
          <a:bodyPr/>
          <a:lstStyle/>
          <a:p>
            <a:r>
              <a:rPr lang="en-US"/>
              <a:t>Full Merger Financing (DCF Price), </a:t>
            </a:r>
            <a:r>
              <a:rPr lang="en-US" i="1" err="1"/>
              <a:t>usd</a:t>
            </a:r>
            <a:r>
              <a:rPr lang="en-US" i="1"/>
              <a:t> millions</a:t>
            </a:r>
          </a:p>
        </p:txBody>
      </p:sp>
      <p:sp>
        <p:nvSpPr>
          <p:cNvPr id="4" name="Title 3">
            <a:extLst>
              <a:ext uri="{FF2B5EF4-FFF2-40B4-BE49-F238E27FC236}">
                <a16:creationId xmlns:a16="http://schemas.microsoft.com/office/drawing/2014/main" id="{3716EE46-D41B-B5BA-EA0E-0C2E9D7B7719}"/>
              </a:ext>
            </a:extLst>
          </p:cNvPr>
          <p:cNvSpPr>
            <a:spLocks noGrp="1"/>
          </p:cNvSpPr>
          <p:nvPr>
            <p:ph type="title"/>
          </p:nvPr>
        </p:nvSpPr>
        <p:spPr/>
        <p:txBody>
          <a:bodyPr/>
          <a:lstStyle/>
          <a:p>
            <a:r>
              <a:rPr lang="en-US"/>
              <a:t>Deal Financing</a:t>
            </a:r>
          </a:p>
        </p:txBody>
      </p:sp>
      <p:sp>
        <p:nvSpPr>
          <p:cNvPr id="9" name="Text Placeholder 8">
            <a:extLst>
              <a:ext uri="{FF2B5EF4-FFF2-40B4-BE49-F238E27FC236}">
                <a16:creationId xmlns:a16="http://schemas.microsoft.com/office/drawing/2014/main" id="{49E1292C-2343-8C65-0E54-DD4B5F6E80DD}"/>
              </a:ext>
            </a:extLst>
          </p:cNvPr>
          <p:cNvSpPr>
            <a:spLocks noGrp="1"/>
          </p:cNvSpPr>
          <p:nvPr>
            <p:ph type="body" idx="26"/>
          </p:nvPr>
        </p:nvSpPr>
        <p:spPr/>
        <p:txBody>
          <a:bodyPr/>
          <a:lstStyle/>
          <a:p>
            <a:r>
              <a:rPr lang="en-US"/>
              <a:t>DCF Financing Breakdown</a:t>
            </a:r>
          </a:p>
        </p:txBody>
      </p:sp>
      <p:sp>
        <p:nvSpPr>
          <p:cNvPr id="7" name="Text Placeholder 6">
            <a:extLst>
              <a:ext uri="{FF2B5EF4-FFF2-40B4-BE49-F238E27FC236}">
                <a16:creationId xmlns:a16="http://schemas.microsoft.com/office/drawing/2014/main" id="{BAEAED21-099F-1839-B4CD-C6D59160FCF1}"/>
              </a:ext>
            </a:extLst>
          </p:cNvPr>
          <p:cNvSpPr>
            <a:spLocks noGrp="1"/>
          </p:cNvSpPr>
          <p:nvPr>
            <p:ph type="body" idx="22"/>
          </p:nvPr>
        </p:nvSpPr>
        <p:spPr/>
        <p:txBody>
          <a:bodyPr>
            <a:normAutofit/>
          </a:bodyPr>
          <a:lstStyle/>
          <a:p>
            <a:r>
              <a:rPr lang="en-US"/>
              <a:t>Equity Share Exchange Ratio – April 1, ‘25</a:t>
            </a:r>
          </a:p>
        </p:txBody>
      </p:sp>
      <p:graphicFrame>
        <p:nvGraphicFramePr>
          <p:cNvPr id="3" name="Diagram 2">
            <a:extLst>
              <a:ext uri="{FF2B5EF4-FFF2-40B4-BE49-F238E27FC236}">
                <a16:creationId xmlns:a16="http://schemas.microsoft.com/office/drawing/2014/main" id="{BDF05900-847B-46BD-2D9C-CD26C8125E96}"/>
              </a:ext>
            </a:extLst>
          </p:cNvPr>
          <p:cNvGraphicFramePr/>
          <p:nvPr>
            <p:extLst>
              <p:ext uri="{D42A27DB-BD31-4B8C-83A1-F6EECF244321}">
                <p14:modId xmlns:p14="http://schemas.microsoft.com/office/powerpoint/2010/main" val="3595797223"/>
              </p:ext>
            </p:extLst>
          </p:nvPr>
        </p:nvGraphicFramePr>
        <p:xfrm>
          <a:off x="4709645" y="1374778"/>
          <a:ext cx="4141484" cy="28130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Rectangle 15">
            <a:extLst>
              <a:ext uri="{FF2B5EF4-FFF2-40B4-BE49-F238E27FC236}">
                <a16:creationId xmlns:a16="http://schemas.microsoft.com/office/drawing/2014/main" id="{7C36F3A4-F5C0-B52E-67B7-DEAB8680AAD6}"/>
              </a:ext>
            </a:extLst>
          </p:cNvPr>
          <p:cNvSpPr/>
          <p:nvPr/>
        </p:nvSpPr>
        <p:spPr>
          <a:xfrm>
            <a:off x="4751387" y="4139464"/>
            <a:ext cx="4141783" cy="1982033"/>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graphicFrame>
        <p:nvGraphicFramePr>
          <p:cNvPr id="21" name="Diagram 20">
            <a:extLst>
              <a:ext uri="{FF2B5EF4-FFF2-40B4-BE49-F238E27FC236}">
                <a16:creationId xmlns:a16="http://schemas.microsoft.com/office/drawing/2014/main" id="{B58695DF-25CF-FD59-B42F-545CD329FBE5}"/>
              </a:ext>
            </a:extLst>
          </p:cNvPr>
          <p:cNvGraphicFramePr/>
          <p:nvPr>
            <p:extLst>
              <p:ext uri="{D42A27DB-BD31-4B8C-83A1-F6EECF244321}">
                <p14:modId xmlns:p14="http://schemas.microsoft.com/office/powerpoint/2010/main" val="2009341356"/>
              </p:ext>
            </p:extLst>
          </p:nvPr>
        </p:nvGraphicFramePr>
        <p:xfrm>
          <a:off x="4871163" y="4057332"/>
          <a:ext cx="4138738" cy="205900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cxnSp>
        <p:nvCxnSpPr>
          <p:cNvPr id="29" name="Straight Connector 28">
            <a:extLst>
              <a:ext uri="{FF2B5EF4-FFF2-40B4-BE49-F238E27FC236}">
                <a16:creationId xmlns:a16="http://schemas.microsoft.com/office/drawing/2014/main" id="{2BC3B759-2BFB-A5B7-D820-088F6DCBEF44}"/>
              </a:ext>
            </a:extLst>
          </p:cNvPr>
          <p:cNvCxnSpPr>
            <a:cxnSpLocks/>
          </p:cNvCxnSpPr>
          <p:nvPr/>
        </p:nvCxnSpPr>
        <p:spPr>
          <a:xfrm flipH="1">
            <a:off x="5254269" y="2058907"/>
            <a:ext cx="1370402" cy="1342474"/>
          </a:xfrm>
          <a:prstGeom prst="line">
            <a:avLst/>
          </a:prstGeom>
          <a:ln/>
        </p:spPr>
        <p:style>
          <a:lnRef idx="3">
            <a:schemeClr val="accent2"/>
          </a:lnRef>
          <a:fillRef idx="0">
            <a:schemeClr val="accent2"/>
          </a:fillRef>
          <a:effectRef idx="2">
            <a:schemeClr val="accent2"/>
          </a:effectRef>
          <a:fontRef idx="minor">
            <a:schemeClr val="tx1"/>
          </a:fontRef>
        </p:style>
      </p:cxnSp>
      <p:cxnSp>
        <p:nvCxnSpPr>
          <p:cNvPr id="44" name="Connector: Curved 43">
            <a:extLst>
              <a:ext uri="{FF2B5EF4-FFF2-40B4-BE49-F238E27FC236}">
                <a16:creationId xmlns:a16="http://schemas.microsoft.com/office/drawing/2014/main" id="{9FFA3D58-1C86-6BF7-357E-6E176F52D56F}"/>
              </a:ext>
            </a:extLst>
          </p:cNvPr>
          <p:cNvCxnSpPr>
            <a:cxnSpLocks/>
          </p:cNvCxnSpPr>
          <p:nvPr/>
        </p:nvCxnSpPr>
        <p:spPr>
          <a:xfrm rot="5400000">
            <a:off x="6181829" y="3184388"/>
            <a:ext cx="1924015" cy="1809922"/>
          </a:xfrm>
          <a:prstGeom prst="curvedConnector3">
            <a:avLst>
              <a:gd name="adj1" fmla="val 50000"/>
            </a:avLst>
          </a:prstGeom>
          <a:ln>
            <a:solidFill>
              <a:srgbClr val="C0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A97EDF5-85B0-89A8-E605-D246CC0A6D58}"/>
              </a:ext>
            </a:extLst>
          </p:cNvPr>
          <p:cNvSpPr txBox="1"/>
          <p:nvPr/>
        </p:nvSpPr>
        <p:spPr>
          <a:xfrm>
            <a:off x="743551" y="1482046"/>
            <a:ext cx="1485772" cy="1077218"/>
          </a:xfrm>
          <a:prstGeom prst="rect">
            <a:avLst/>
          </a:prstGeom>
          <a:noFill/>
        </p:spPr>
        <p:txBody>
          <a:bodyPr wrap="square" lIns="91440" tIns="45720" rIns="91440" bIns="45720" rtlCol="0" anchor="t">
            <a:spAutoFit/>
          </a:bodyPr>
          <a:lstStyle/>
          <a:p>
            <a:r>
              <a:rPr lang="en-US" sz="3200" b="1"/>
              <a:t>65,175</a:t>
            </a:r>
            <a:endParaRPr lang="en-US" sz="3200">
              <a:cs typeface="Arial"/>
            </a:endParaRPr>
          </a:p>
          <a:p>
            <a:pPr algn="ctr"/>
            <a:endParaRPr lang="en-US" sz="3200" b="1">
              <a:cs typeface="Arial"/>
            </a:endParaRPr>
          </a:p>
        </p:txBody>
      </p:sp>
      <p:sp>
        <p:nvSpPr>
          <p:cNvPr id="11" name="Minus 10">
            <a:extLst>
              <a:ext uri="{FF2B5EF4-FFF2-40B4-BE49-F238E27FC236}">
                <a16:creationId xmlns:a16="http://schemas.microsoft.com/office/drawing/2014/main" id="{5CFC5308-3857-5770-A83E-EDB20A0A5E70}"/>
              </a:ext>
            </a:extLst>
          </p:cNvPr>
          <p:cNvSpPr/>
          <p:nvPr/>
        </p:nvSpPr>
        <p:spPr>
          <a:xfrm>
            <a:off x="1998488" y="2275525"/>
            <a:ext cx="642551" cy="325947"/>
          </a:xfrm>
          <a:prstGeom prst="mathMinus">
            <a:avLst/>
          </a:prstGeom>
          <a:solidFill>
            <a:srgbClr val="008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TextBox 11">
            <a:extLst>
              <a:ext uri="{FF2B5EF4-FFF2-40B4-BE49-F238E27FC236}">
                <a16:creationId xmlns:a16="http://schemas.microsoft.com/office/drawing/2014/main" id="{0D8B1259-5266-022F-693A-42347BAFDAE7}"/>
              </a:ext>
            </a:extLst>
          </p:cNvPr>
          <p:cNvSpPr txBox="1"/>
          <p:nvPr/>
        </p:nvSpPr>
        <p:spPr>
          <a:xfrm>
            <a:off x="754676" y="2765258"/>
            <a:ext cx="1635133" cy="584775"/>
          </a:xfrm>
          <a:prstGeom prst="rect">
            <a:avLst/>
          </a:prstGeom>
          <a:noFill/>
        </p:spPr>
        <p:txBody>
          <a:bodyPr wrap="square" lIns="91440" tIns="45720" rIns="91440" bIns="45720" rtlCol="0" anchor="t">
            <a:spAutoFit/>
          </a:bodyPr>
          <a:lstStyle/>
          <a:p>
            <a:pPr algn="ctr"/>
            <a:r>
              <a:rPr lang="en-US" sz="3200" b="1">
                <a:solidFill>
                  <a:srgbClr val="102C23"/>
                </a:solidFill>
                <a:cs typeface="Arial"/>
              </a:rPr>
              <a:t>5,204</a:t>
            </a:r>
            <a:endParaRPr lang="en-US">
              <a:solidFill>
                <a:srgbClr val="000000"/>
              </a:solidFill>
              <a:cs typeface="Arial"/>
            </a:endParaRPr>
          </a:p>
        </p:txBody>
      </p:sp>
      <p:sp>
        <p:nvSpPr>
          <p:cNvPr id="13" name="TextBox 12">
            <a:extLst>
              <a:ext uri="{FF2B5EF4-FFF2-40B4-BE49-F238E27FC236}">
                <a16:creationId xmlns:a16="http://schemas.microsoft.com/office/drawing/2014/main" id="{4ABFBCED-65AC-A571-119C-62DA27A1E89F}"/>
              </a:ext>
            </a:extLst>
          </p:cNvPr>
          <p:cNvSpPr txBox="1"/>
          <p:nvPr/>
        </p:nvSpPr>
        <p:spPr>
          <a:xfrm>
            <a:off x="2671976" y="1561539"/>
            <a:ext cx="1720334" cy="553998"/>
          </a:xfrm>
          <a:prstGeom prst="rect">
            <a:avLst/>
          </a:prstGeom>
          <a:noFill/>
        </p:spPr>
        <p:txBody>
          <a:bodyPr wrap="square" rtlCol="0">
            <a:spAutoFit/>
          </a:bodyPr>
          <a:lstStyle/>
          <a:p>
            <a:r>
              <a:rPr lang="en-US" sz="1000" i="1">
                <a:solidFill>
                  <a:srgbClr val="102C23"/>
                </a:solidFill>
              </a:rPr>
              <a:t>What SHOP is paying + equity issuance fee ($1.1b)</a:t>
            </a:r>
          </a:p>
          <a:p>
            <a:r>
              <a:rPr lang="en-US" sz="1000" i="1">
                <a:solidFill>
                  <a:srgbClr val="102C23"/>
                </a:solidFill>
              </a:rPr>
              <a:t>$295.51 + 20% = $354.61</a:t>
            </a:r>
          </a:p>
        </p:txBody>
      </p:sp>
      <p:sp>
        <p:nvSpPr>
          <p:cNvPr id="15" name="TextBox 14">
            <a:extLst>
              <a:ext uri="{FF2B5EF4-FFF2-40B4-BE49-F238E27FC236}">
                <a16:creationId xmlns:a16="http://schemas.microsoft.com/office/drawing/2014/main" id="{6E71D38F-5FB6-C05E-8F2A-1119ADD3EF8B}"/>
              </a:ext>
            </a:extLst>
          </p:cNvPr>
          <p:cNvSpPr txBox="1"/>
          <p:nvPr/>
        </p:nvSpPr>
        <p:spPr>
          <a:xfrm>
            <a:off x="2554972" y="2852031"/>
            <a:ext cx="1858358" cy="400110"/>
          </a:xfrm>
          <a:prstGeom prst="rect">
            <a:avLst/>
          </a:prstGeom>
          <a:noFill/>
        </p:spPr>
        <p:txBody>
          <a:bodyPr wrap="square" rtlCol="0">
            <a:spAutoFit/>
          </a:bodyPr>
          <a:lstStyle/>
          <a:p>
            <a:r>
              <a:rPr lang="en-US" sz="1000" i="1">
                <a:solidFill>
                  <a:srgbClr val="102C23"/>
                </a:solidFill>
              </a:rPr>
              <a:t>Excess </a:t>
            </a:r>
            <a:r>
              <a:rPr lang="en-US" sz="1000" i="1" u="sng">
                <a:solidFill>
                  <a:srgbClr val="102C23"/>
                </a:solidFill>
              </a:rPr>
              <a:t>cash</a:t>
            </a:r>
            <a:r>
              <a:rPr lang="en-US" sz="1000" i="1">
                <a:solidFill>
                  <a:srgbClr val="102C23"/>
                </a:solidFill>
              </a:rPr>
              <a:t> with buffer less</a:t>
            </a:r>
          </a:p>
          <a:p>
            <a:r>
              <a:rPr lang="en-US" sz="1000" i="1">
                <a:solidFill>
                  <a:srgbClr val="102C23"/>
                </a:solidFill>
              </a:rPr>
              <a:t>IB/legal fees ($200m)</a:t>
            </a:r>
          </a:p>
        </p:txBody>
      </p:sp>
      <p:sp>
        <p:nvSpPr>
          <p:cNvPr id="18" name="TextBox 17">
            <a:extLst>
              <a:ext uri="{FF2B5EF4-FFF2-40B4-BE49-F238E27FC236}">
                <a16:creationId xmlns:a16="http://schemas.microsoft.com/office/drawing/2014/main" id="{0F232DAB-117B-4974-8762-D475F3AA024C}"/>
              </a:ext>
            </a:extLst>
          </p:cNvPr>
          <p:cNvSpPr txBox="1"/>
          <p:nvPr/>
        </p:nvSpPr>
        <p:spPr>
          <a:xfrm>
            <a:off x="414028" y="4012661"/>
            <a:ext cx="2286197" cy="584775"/>
          </a:xfrm>
          <a:prstGeom prst="rect">
            <a:avLst/>
          </a:prstGeom>
          <a:noFill/>
        </p:spPr>
        <p:txBody>
          <a:bodyPr wrap="square" rtlCol="0">
            <a:spAutoFit/>
          </a:bodyPr>
          <a:lstStyle/>
          <a:p>
            <a:pPr algn="ctr"/>
            <a:r>
              <a:rPr lang="en-US" sz="3200" b="1">
                <a:solidFill>
                  <a:srgbClr val="102C23"/>
                </a:solidFill>
              </a:rPr>
              <a:t>3,583</a:t>
            </a:r>
          </a:p>
        </p:txBody>
      </p:sp>
      <p:sp>
        <p:nvSpPr>
          <p:cNvPr id="19" name="TextBox 18">
            <a:extLst>
              <a:ext uri="{FF2B5EF4-FFF2-40B4-BE49-F238E27FC236}">
                <a16:creationId xmlns:a16="http://schemas.microsoft.com/office/drawing/2014/main" id="{CEA44CA2-6226-AB0C-06D9-E649E04057FB}"/>
              </a:ext>
            </a:extLst>
          </p:cNvPr>
          <p:cNvSpPr txBox="1"/>
          <p:nvPr/>
        </p:nvSpPr>
        <p:spPr>
          <a:xfrm>
            <a:off x="2671976" y="4088313"/>
            <a:ext cx="1839943" cy="400110"/>
          </a:xfrm>
          <a:prstGeom prst="rect">
            <a:avLst/>
          </a:prstGeom>
          <a:noFill/>
        </p:spPr>
        <p:txBody>
          <a:bodyPr wrap="square" rtlCol="0">
            <a:spAutoFit/>
          </a:bodyPr>
          <a:lstStyle/>
          <a:p>
            <a:r>
              <a:rPr lang="en-US" sz="1000" i="1">
                <a:solidFill>
                  <a:srgbClr val="102C23"/>
                </a:solidFill>
              </a:rPr>
              <a:t>Maximum </a:t>
            </a:r>
            <a:r>
              <a:rPr lang="en-US" sz="1000" i="1" u="sng">
                <a:solidFill>
                  <a:srgbClr val="102C23"/>
                </a:solidFill>
              </a:rPr>
              <a:t>debt</a:t>
            </a:r>
            <a:r>
              <a:rPr lang="en-US" sz="1000" i="1">
                <a:solidFill>
                  <a:srgbClr val="102C23"/>
                </a:solidFill>
              </a:rPr>
              <a:t> + issuance fees</a:t>
            </a:r>
            <a:endParaRPr lang="en-US" sz="1000" i="1" u="sng">
              <a:solidFill>
                <a:srgbClr val="102C23"/>
              </a:solidFill>
            </a:endParaRPr>
          </a:p>
        </p:txBody>
      </p:sp>
      <p:sp>
        <p:nvSpPr>
          <p:cNvPr id="25" name="TextBox 24">
            <a:extLst>
              <a:ext uri="{FF2B5EF4-FFF2-40B4-BE49-F238E27FC236}">
                <a16:creationId xmlns:a16="http://schemas.microsoft.com/office/drawing/2014/main" id="{7BE2FE5A-CB39-307E-48B7-D8B76E5304AE}"/>
              </a:ext>
            </a:extLst>
          </p:cNvPr>
          <p:cNvSpPr txBox="1"/>
          <p:nvPr/>
        </p:nvSpPr>
        <p:spPr>
          <a:xfrm>
            <a:off x="307204" y="5355039"/>
            <a:ext cx="2286197" cy="584775"/>
          </a:xfrm>
          <a:prstGeom prst="rect">
            <a:avLst/>
          </a:prstGeom>
          <a:noFill/>
        </p:spPr>
        <p:txBody>
          <a:bodyPr wrap="square" lIns="91440" tIns="45720" rIns="91440" bIns="45720" rtlCol="0" anchor="t">
            <a:spAutoFit/>
          </a:bodyPr>
          <a:lstStyle/>
          <a:p>
            <a:pPr algn="ctr"/>
            <a:r>
              <a:rPr lang="en-US" sz="3200" b="1">
                <a:solidFill>
                  <a:srgbClr val="102C23"/>
                </a:solidFill>
                <a:cs typeface="Arial"/>
              </a:rPr>
              <a:t>56,388</a:t>
            </a:r>
          </a:p>
        </p:txBody>
      </p:sp>
      <p:sp>
        <p:nvSpPr>
          <p:cNvPr id="28" name="TextBox 27">
            <a:extLst>
              <a:ext uri="{FF2B5EF4-FFF2-40B4-BE49-F238E27FC236}">
                <a16:creationId xmlns:a16="http://schemas.microsoft.com/office/drawing/2014/main" id="{D22BC075-CEB8-DE95-A114-6232CE80B36B}"/>
              </a:ext>
            </a:extLst>
          </p:cNvPr>
          <p:cNvSpPr txBox="1"/>
          <p:nvPr/>
        </p:nvSpPr>
        <p:spPr>
          <a:xfrm>
            <a:off x="2704235" y="5507260"/>
            <a:ext cx="1839943" cy="246221"/>
          </a:xfrm>
          <a:prstGeom prst="rect">
            <a:avLst/>
          </a:prstGeom>
          <a:noFill/>
        </p:spPr>
        <p:txBody>
          <a:bodyPr wrap="square" rtlCol="0">
            <a:spAutoFit/>
          </a:bodyPr>
          <a:lstStyle/>
          <a:p>
            <a:r>
              <a:rPr lang="en-US" sz="1000" i="1">
                <a:solidFill>
                  <a:srgbClr val="102C23"/>
                </a:solidFill>
              </a:rPr>
              <a:t>Stock issuance</a:t>
            </a:r>
          </a:p>
        </p:txBody>
      </p:sp>
      <p:sp>
        <p:nvSpPr>
          <p:cNvPr id="17" name="Multiply 21">
            <a:extLst>
              <a:ext uri="{FF2B5EF4-FFF2-40B4-BE49-F238E27FC236}">
                <a16:creationId xmlns:a16="http://schemas.microsoft.com/office/drawing/2014/main" id="{674AD0A7-3DE1-D65B-A050-D052C5D8AD4A}"/>
              </a:ext>
            </a:extLst>
          </p:cNvPr>
          <p:cNvSpPr/>
          <p:nvPr/>
        </p:nvSpPr>
        <p:spPr>
          <a:xfrm>
            <a:off x="5615994" y="4938683"/>
            <a:ext cx="323476" cy="340389"/>
          </a:xfrm>
          <a:prstGeom prst="mathMultiply">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2" name="Minus 10">
            <a:extLst>
              <a:ext uri="{FF2B5EF4-FFF2-40B4-BE49-F238E27FC236}">
                <a16:creationId xmlns:a16="http://schemas.microsoft.com/office/drawing/2014/main" id="{46D068C2-0B34-77D1-7016-4E115DC9866E}"/>
              </a:ext>
            </a:extLst>
          </p:cNvPr>
          <p:cNvSpPr/>
          <p:nvPr/>
        </p:nvSpPr>
        <p:spPr>
          <a:xfrm>
            <a:off x="1998488" y="3521933"/>
            <a:ext cx="642551" cy="325947"/>
          </a:xfrm>
          <a:prstGeom prst="mathMinus">
            <a:avLst/>
          </a:prstGeom>
          <a:solidFill>
            <a:srgbClr val="008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3" name="Minus 10">
            <a:extLst>
              <a:ext uri="{FF2B5EF4-FFF2-40B4-BE49-F238E27FC236}">
                <a16:creationId xmlns:a16="http://schemas.microsoft.com/office/drawing/2014/main" id="{BA582D4F-168A-9366-2C19-F9978F4920CD}"/>
              </a:ext>
            </a:extLst>
          </p:cNvPr>
          <p:cNvSpPr/>
          <p:nvPr/>
        </p:nvSpPr>
        <p:spPr>
          <a:xfrm>
            <a:off x="250524" y="4804920"/>
            <a:ext cx="4141786" cy="325947"/>
          </a:xfrm>
          <a:prstGeom prst="mathMinus">
            <a:avLst/>
          </a:prstGeom>
          <a:solidFill>
            <a:srgbClr val="008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2958774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6EA66379-1811-3920-DB7B-46B3EFF5F1BB}"/>
              </a:ext>
            </a:extLst>
          </p:cNvPr>
          <p:cNvSpPr/>
          <p:nvPr/>
        </p:nvSpPr>
        <p:spPr>
          <a:xfrm>
            <a:off x="5398477" y="1347725"/>
            <a:ext cx="3491148" cy="4412063"/>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 name="Text Placeholder 1">
            <a:extLst>
              <a:ext uri="{FF2B5EF4-FFF2-40B4-BE49-F238E27FC236}">
                <a16:creationId xmlns:a16="http://schemas.microsoft.com/office/drawing/2014/main" id="{C5E96E20-671D-A4B2-5903-B68497000FDB}"/>
              </a:ext>
            </a:extLst>
          </p:cNvPr>
          <p:cNvSpPr>
            <a:spLocks noGrp="1"/>
          </p:cNvSpPr>
          <p:nvPr>
            <p:ph type="body" sz="quarter" idx="21"/>
          </p:nvPr>
        </p:nvSpPr>
        <p:spPr/>
        <p:txBody>
          <a:bodyPr/>
          <a:lstStyle/>
          <a:p>
            <a:r>
              <a:rPr lang="en-CA"/>
              <a:t>Risks to Transaction Success</a:t>
            </a:r>
          </a:p>
        </p:txBody>
      </p:sp>
      <p:sp>
        <p:nvSpPr>
          <p:cNvPr id="5" name="Text Placeholder 4">
            <a:extLst>
              <a:ext uri="{FF2B5EF4-FFF2-40B4-BE49-F238E27FC236}">
                <a16:creationId xmlns:a16="http://schemas.microsoft.com/office/drawing/2014/main" id="{DA8CA780-56A4-7C53-0CAF-D7422B55A79E}"/>
              </a:ext>
            </a:extLst>
          </p:cNvPr>
          <p:cNvSpPr>
            <a:spLocks noGrp="1"/>
          </p:cNvSpPr>
          <p:nvPr>
            <p:ph type="body" sz="quarter" idx="13"/>
          </p:nvPr>
        </p:nvSpPr>
        <p:spPr/>
        <p:txBody>
          <a:bodyPr/>
          <a:lstStyle/>
          <a:p>
            <a:endParaRPr lang="en-CA"/>
          </a:p>
        </p:txBody>
      </p:sp>
      <p:graphicFrame>
        <p:nvGraphicFramePr>
          <p:cNvPr id="6" name="Table 5">
            <a:extLst>
              <a:ext uri="{FF2B5EF4-FFF2-40B4-BE49-F238E27FC236}">
                <a16:creationId xmlns:a16="http://schemas.microsoft.com/office/drawing/2014/main" id="{5EB76316-6ACE-2A48-2947-BFBBD28E64FB}"/>
              </a:ext>
            </a:extLst>
          </p:cNvPr>
          <p:cNvGraphicFramePr>
            <a:graphicFrameLocks noGrp="1"/>
          </p:cNvGraphicFramePr>
          <p:nvPr>
            <p:extLst>
              <p:ext uri="{D42A27DB-BD31-4B8C-83A1-F6EECF244321}">
                <p14:modId xmlns:p14="http://schemas.microsoft.com/office/powerpoint/2010/main" val="2336280409"/>
              </p:ext>
            </p:extLst>
          </p:nvPr>
        </p:nvGraphicFramePr>
        <p:xfrm>
          <a:off x="456835" y="1513730"/>
          <a:ext cx="2972421" cy="2777445"/>
        </p:xfrm>
        <a:graphic>
          <a:graphicData uri="http://schemas.openxmlformats.org/drawingml/2006/table">
            <a:tbl>
              <a:tblPr firstRow="1" bandRow="1">
                <a:tableStyleId>{5C22544A-7EE6-4342-B048-85BDC9FD1C3A}</a:tableStyleId>
              </a:tblPr>
              <a:tblGrid>
                <a:gridCol w="990807">
                  <a:extLst>
                    <a:ext uri="{9D8B030D-6E8A-4147-A177-3AD203B41FA5}">
                      <a16:colId xmlns:a16="http://schemas.microsoft.com/office/drawing/2014/main" val="2697077816"/>
                    </a:ext>
                  </a:extLst>
                </a:gridCol>
                <a:gridCol w="990807">
                  <a:extLst>
                    <a:ext uri="{9D8B030D-6E8A-4147-A177-3AD203B41FA5}">
                      <a16:colId xmlns:a16="http://schemas.microsoft.com/office/drawing/2014/main" val="2016895275"/>
                    </a:ext>
                  </a:extLst>
                </a:gridCol>
                <a:gridCol w="990807">
                  <a:extLst>
                    <a:ext uri="{9D8B030D-6E8A-4147-A177-3AD203B41FA5}">
                      <a16:colId xmlns:a16="http://schemas.microsoft.com/office/drawing/2014/main" val="1703107691"/>
                    </a:ext>
                  </a:extLst>
                </a:gridCol>
              </a:tblGrid>
              <a:tr h="925815">
                <a:tc>
                  <a:txBody>
                    <a:bodyPr/>
                    <a:lstStyle/>
                    <a:p>
                      <a:endParaRPr lang="en-CA" sz="1300"/>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endParaRPr lang="en-CA" sz="130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endParaRPr lang="en-CA" sz="1300"/>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056800166"/>
                  </a:ext>
                </a:extLst>
              </a:tr>
              <a:tr h="925815">
                <a:tc>
                  <a:txBody>
                    <a:bodyPr/>
                    <a:lstStyle/>
                    <a:p>
                      <a:endParaRPr lang="en-CA" sz="1300"/>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endParaRPr lang="en-CA" sz="130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endParaRPr lang="en-CA" sz="1300"/>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16140000"/>
                  </a:ext>
                </a:extLst>
              </a:tr>
              <a:tr h="925815">
                <a:tc>
                  <a:txBody>
                    <a:bodyPr/>
                    <a:lstStyle/>
                    <a:p>
                      <a:endParaRPr lang="en-CA" sz="1300"/>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CA" sz="130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CA" sz="1300"/>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581962"/>
                  </a:ext>
                </a:extLst>
              </a:tr>
            </a:tbl>
          </a:graphicData>
        </a:graphic>
      </p:graphicFrame>
      <p:graphicFrame>
        <p:nvGraphicFramePr>
          <p:cNvPr id="7" name="Table 6">
            <a:extLst>
              <a:ext uri="{FF2B5EF4-FFF2-40B4-BE49-F238E27FC236}">
                <a16:creationId xmlns:a16="http://schemas.microsoft.com/office/drawing/2014/main" id="{056B59D7-327B-F07D-A4BE-217006271C73}"/>
              </a:ext>
            </a:extLst>
          </p:cNvPr>
          <p:cNvGraphicFramePr>
            <a:graphicFrameLocks noGrp="1"/>
          </p:cNvGraphicFramePr>
          <p:nvPr>
            <p:extLst>
              <p:ext uri="{D42A27DB-BD31-4B8C-83A1-F6EECF244321}">
                <p14:modId xmlns:p14="http://schemas.microsoft.com/office/powerpoint/2010/main" val="3823100238"/>
              </p:ext>
            </p:extLst>
          </p:nvPr>
        </p:nvGraphicFramePr>
        <p:xfrm>
          <a:off x="3839702" y="1053433"/>
          <a:ext cx="5049923" cy="4706355"/>
        </p:xfrm>
        <a:graphic>
          <a:graphicData uri="http://schemas.openxmlformats.org/drawingml/2006/table">
            <a:tbl>
              <a:tblPr firstRow="1" bandRow="1">
                <a:tableStyleId>{5C22544A-7EE6-4342-B048-85BDC9FD1C3A}</a:tableStyleId>
              </a:tblPr>
              <a:tblGrid>
                <a:gridCol w="1574027">
                  <a:extLst>
                    <a:ext uri="{9D8B030D-6E8A-4147-A177-3AD203B41FA5}">
                      <a16:colId xmlns:a16="http://schemas.microsoft.com/office/drawing/2014/main" val="3067996074"/>
                    </a:ext>
                  </a:extLst>
                </a:gridCol>
                <a:gridCol w="3475896">
                  <a:extLst>
                    <a:ext uri="{9D8B030D-6E8A-4147-A177-3AD203B41FA5}">
                      <a16:colId xmlns:a16="http://schemas.microsoft.com/office/drawing/2014/main" val="1419877231"/>
                    </a:ext>
                  </a:extLst>
                </a:gridCol>
              </a:tblGrid>
              <a:tr h="265144">
                <a:tc>
                  <a:txBody>
                    <a:bodyPr/>
                    <a:lstStyle/>
                    <a:p>
                      <a:r>
                        <a:rPr lang="en-CA" sz="1200">
                          <a:solidFill>
                            <a:schemeClr val="tx2"/>
                          </a:solidFill>
                        </a:rPr>
                        <a:t>Types of Risk</a:t>
                      </a:r>
                    </a:p>
                  </a:txBody>
                  <a:tcPr>
                    <a:lnB w="9525" cap="flat" cmpd="sng" algn="ctr">
                      <a:solidFill>
                        <a:schemeClr val="tx2"/>
                      </a:solidFill>
                      <a:prstDash val="solid"/>
                      <a:round/>
                      <a:headEnd type="none" w="med" len="med"/>
                      <a:tailEnd type="none" w="med" len="med"/>
                    </a:lnB>
                    <a:noFill/>
                  </a:tcPr>
                </a:tc>
                <a:tc>
                  <a:txBody>
                    <a:bodyPr/>
                    <a:lstStyle/>
                    <a:p>
                      <a:r>
                        <a:rPr lang="en-CA" sz="1200">
                          <a:solidFill>
                            <a:schemeClr val="tx2"/>
                          </a:solidFill>
                        </a:rPr>
                        <a:t>Key Risk</a:t>
                      </a: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49427609"/>
                  </a:ext>
                </a:extLst>
              </a:tr>
              <a:tr h="1727437">
                <a:tc>
                  <a:txBody>
                    <a:bodyPr/>
                    <a:lstStyle/>
                    <a:p>
                      <a:pPr algn="ctr"/>
                      <a:r>
                        <a:rPr lang="en-CA" sz="900" b="1">
                          <a:solidFill>
                            <a:schemeClr val="bg1"/>
                          </a:solidFill>
                        </a:rPr>
                        <a:t>Transaction Execution Risk</a:t>
                      </a:r>
                    </a:p>
                  </a:txBody>
                  <a:tcPr anchor="ctr">
                    <a:lnT w="9525" cap="flat" cmpd="sng" algn="ctr">
                      <a:solidFill>
                        <a:schemeClr val="tx2"/>
                      </a:solidFill>
                      <a:prstDash val="solid"/>
                      <a:round/>
                      <a:headEnd type="none" w="med" len="med"/>
                      <a:tailEnd type="none" w="med" len="med"/>
                    </a:lnT>
                    <a:solidFill>
                      <a:srgbClr val="102C23"/>
                    </a:solidFill>
                  </a:tcPr>
                </a:tc>
                <a:tc>
                  <a:txBody>
                    <a:bodyPr/>
                    <a:lstStyle/>
                    <a:p>
                      <a:pPr marL="228600" indent="-228600" algn="l" rtl="0" fontAlgn="base">
                        <a:lnSpc>
                          <a:spcPct val="100000"/>
                        </a:lnSpc>
                        <a:buFont typeface="+mj-lt"/>
                        <a:buAutoNum type="alphaUcPeriod"/>
                      </a:pPr>
                      <a:endParaRPr lang="en-CA" sz="900" b="1" i="0">
                        <a:solidFill>
                          <a:srgbClr val="000000"/>
                        </a:solidFill>
                        <a:effectLst/>
                        <a:latin typeface="+mn-lt"/>
                      </a:endParaRPr>
                    </a:p>
                    <a:p>
                      <a:pPr marL="228600" indent="-228600" algn="l" rtl="0" fontAlgn="base">
                        <a:lnSpc>
                          <a:spcPct val="100000"/>
                        </a:lnSpc>
                        <a:buFont typeface="+mj-lt"/>
                        <a:buAutoNum type="alphaUcPeriod"/>
                      </a:pPr>
                      <a:endParaRPr lang="en-CA" sz="900" b="1" i="0">
                        <a:solidFill>
                          <a:srgbClr val="000000"/>
                        </a:solidFill>
                        <a:effectLst/>
                        <a:latin typeface="+mn-lt"/>
                      </a:endParaRPr>
                    </a:p>
                    <a:p>
                      <a:pPr marL="228600" indent="-228600" algn="l" rtl="0" fontAlgn="base">
                        <a:lnSpc>
                          <a:spcPct val="100000"/>
                        </a:lnSpc>
                        <a:buFont typeface="+mj-lt"/>
                        <a:buAutoNum type="alphaUcPeriod"/>
                      </a:pPr>
                      <a:r>
                        <a:rPr lang="en-CA" sz="900" b="1" i="0">
                          <a:solidFill>
                            <a:srgbClr val="000000"/>
                          </a:solidFill>
                          <a:effectLst/>
                          <a:latin typeface="+mn-lt"/>
                        </a:rPr>
                        <a:t>Regulatory Issues, </a:t>
                      </a:r>
                      <a:r>
                        <a:rPr lang="en-CA" sz="900" b="0" i="0">
                          <a:solidFill>
                            <a:srgbClr val="000000"/>
                          </a:solidFill>
                          <a:effectLst/>
                          <a:latin typeface="+mn-lt"/>
                        </a:rPr>
                        <a:t>FTC may block the deal</a:t>
                      </a:r>
                    </a:p>
                    <a:p>
                      <a:pPr marL="228600" indent="-228600" algn="l" rtl="0" fontAlgn="base">
                        <a:lnSpc>
                          <a:spcPct val="100000"/>
                        </a:lnSpc>
                        <a:buFont typeface="+mj-lt"/>
                        <a:buAutoNum type="alphaUcPeriod"/>
                      </a:pPr>
                      <a:endParaRPr lang="en-CA" sz="900" b="0" i="0">
                        <a:solidFill>
                          <a:srgbClr val="000000"/>
                        </a:solidFill>
                        <a:effectLst/>
                        <a:latin typeface="+mn-lt"/>
                      </a:endParaRPr>
                    </a:p>
                    <a:p>
                      <a:pPr marL="228600" indent="-228600" algn="l" rtl="0" fontAlgn="base">
                        <a:lnSpc>
                          <a:spcPct val="100000"/>
                        </a:lnSpc>
                        <a:buFont typeface="+mj-lt"/>
                        <a:buAutoNum type="alphaUcPeriod"/>
                      </a:pPr>
                      <a:r>
                        <a:rPr lang="en-CA" sz="900" b="1" i="0">
                          <a:solidFill>
                            <a:srgbClr val="000000"/>
                          </a:solidFill>
                          <a:effectLst/>
                          <a:latin typeface="+mn-lt"/>
                        </a:rPr>
                        <a:t>Target’s Rejection, </a:t>
                      </a:r>
                      <a:r>
                        <a:rPr lang="en-CA" sz="900" b="0" i="0">
                          <a:solidFill>
                            <a:srgbClr val="000000"/>
                          </a:solidFill>
                          <a:effectLst/>
                          <a:latin typeface="+mn-lt"/>
                        </a:rPr>
                        <a:t>APP May Reject Offer </a:t>
                      </a:r>
                    </a:p>
                    <a:p>
                      <a:pPr marL="228600" indent="-228600" algn="l" rtl="0" fontAlgn="base">
                        <a:lnSpc>
                          <a:spcPct val="100000"/>
                        </a:lnSpc>
                        <a:buFont typeface="+mj-lt"/>
                        <a:buAutoNum type="alphaUcPeriod"/>
                      </a:pPr>
                      <a:endParaRPr lang="en-CA" sz="900" b="0" i="0">
                        <a:solidFill>
                          <a:srgbClr val="000000"/>
                        </a:solidFill>
                        <a:effectLst/>
                        <a:latin typeface="+mn-lt"/>
                      </a:endParaRPr>
                    </a:p>
                    <a:p>
                      <a:pPr marL="228600" indent="-228600" algn="l" rtl="0" fontAlgn="base">
                        <a:lnSpc>
                          <a:spcPct val="100000"/>
                        </a:lnSpc>
                        <a:buFont typeface="+mj-lt"/>
                        <a:buAutoNum type="alphaUcPeriod"/>
                      </a:pPr>
                      <a:r>
                        <a:rPr lang="en-CA" sz="900" b="1" i="0">
                          <a:solidFill>
                            <a:srgbClr val="000000"/>
                          </a:solidFill>
                          <a:effectLst/>
                          <a:latin typeface="+mn-lt"/>
                        </a:rPr>
                        <a:t>Lack Of Capital, </a:t>
                      </a:r>
                      <a:r>
                        <a:rPr lang="en-CA" sz="900" b="0" i="0">
                          <a:solidFill>
                            <a:srgbClr val="000000"/>
                          </a:solidFill>
                          <a:effectLst/>
                          <a:latin typeface="+mn-lt"/>
                        </a:rPr>
                        <a:t>SHOP may fail to raise adequate capital for the acquisition</a:t>
                      </a:r>
                    </a:p>
                    <a:p>
                      <a:pPr marL="228600" indent="-228600" algn="l" rtl="0" fontAlgn="base">
                        <a:lnSpc>
                          <a:spcPct val="100000"/>
                        </a:lnSpc>
                        <a:buFont typeface="+mj-lt"/>
                        <a:buAutoNum type="alphaUcPeriod"/>
                      </a:pPr>
                      <a:endParaRPr lang="en-CA" sz="900" b="0" i="0">
                        <a:solidFill>
                          <a:srgbClr val="000000"/>
                        </a:solidFill>
                        <a:effectLst/>
                        <a:latin typeface="+mn-lt"/>
                      </a:endParaRPr>
                    </a:p>
                    <a:p>
                      <a:pPr marL="228600" indent="-228600" algn="l" rtl="0" fontAlgn="base">
                        <a:lnSpc>
                          <a:spcPct val="100000"/>
                        </a:lnSpc>
                        <a:buFont typeface="+mj-lt"/>
                        <a:buAutoNum type="alphaUcPeriod"/>
                      </a:pPr>
                      <a:r>
                        <a:rPr lang="en-CA" sz="900" b="1" i="0">
                          <a:solidFill>
                            <a:srgbClr val="000000"/>
                          </a:solidFill>
                          <a:effectLst/>
                          <a:latin typeface="+mn-lt"/>
                        </a:rPr>
                        <a:t>Proxy Battle, </a:t>
                      </a:r>
                      <a:r>
                        <a:rPr lang="en-US" sz="900"/>
                        <a:t>potential for </a:t>
                      </a:r>
                      <a:r>
                        <a:rPr lang="en-US" sz="900" b="0"/>
                        <a:t>a proxy battle </a:t>
                      </a:r>
                      <a:r>
                        <a:rPr lang="en-US" sz="900"/>
                        <a:t>with current APP shareholders</a:t>
                      </a:r>
                    </a:p>
                    <a:p>
                      <a:pPr marL="228600" indent="-228600" algn="l" rtl="0" fontAlgn="base">
                        <a:lnSpc>
                          <a:spcPct val="100000"/>
                        </a:lnSpc>
                        <a:buFont typeface="+mj-lt"/>
                        <a:buAutoNum type="alphaUcPeriod"/>
                      </a:pPr>
                      <a:endParaRPr lang="en-CA" sz="900" b="0" i="0">
                        <a:solidFill>
                          <a:srgbClr val="000000"/>
                        </a:solidFill>
                        <a:effectLst/>
                        <a:latin typeface="+mn-lt"/>
                      </a:endParaRPr>
                    </a:p>
                    <a:p>
                      <a:pPr marL="228600" indent="-228600" algn="l" rtl="0" fontAlgn="base">
                        <a:lnSpc>
                          <a:spcPct val="100000"/>
                        </a:lnSpc>
                        <a:buFont typeface="+mj-lt"/>
                        <a:buAutoNum type="alphaUcPeriod"/>
                      </a:pPr>
                      <a:endParaRPr lang="en-CA" sz="900" b="1" i="0">
                        <a:solidFill>
                          <a:srgbClr val="000000"/>
                        </a:solidFill>
                        <a:effectLst/>
                        <a:latin typeface="+mn-lt"/>
                      </a:endParaRPr>
                    </a:p>
                  </a:txBody>
                  <a:tcPr>
                    <a:lnT w="9525" cap="flat" cmpd="sng" algn="ctr">
                      <a:solidFill>
                        <a:schemeClr val="tx2"/>
                      </a:solidFill>
                      <a:prstDash val="solid"/>
                      <a:round/>
                      <a:headEnd type="none" w="med" len="med"/>
                      <a:tailEnd type="none" w="med" len="med"/>
                    </a:lnT>
                    <a:lnB w="19050" cap="flat" cmpd="sng" algn="ctr">
                      <a:solidFill>
                        <a:schemeClr val="accent1"/>
                      </a:solidFill>
                      <a:prstDash val="sysDash"/>
                      <a:round/>
                      <a:headEnd type="none" w="med" len="med"/>
                      <a:tailEnd type="none" w="med" len="med"/>
                    </a:lnB>
                    <a:noFill/>
                  </a:tcPr>
                </a:tc>
                <a:extLst>
                  <a:ext uri="{0D108BD9-81ED-4DB2-BD59-A6C34878D82A}">
                    <a16:rowId xmlns:a16="http://schemas.microsoft.com/office/drawing/2014/main" val="3754590454"/>
                  </a:ext>
                </a:extLst>
              </a:tr>
              <a:tr h="1532028">
                <a:tc>
                  <a:txBody>
                    <a:bodyPr/>
                    <a:lstStyle/>
                    <a:p>
                      <a:pPr algn="ctr"/>
                      <a:r>
                        <a:rPr lang="en-CA" sz="900" b="1">
                          <a:solidFill>
                            <a:schemeClr val="bg1"/>
                          </a:solidFill>
                        </a:rPr>
                        <a:t>Integration &amp; Strategic Risks</a:t>
                      </a:r>
                    </a:p>
                  </a:txBody>
                  <a:tcPr anchor="ctr">
                    <a:solidFill>
                      <a:srgbClr val="3F685E"/>
                    </a:solidFill>
                  </a:tcPr>
                </a:tc>
                <a:tc>
                  <a:txBody>
                    <a:bodyPr/>
                    <a:lstStyle/>
                    <a:p>
                      <a:pPr marL="0" lvl="0" indent="0" algn="l" rtl="0" fontAlgn="base">
                        <a:lnSpc>
                          <a:spcPct val="100000"/>
                        </a:lnSpc>
                        <a:buFont typeface="+mj-lt"/>
                        <a:buNone/>
                      </a:pPr>
                      <a:endParaRPr lang="en-CA" sz="900" b="1" i="0">
                        <a:solidFill>
                          <a:srgbClr val="000000"/>
                        </a:solidFill>
                        <a:effectLst/>
                        <a:latin typeface="+mn-lt"/>
                      </a:endParaRPr>
                    </a:p>
                    <a:p>
                      <a:pPr marL="0" lvl="0" indent="0" algn="l" rtl="0" fontAlgn="base">
                        <a:lnSpc>
                          <a:spcPct val="100000"/>
                        </a:lnSpc>
                        <a:buFont typeface="+mj-lt"/>
                        <a:buNone/>
                      </a:pPr>
                      <a:r>
                        <a:rPr lang="en-CA" sz="900" b="1" i="0">
                          <a:solidFill>
                            <a:srgbClr val="000000"/>
                          </a:solidFill>
                          <a:effectLst/>
                          <a:latin typeface="+mn-lt"/>
                        </a:rPr>
                        <a:t>E. Key Players Leave: </a:t>
                      </a:r>
                      <a:r>
                        <a:rPr lang="en-CA" sz="900" b="0" i="0">
                          <a:solidFill>
                            <a:srgbClr val="000000"/>
                          </a:solidFill>
                          <a:effectLst/>
                          <a:latin typeface="+mn-lt"/>
                        </a:rPr>
                        <a:t>Key executives and talent may leave</a:t>
                      </a:r>
                    </a:p>
                    <a:p>
                      <a:pPr marL="0" lvl="0" indent="0" algn="l" rtl="0" fontAlgn="base">
                        <a:lnSpc>
                          <a:spcPct val="100000"/>
                        </a:lnSpc>
                        <a:buFont typeface="+mj-lt"/>
                        <a:buNone/>
                      </a:pPr>
                      <a:endParaRPr lang="en-CA" sz="900" b="1" i="0">
                        <a:solidFill>
                          <a:srgbClr val="000000"/>
                        </a:solidFill>
                        <a:effectLst/>
                        <a:latin typeface="+mn-lt"/>
                      </a:endParaRPr>
                    </a:p>
                    <a:p>
                      <a:pPr marL="0" lvl="0" indent="0" algn="l" rtl="0" fontAlgn="base">
                        <a:lnSpc>
                          <a:spcPct val="100000"/>
                        </a:lnSpc>
                        <a:buFont typeface="+mj-lt"/>
                        <a:buNone/>
                      </a:pPr>
                      <a:endParaRPr lang="en-CA" sz="900" b="0" i="0">
                        <a:solidFill>
                          <a:srgbClr val="000000"/>
                        </a:solidFill>
                        <a:effectLst/>
                        <a:latin typeface="+mn-lt"/>
                      </a:endParaRPr>
                    </a:p>
                    <a:p>
                      <a:pPr marL="0" lvl="0" indent="0" algn="l" rtl="0" fontAlgn="base">
                        <a:lnSpc>
                          <a:spcPct val="100000"/>
                        </a:lnSpc>
                        <a:buFont typeface="+mj-lt"/>
                        <a:buNone/>
                      </a:pPr>
                      <a:r>
                        <a:rPr lang="en-CA" sz="900" b="1" i="0">
                          <a:solidFill>
                            <a:srgbClr val="000000"/>
                          </a:solidFill>
                          <a:effectLst/>
                          <a:latin typeface="+mn-lt"/>
                        </a:rPr>
                        <a:t>F. Synergies May Not Materialize: </a:t>
                      </a:r>
                      <a:r>
                        <a:rPr lang="en-CA" sz="900" b="0" i="0">
                          <a:solidFill>
                            <a:srgbClr val="000000"/>
                          </a:solidFill>
                          <a:effectLst/>
                          <a:latin typeface="+mn-lt"/>
                        </a:rPr>
                        <a:t>SHOP fails to realize synergies from APP</a:t>
                      </a:r>
                    </a:p>
                    <a:p>
                      <a:pPr marL="0" lvl="0" indent="0" algn="l" rtl="0" fontAlgn="base">
                        <a:lnSpc>
                          <a:spcPct val="100000"/>
                        </a:lnSpc>
                        <a:buFont typeface="+mj-lt"/>
                        <a:buNone/>
                      </a:pPr>
                      <a:endParaRPr lang="en-CA" sz="900" b="0" i="0">
                        <a:solidFill>
                          <a:srgbClr val="000000"/>
                        </a:solidFill>
                        <a:effectLst/>
                        <a:latin typeface="+mn-lt"/>
                      </a:endParaRPr>
                    </a:p>
                  </a:txBody>
                  <a:tcPr anchor="ctr">
                    <a:lnT w="19050" cap="flat" cmpd="sng" algn="ctr">
                      <a:solidFill>
                        <a:schemeClr val="accent1"/>
                      </a:solidFill>
                      <a:prstDash val="sysDash"/>
                      <a:round/>
                      <a:headEnd type="none" w="med" len="med"/>
                      <a:tailEnd type="none" w="med" len="med"/>
                    </a:lnT>
                    <a:lnB w="19050" cap="flat" cmpd="sng" algn="ctr">
                      <a:solidFill>
                        <a:schemeClr val="accent1"/>
                      </a:solidFill>
                      <a:prstDash val="sysDash"/>
                      <a:round/>
                      <a:headEnd type="none" w="med" len="med"/>
                      <a:tailEnd type="none" w="med" len="med"/>
                    </a:lnB>
                    <a:noFill/>
                  </a:tcPr>
                </a:tc>
                <a:extLst>
                  <a:ext uri="{0D108BD9-81ED-4DB2-BD59-A6C34878D82A}">
                    <a16:rowId xmlns:a16="http://schemas.microsoft.com/office/drawing/2014/main" val="2200568119"/>
                  </a:ext>
                </a:extLst>
              </a:tr>
              <a:tr h="1025487">
                <a:tc>
                  <a:txBody>
                    <a:bodyPr/>
                    <a:lstStyle/>
                    <a:p>
                      <a:pPr algn="ctr"/>
                      <a:r>
                        <a:rPr lang="en-CA" sz="900" b="1">
                          <a:solidFill>
                            <a:schemeClr val="bg1"/>
                          </a:solidFill>
                        </a:rPr>
                        <a:t>Governance &amp; Control Risks</a:t>
                      </a:r>
                    </a:p>
                  </a:txBody>
                  <a:tcPr anchor="ctr">
                    <a:solidFill>
                      <a:srgbClr val="008864"/>
                    </a:solidFill>
                  </a:tcPr>
                </a:tc>
                <a:tc>
                  <a:txBody>
                    <a:bodyPr/>
                    <a:lstStyle/>
                    <a:p>
                      <a:pPr marL="0" indent="0">
                        <a:buFont typeface="+mj-lt"/>
                        <a:buNone/>
                      </a:pPr>
                      <a:endParaRPr lang="en-CA" sz="900"/>
                    </a:p>
                    <a:p>
                      <a:pPr marL="0" indent="0">
                        <a:buFont typeface="+mj-lt"/>
                        <a:buNone/>
                      </a:pPr>
                      <a:r>
                        <a:rPr lang="en-CA" sz="900" b="1"/>
                        <a:t>G. Refinance APP’s Debt:</a:t>
                      </a:r>
                      <a:r>
                        <a:rPr lang="en-US" sz="900"/>
                        <a:t> May need to refinance APP’s debt, which could be costly or difficult in current market conditions</a:t>
                      </a:r>
                      <a:endParaRPr lang="en-CA" sz="900" b="1"/>
                    </a:p>
                    <a:p>
                      <a:pPr marL="228600" indent="-228600">
                        <a:buFont typeface="+mj-lt"/>
                        <a:buAutoNum type="arabicPeriod"/>
                      </a:pPr>
                      <a:endParaRPr lang="en-CA" sz="900"/>
                    </a:p>
                  </a:txBody>
                  <a:tcPr anchor="ctr">
                    <a:lnT w="19050" cap="flat" cmpd="sng" algn="ctr">
                      <a:solidFill>
                        <a:schemeClr val="accent1"/>
                      </a:solidFill>
                      <a:prstDash val="sysDash"/>
                      <a:round/>
                      <a:headEnd type="none" w="med" len="med"/>
                      <a:tailEnd type="none" w="med" len="med"/>
                    </a:lnT>
                    <a:noFill/>
                  </a:tcPr>
                </a:tc>
                <a:extLst>
                  <a:ext uri="{0D108BD9-81ED-4DB2-BD59-A6C34878D82A}">
                    <a16:rowId xmlns:a16="http://schemas.microsoft.com/office/drawing/2014/main" val="1229039265"/>
                  </a:ext>
                </a:extLst>
              </a:tr>
            </a:tbl>
          </a:graphicData>
        </a:graphic>
      </p:graphicFrame>
      <p:sp>
        <p:nvSpPr>
          <p:cNvPr id="8" name="Title 7">
            <a:extLst>
              <a:ext uri="{FF2B5EF4-FFF2-40B4-BE49-F238E27FC236}">
                <a16:creationId xmlns:a16="http://schemas.microsoft.com/office/drawing/2014/main" id="{9F208EDE-39C2-7072-5CFC-BF2BBD72C93E}"/>
              </a:ext>
            </a:extLst>
          </p:cNvPr>
          <p:cNvSpPr txBox="1">
            <a:spLocks/>
          </p:cNvSpPr>
          <p:nvPr/>
        </p:nvSpPr>
        <p:spPr>
          <a:xfrm>
            <a:off x="250825" y="187585"/>
            <a:ext cx="6658698" cy="395751"/>
          </a:xfrm>
          <a:prstGeom prst="rect">
            <a:avLst/>
          </a:prstGeom>
        </p:spPr>
        <p:txBody>
          <a:bodyPr vert="horz" wrap="none" lIns="91440" tIns="0" rIns="91440" bIns="0" rtlCol="0" anchor="ctr">
            <a:noAutofit/>
          </a:bodyPr>
          <a:lstStyle>
            <a:lvl1pPr algn="l" defTabSz="914400" rtl="0" eaLnBrk="1" latinLnBrk="0" hangingPunct="1">
              <a:lnSpc>
                <a:spcPct val="100000"/>
              </a:lnSpc>
              <a:spcBef>
                <a:spcPct val="0"/>
              </a:spcBef>
              <a:buNone/>
              <a:defRPr sz="2000" b="1" kern="1200">
                <a:solidFill>
                  <a:schemeClr val="accent1"/>
                </a:solidFill>
                <a:latin typeface="+mj-lt"/>
                <a:ea typeface="+mj-ea"/>
                <a:cs typeface="Goldman Sans Bold" panose="020B0803020203020204" pitchFamily="34" charset="0"/>
              </a:defRPr>
            </a:lvl1pPr>
          </a:lstStyle>
          <a:p>
            <a:r>
              <a:rPr lang="en-US">
                <a:cs typeface="Arial"/>
              </a:rPr>
              <a:t>Risks In This Deal</a:t>
            </a:r>
          </a:p>
        </p:txBody>
      </p:sp>
      <p:graphicFrame>
        <p:nvGraphicFramePr>
          <p:cNvPr id="9" name="Table 8">
            <a:extLst>
              <a:ext uri="{FF2B5EF4-FFF2-40B4-BE49-F238E27FC236}">
                <a16:creationId xmlns:a16="http://schemas.microsoft.com/office/drawing/2014/main" id="{E5F85D2B-D570-A956-00FA-B89E0D0DE040}"/>
              </a:ext>
            </a:extLst>
          </p:cNvPr>
          <p:cNvGraphicFramePr>
            <a:graphicFrameLocks/>
          </p:cNvGraphicFramePr>
          <p:nvPr>
            <p:extLst>
              <p:ext uri="{D42A27DB-BD31-4B8C-83A1-F6EECF244321}">
                <p14:modId xmlns:p14="http://schemas.microsoft.com/office/powerpoint/2010/main" val="1586594930"/>
              </p:ext>
            </p:extLst>
          </p:nvPr>
        </p:nvGraphicFramePr>
        <p:xfrm>
          <a:off x="281035" y="1025498"/>
          <a:ext cx="3148214" cy="274320"/>
        </p:xfrm>
        <a:graphic>
          <a:graphicData uri="http://schemas.openxmlformats.org/drawingml/2006/table">
            <a:tbl>
              <a:tblPr firstRow="1" bandRow="1">
                <a:tableStyleId>{5C22544A-7EE6-4342-B048-85BDC9FD1C3A}</a:tableStyleId>
              </a:tblPr>
              <a:tblGrid>
                <a:gridCol w="3148214">
                  <a:extLst>
                    <a:ext uri="{9D8B030D-6E8A-4147-A177-3AD203B41FA5}">
                      <a16:colId xmlns:a16="http://schemas.microsoft.com/office/drawing/2014/main" val="3437084154"/>
                    </a:ext>
                  </a:extLst>
                </a:gridCol>
              </a:tblGrid>
              <a:tr h="0">
                <a:tc>
                  <a:txBody>
                    <a:bodyPr/>
                    <a:lstStyle/>
                    <a:p>
                      <a:r>
                        <a:rPr lang="en-US" sz="1200" b="1">
                          <a:solidFill>
                            <a:schemeClr val="tx2"/>
                          </a:solidFill>
                        </a:rPr>
                        <a:t>Risk Matrix</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10" name="TextBox 9">
            <a:extLst>
              <a:ext uri="{FF2B5EF4-FFF2-40B4-BE49-F238E27FC236}">
                <a16:creationId xmlns:a16="http://schemas.microsoft.com/office/drawing/2014/main" id="{D5D25ACE-602F-B426-8B0F-DF14FC4D0C69}"/>
              </a:ext>
            </a:extLst>
          </p:cNvPr>
          <p:cNvSpPr txBox="1"/>
          <p:nvPr/>
        </p:nvSpPr>
        <p:spPr>
          <a:xfrm>
            <a:off x="504375" y="4935884"/>
            <a:ext cx="2832872" cy="254044"/>
          </a:xfrm>
          <a:prstGeom prst="rect">
            <a:avLst/>
          </a:prstGeom>
          <a:noFill/>
        </p:spPr>
        <p:txBody>
          <a:bodyPr wrap="square" lIns="91440" tIns="45720" rIns="91440" bIns="45720" rtlCol="0" anchor="ctr">
            <a:spAutoFit/>
          </a:bodyPr>
          <a:lstStyle/>
          <a:p>
            <a:pPr algn="ctr"/>
            <a:r>
              <a:rPr lang="en-US" sz="1051" b="1">
                <a:solidFill>
                  <a:schemeClr val="tx2"/>
                </a:solidFill>
              </a:rPr>
              <a:t>Mitigation Feasibility</a:t>
            </a:r>
            <a:endParaRPr lang="en-CA" sz="1051" b="1">
              <a:solidFill>
                <a:schemeClr val="tx2"/>
              </a:solidFill>
              <a:cs typeface="Arial" panose="020B0604020202020204"/>
            </a:endParaRPr>
          </a:p>
        </p:txBody>
      </p:sp>
      <p:sp>
        <p:nvSpPr>
          <p:cNvPr id="11" name="TextBox 10">
            <a:extLst>
              <a:ext uri="{FF2B5EF4-FFF2-40B4-BE49-F238E27FC236}">
                <a16:creationId xmlns:a16="http://schemas.microsoft.com/office/drawing/2014/main" id="{0E9A550D-1D0F-3434-BBF8-1A0536807A91}"/>
              </a:ext>
            </a:extLst>
          </p:cNvPr>
          <p:cNvSpPr txBox="1"/>
          <p:nvPr/>
        </p:nvSpPr>
        <p:spPr>
          <a:xfrm>
            <a:off x="493236" y="5759308"/>
            <a:ext cx="509367" cy="254044"/>
          </a:xfrm>
          <a:prstGeom prst="rect">
            <a:avLst/>
          </a:prstGeom>
          <a:noFill/>
        </p:spPr>
        <p:txBody>
          <a:bodyPr wrap="square" rtlCol="0" anchor="ctr">
            <a:spAutoFit/>
          </a:bodyPr>
          <a:lstStyle/>
          <a:p>
            <a:pPr algn="ctr"/>
            <a:r>
              <a:rPr lang="en-US" sz="1051"/>
              <a:t>Easy</a:t>
            </a:r>
            <a:endParaRPr lang="en-CA" sz="1051"/>
          </a:p>
        </p:txBody>
      </p:sp>
      <p:sp>
        <p:nvSpPr>
          <p:cNvPr id="12" name="TextBox 11">
            <a:extLst>
              <a:ext uri="{FF2B5EF4-FFF2-40B4-BE49-F238E27FC236}">
                <a16:creationId xmlns:a16="http://schemas.microsoft.com/office/drawing/2014/main" id="{AF9407C4-48E4-903B-541F-EF2B4B3EC379}"/>
              </a:ext>
            </a:extLst>
          </p:cNvPr>
          <p:cNvSpPr txBox="1"/>
          <p:nvPr/>
        </p:nvSpPr>
        <p:spPr>
          <a:xfrm>
            <a:off x="2827876" y="5759308"/>
            <a:ext cx="509371" cy="254044"/>
          </a:xfrm>
          <a:prstGeom prst="rect">
            <a:avLst/>
          </a:prstGeom>
          <a:noFill/>
        </p:spPr>
        <p:txBody>
          <a:bodyPr wrap="square" rtlCol="0" anchor="ctr">
            <a:spAutoFit/>
          </a:bodyPr>
          <a:lstStyle/>
          <a:p>
            <a:pPr algn="ctr"/>
            <a:r>
              <a:rPr lang="en-US" sz="1051"/>
              <a:t>Hard</a:t>
            </a:r>
            <a:endParaRPr lang="en-CA" sz="1051"/>
          </a:p>
        </p:txBody>
      </p:sp>
      <p:sp>
        <p:nvSpPr>
          <p:cNvPr id="13" name="TextBox 12">
            <a:extLst>
              <a:ext uri="{FF2B5EF4-FFF2-40B4-BE49-F238E27FC236}">
                <a16:creationId xmlns:a16="http://schemas.microsoft.com/office/drawing/2014/main" id="{03550321-B9A3-CBD7-00E9-F3955670D29C}"/>
              </a:ext>
            </a:extLst>
          </p:cNvPr>
          <p:cNvSpPr txBox="1"/>
          <p:nvPr/>
        </p:nvSpPr>
        <p:spPr>
          <a:xfrm>
            <a:off x="1485843" y="4360412"/>
            <a:ext cx="914400" cy="253916"/>
          </a:xfrm>
          <a:prstGeom prst="rect">
            <a:avLst/>
          </a:prstGeom>
          <a:noFill/>
        </p:spPr>
        <p:txBody>
          <a:bodyPr wrap="square" rtlCol="0">
            <a:spAutoFit/>
          </a:bodyPr>
          <a:lstStyle/>
          <a:p>
            <a:pPr algn="ctr"/>
            <a:r>
              <a:rPr lang="en-US" sz="1051" b="1">
                <a:solidFill>
                  <a:schemeClr val="tx2"/>
                </a:solidFill>
              </a:rPr>
              <a:t>Possibility</a:t>
            </a:r>
            <a:endParaRPr lang="en-CA" sz="1051" b="1">
              <a:solidFill>
                <a:schemeClr val="tx2"/>
              </a:solidFill>
            </a:endParaRPr>
          </a:p>
        </p:txBody>
      </p:sp>
      <p:sp>
        <p:nvSpPr>
          <p:cNvPr id="14" name="TextBox 13">
            <a:extLst>
              <a:ext uri="{FF2B5EF4-FFF2-40B4-BE49-F238E27FC236}">
                <a16:creationId xmlns:a16="http://schemas.microsoft.com/office/drawing/2014/main" id="{8FECB34A-D305-9066-C078-2AF4D197FCB2}"/>
              </a:ext>
            </a:extLst>
          </p:cNvPr>
          <p:cNvSpPr txBox="1"/>
          <p:nvPr/>
        </p:nvSpPr>
        <p:spPr>
          <a:xfrm rot="16200000">
            <a:off x="-160077" y="2775430"/>
            <a:ext cx="914400" cy="254044"/>
          </a:xfrm>
          <a:prstGeom prst="rect">
            <a:avLst/>
          </a:prstGeom>
          <a:noFill/>
        </p:spPr>
        <p:txBody>
          <a:bodyPr wrap="square" rtlCol="0">
            <a:spAutoFit/>
          </a:bodyPr>
          <a:lstStyle/>
          <a:p>
            <a:pPr algn="ctr"/>
            <a:r>
              <a:rPr lang="en-US" sz="1051" b="1">
                <a:solidFill>
                  <a:schemeClr val="tx2"/>
                </a:solidFill>
              </a:rPr>
              <a:t>Impact</a:t>
            </a:r>
            <a:endParaRPr lang="en-CA" sz="1051" b="1">
              <a:solidFill>
                <a:schemeClr val="tx2"/>
              </a:solidFill>
            </a:endParaRPr>
          </a:p>
        </p:txBody>
      </p:sp>
      <p:sp>
        <p:nvSpPr>
          <p:cNvPr id="15" name="Rectangle 14">
            <a:extLst>
              <a:ext uri="{FF2B5EF4-FFF2-40B4-BE49-F238E27FC236}">
                <a16:creationId xmlns:a16="http://schemas.microsoft.com/office/drawing/2014/main" id="{2E897211-0514-CFA2-23E6-C33E1E06DCFA}"/>
              </a:ext>
            </a:extLst>
          </p:cNvPr>
          <p:cNvSpPr/>
          <p:nvPr/>
        </p:nvSpPr>
        <p:spPr>
          <a:xfrm>
            <a:off x="1475258" y="3190324"/>
            <a:ext cx="305208" cy="305208"/>
          </a:xfrm>
          <a:prstGeom prst="rect">
            <a:avLst/>
          </a:prstGeom>
          <a:solidFill>
            <a:srgbClr val="008864"/>
          </a:solidFill>
          <a:ln w="38100">
            <a:solidFill>
              <a:srgbClr val="D8FB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G</a:t>
            </a:r>
            <a:endParaRPr lang="en-CA" sz="1051"/>
          </a:p>
        </p:txBody>
      </p:sp>
      <p:sp>
        <p:nvSpPr>
          <p:cNvPr id="18" name="Rectangle 17">
            <a:extLst>
              <a:ext uri="{FF2B5EF4-FFF2-40B4-BE49-F238E27FC236}">
                <a16:creationId xmlns:a16="http://schemas.microsoft.com/office/drawing/2014/main" id="{D6E3F236-9D9D-F11E-1F19-E6CB60E7D07F}"/>
              </a:ext>
            </a:extLst>
          </p:cNvPr>
          <p:cNvSpPr/>
          <p:nvPr/>
        </p:nvSpPr>
        <p:spPr>
          <a:xfrm>
            <a:off x="1790439" y="2025248"/>
            <a:ext cx="305208" cy="305208"/>
          </a:xfrm>
          <a:prstGeom prst="rect">
            <a:avLst/>
          </a:prstGeom>
          <a:solidFill>
            <a:srgbClr val="3E685D"/>
          </a:solidFill>
          <a:ln w="38100">
            <a:solidFill>
              <a:srgbClr val="21FFC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E</a:t>
            </a:r>
          </a:p>
        </p:txBody>
      </p:sp>
      <p:sp>
        <p:nvSpPr>
          <p:cNvPr id="19" name="Rectangle 18">
            <a:extLst>
              <a:ext uri="{FF2B5EF4-FFF2-40B4-BE49-F238E27FC236}">
                <a16:creationId xmlns:a16="http://schemas.microsoft.com/office/drawing/2014/main" id="{C0CCE110-46AA-002E-D38B-61D01D70CC8A}"/>
              </a:ext>
            </a:extLst>
          </p:cNvPr>
          <p:cNvSpPr/>
          <p:nvPr/>
        </p:nvSpPr>
        <p:spPr>
          <a:xfrm>
            <a:off x="1081093" y="1605317"/>
            <a:ext cx="305208" cy="305208"/>
          </a:xfrm>
          <a:prstGeom prst="rect">
            <a:avLst/>
          </a:prstGeom>
          <a:solidFill>
            <a:srgbClr val="0F2B22"/>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A</a:t>
            </a:r>
          </a:p>
        </p:txBody>
      </p:sp>
      <p:cxnSp>
        <p:nvCxnSpPr>
          <p:cNvPr id="20" name="Straight Connector 19">
            <a:extLst>
              <a:ext uri="{FF2B5EF4-FFF2-40B4-BE49-F238E27FC236}">
                <a16:creationId xmlns:a16="http://schemas.microsoft.com/office/drawing/2014/main" id="{0FC9BA26-8A49-E3B6-9795-3F364FFA8718}"/>
              </a:ext>
            </a:extLst>
          </p:cNvPr>
          <p:cNvCxnSpPr>
            <a:cxnSpLocks/>
          </p:cNvCxnSpPr>
          <p:nvPr/>
        </p:nvCxnSpPr>
        <p:spPr>
          <a:xfrm flipV="1">
            <a:off x="493236" y="5186311"/>
            <a:ext cx="2847175" cy="7235"/>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Arrow Connector 23">
            <a:extLst>
              <a:ext uri="{FF2B5EF4-FFF2-40B4-BE49-F238E27FC236}">
                <a16:creationId xmlns:a16="http://schemas.microsoft.com/office/drawing/2014/main" id="{C14BD22C-2731-6176-82FE-1674D12CE245}"/>
              </a:ext>
            </a:extLst>
          </p:cNvPr>
          <p:cNvCxnSpPr>
            <a:cxnSpLocks/>
          </p:cNvCxnSpPr>
          <p:nvPr/>
        </p:nvCxnSpPr>
        <p:spPr>
          <a:xfrm>
            <a:off x="456835" y="4350323"/>
            <a:ext cx="297242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44">
            <a:extLst>
              <a:ext uri="{FF2B5EF4-FFF2-40B4-BE49-F238E27FC236}">
                <a16:creationId xmlns:a16="http://schemas.microsoft.com/office/drawing/2014/main" id="{157961B5-A56E-1EEA-879E-218D3557817E}"/>
              </a:ext>
            </a:extLst>
          </p:cNvPr>
          <p:cNvCxnSpPr>
            <a:cxnSpLocks/>
          </p:cNvCxnSpPr>
          <p:nvPr/>
        </p:nvCxnSpPr>
        <p:spPr>
          <a:xfrm flipV="1">
            <a:off x="391453" y="1513730"/>
            <a:ext cx="0" cy="28365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866C0529-1880-22F8-DD51-BC71C62DC9CC}"/>
              </a:ext>
            </a:extLst>
          </p:cNvPr>
          <p:cNvSpPr/>
          <p:nvPr/>
        </p:nvSpPr>
        <p:spPr>
          <a:xfrm>
            <a:off x="504375" y="5248755"/>
            <a:ext cx="509371" cy="509371"/>
          </a:xfrm>
          <a:prstGeom prst="rect">
            <a:avLst/>
          </a:prstGeom>
          <a:solidFill>
            <a:srgbClr val="D8FA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a:p>
        </p:txBody>
      </p:sp>
      <p:sp>
        <p:nvSpPr>
          <p:cNvPr id="24" name="Rectangle 23">
            <a:extLst>
              <a:ext uri="{FF2B5EF4-FFF2-40B4-BE49-F238E27FC236}">
                <a16:creationId xmlns:a16="http://schemas.microsoft.com/office/drawing/2014/main" id="{8AE125F9-A131-CE24-074B-003443030095}"/>
              </a:ext>
            </a:extLst>
          </p:cNvPr>
          <p:cNvSpPr/>
          <p:nvPr/>
        </p:nvSpPr>
        <p:spPr>
          <a:xfrm>
            <a:off x="1667707" y="5248753"/>
            <a:ext cx="509371" cy="509371"/>
          </a:xfrm>
          <a:prstGeom prst="rect">
            <a:avLst/>
          </a:prstGeom>
          <a:solidFill>
            <a:srgbClr val="4FBF9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a:p>
        </p:txBody>
      </p:sp>
      <p:sp>
        <p:nvSpPr>
          <p:cNvPr id="25" name="Rectangle 24">
            <a:extLst>
              <a:ext uri="{FF2B5EF4-FFF2-40B4-BE49-F238E27FC236}">
                <a16:creationId xmlns:a16="http://schemas.microsoft.com/office/drawing/2014/main" id="{3EB57BCC-1828-AFCF-AD28-CB0DBD995D65}"/>
              </a:ext>
            </a:extLst>
          </p:cNvPr>
          <p:cNvSpPr/>
          <p:nvPr/>
        </p:nvSpPr>
        <p:spPr>
          <a:xfrm>
            <a:off x="2827879" y="5248753"/>
            <a:ext cx="509371" cy="50937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a:p>
        </p:txBody>
      </p:sp>
      <p:sp>
        <p:nvSpPr>
          <p:cNvPr id="27" name="TextBox 26">
            <a:extLst>
              <a:ext uri="{FF2B5EF4-FFF2-40B4-BE49-F238E27FC236}">
                <a16:creationId xmlns:a16="http://schemas.microsoft.com/office/drawing/2014/main" id="{ACC47D06-8B18-E4E4-A637-D235716F83AD}"/>
              </a:ext>
            </a:extLst>
          </p:cNvPr>
          <p:cNvSpPr txBox="1"/>
          <p:nvPr/>
        </p:nvSpPr>
        <p:spPr>
          <a:xfrm>
            <a:off x="1586634" y="5759308"/>
            <a:ext cx="668352" cy="254044"/>
          </a:xfrm>
          <a:prstGeom prst="rect">
            <a:avLst/>
          </a:prstGeom>
          <a:noFill/>
        </p:spPr>
        <p:txBody>
          <a:bodyPr wrap="square" rtlCol="0" anchor="ctr">
            <a:spAutoFit/>
          </a:bodyPr>
          <a:lstStyle/>
          <a:p>
            <a:pPr algn="ctr"/>
            <a:r>
              <a:rPr lang="en-US" sz="1051"/>
              <a:t>Medium</a:t>
            </a:r>
            <a:endParaRPr lang="en-CA" sz="1051"/>
          </a:p>
        </p:txBody>
      </p:sp>
      <p:sp>
        <p:nvSpPr>
          <p:cNvPr id="28" name="Rectangle 27">
            <a:extLst>
              <a:ext uri="{FF2B5EF4-FFF2-40B4-BE49-F238E27FC236}">
                <a16:creationId xmlns:a16="http://schemas.microsoft.com/office/drawing/2014/main" id="{F0A45FD2-A930-A598-6568-CD079CC4A381}"/>
              </a:ext>
            </a:extLst>
          </p:cNvPr>
          <p:cNvSpPr/>
          <p:nvPr/>
        </p:nvSpPr>
        <p:spPr>
          <a:xfrm>
            <a:off x="1548789" y="2495345"/>
            <a:ext cx="305208" cy="305208"/>
          </a:xfrm>
          <a:prstGeom prst="rect">
            <a:avLst/>
          </a:prstGeom>
          <a:solidFill>
            <a:srgbClr val="0F2B22"/>
          </a:solidFill>
          <a:ln w="38100">
            <a:solidFill>
              <a:srgbClr val="4FBF9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C</a:t>
            </a:r>
          </a:p>
        </p:txBody>
      </p:sp>
      <p:sp>
        <p:nvSpPr>
          <p:cNvPr id="29" name="Rectangle 28">
            <a:extLst>
              <a:ext uri="{FF2B5EF4-FFF2-40B4-BE49-F238E27FC236}">
                <a16:creationId xmlns:a16="http://schemas.microsoft.com/office/drawing/2014/main" id="{7BFDF2C0-9430-D770-7A7F-C9819F256774}"/>
              </a:ext>
            </a:extLst>
          </p:cNvPr>
          <p:cNvSpPr/>
          <p:nvPr/>
        </p:nvSpPr>
        <p:spPr>
          <a:xfrm>
            <a:off x="2535353" y="2983248"/>
            <a:ext cx="305208" cy="305208"/>
          </a:xfrm>
          <a:prstGeom prst="rect">
            <a:avLst/>
          </a:prstGeom>
          <a:solidFill>
            <a:srgbClr val="0F2B22"/>
          </a:solidFill>
          <a:ln w="38100">
            <a:solidFill>
              <a:srgbClr val="4FBF9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B</a:t>
            </a:r>
          </a:p>
        </p:txBody>
      </p:sp>
      <p:sp>
        <p:nvSpPr>
          <p:cNvPr id="30" name="Rectangle 29">
            <a:extLst>
              <a:ext uri="{FF2B5EF4-FFF2-40B4-BE49-F238E27FC236}">
                <a16:creationId xmlns:a16="http://schemas.microsoft.com/office/drawing/2014/main" id="{22B1F397-5AAD-B8B3-E8B9-B689AFA94F02}"/>
              </a:ext>
            </a:extLst>
          </p:cNvPr>
          <p:cNvSpPr/>
          <p:nvPr/>
        </p:nvSpPr>
        <p:spPr>
          <a:xfrm>
            <a:off x="837550" y="3371393"/>
            <a:ext cx="305208" cy="305208"/>
          </a:xfrm>
          <a:prstGeom prst="rect">
            <a:avLst/>
          </a:prstGeom>
          <a:solidFill>
            <a:srgbClr val="0F2B22"/>
          </a:solidFill>
          <a:ln w="38100">
            <a:solidFill>
              <a:srgbClr val="4FBF9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D</a:t>
            </a:r>
          </a:p>
        </p:txBody>
      </p:sp>
      <p:sp>
        <p:nvSpPr>
          <p:cNvPr id="32" name="Rectangle 31">
            <a:extLst>
              <a:ext uri="{FF2B5EF4-FFF2-40B4-BE49-F238E27FC236}">
                <a16:creationId xmlns:a16="http://schemas.microsoft.com/office/drawing/2014/main" id="{914B6934-1E83-0369-4AC7-512783F2CDAD}"/>
              </a:ext>
            </a:extLst>
          </p:cNvPr>
          <p:cNvSpPr/>
          <p:nvPr/>
        </p:nvSpPr>
        <p:spPr>
          <a:xfrm>
            <a:off x="933692" y="2246933"/>
            <a:ext cx="305208" cy="305208"/>
          </a:xfrm>
          <a:prstGeom prst="rect">
            <a:avLst/>
          </a:prstGeom>
          <a:solidFill>
            <a:srgbClr val="3E685D"/>
          </a:solidFill>
          <a:ln w="38100">
            <a:solidFill>
              <a:srgbClr val="21FFC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F</a:t>
            </a:r>
          </a:p>
        </p:txBody>
      </p:sp>
    </p:spTree>
    <p:extLst>
      <p:ext uri="{BB962C8B-B14F-4D97-AF65-F5344CB8AC3E}">
        <p14:creationId xmlns:p14="http://schemas.microsoft.com/office/powerpoint/2010/main" val="7517506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B769A4-8B35-86C4-BADD-86D09CE67CF1}"/>
            </a:ext>
          </a:extLst>
        </p:cNvPr>
        <p:cNvGrpSpPr/>
        <p:nvPr/>
      </p:nvGrpSpPr>
      <p:grpSpPr>
        <a:xfrm>
          <a:off x="0" y="0"/>
          <a:ext cx="0" cy="0"/>
          <a:chOff x="0" y="0"/>
          <a:chExt cx="0" cy="0"/>
        </a:xfrm>
      </p:grpSpPr>
      <p:sp>
        <p:nvSpPr>
          <p:cNvPr id="26" name="Rectangle 25">
            <a:extLst>
              <a:ext uri="{FF2B5EF4-FFF2-40B4-BE49-F238E27FC236}">
                <a16:creationId xmlns:a16="http://schemas.microsoft.com/office/drawing/2014/main" id="{B6409406-2556-A27C-1B00-9164F466C7F1}"/>
              </a:ext>
            </a:extLst>
          </p:cNvPr>
          <p:cNvSpPr/>
          <p:nvPr/>
        </p:nvSpPr>
        <p:spPr>
          <a:xfrm>
            <a:off x="247129" y="1581282"/>
            <a:ext cx="586921" cy="3587448"/>
          </a:xfrm>
          <a:prstGeom prst="rect">
            <a:avLst/>
          </a:prstGeom>
          <a:solidFill>
            <a:srgbClr val="FD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 name="Text Placeholder 1">
            <a:extLst>
              <a:ext uri="{FF2B5EF4-FFF2-40B4-BE49-F238E27FC236}">
                <a16:creationId xmlns:a16="http://schemas.microsoft.com/office/drawing/2014/main" id="{692BEA10-640D-E292-270F-1D989583E6FA}"/>
              </a:ext>
            </a:extLst>
          </p:cNvPr>
          <p:cNvSpPr>
            <a:spLocks noGrp="1"/>
          </p:cNvSpPr>
          <p:nvPr>
            <p:ph type="body" sz="quarter" idx="21"/>
          </p:nvPr>
        </p:nvSpPr>
        <p:spPr>
          <a:xfrm>
            <a:off x="250825" y="615124"/>
            <a:ext cx="8642350" cy="422275"/>
          </a:xfrm>
        </p:spPr>
        <p:txBody>
          <a:bodyPr/>
          <a:lstStyle/>
          <a:p>
            <a:r>
              <a:rPr lang="en-CA"/>
              <a:t>Mitigation Strategy (Ranked From Easiest To Mitigate) </a:t>
            </a:r>
          </a:p>
        </p:txBody>
      </p:sp>
      <p:sp>
        <p:nvSpPr>
          <p:cNvPr id="5" name="Text Placeholder 4">
            <a:extLst>
              <a:ext uri="{FF2B5EF4-FFF2-40B4-BE49-F238E27FC236}">
                <a16:creationId xmlns:a16="http://schemas.microsoft.com/office/drawing/2014/main" id="{EE4617AF-A2F5-5AAD-F95C-F2BB9DC0E49B}"/>
              </a:ext>
            </a:extLst>
          </p:cNvPr>
          <p:cNvSpPr>
            <a:spLocks noGrp="1"/>
          </p:cNvSpPr>
          <p:nvPr>
            <p:ph type="body" sz="quarter" idx="13"/>
          </p:nvPr>
        </p:nvSpPr>
        <p:spPr/>
        <p:txBody>
          <a:bodyPr/>
          <a:lstStyle/>
          <a:p>
            <a:endParaRPr lang="en-CA"/>
          </a:p>
        </p:txBody>
      </p:sp>
      <p:sp>
        <p:nvSpPr>
          <p:cNvPr id="8" name="Title 7">
            <a:extLst>
              <a:ext uri="{FF2B5EF4-FFF2-40B4-BE49-F238E27FC236}">
                <a16:creationId xmlns:a16="http://schemas.microsoft.com/office/drawing/2014/main" id="{46AEDF4B-DD83-6085-4311-DE8C13438910}"/>
              </a:ext>
            </a:extLst>
          </p:cNvPr>
          <p:cNvSpPr txBox="1">
            <a:spLocks/>
          </p:cNvSpPr>
          <p:nvPr/>
        </p:nvSpPr>
        <p:spPr>
          <a:xfrm>
            <a:off x="250825" y="187585"/>
            <a:ext cx="6658698" cy="395751"/>
          </a:xfrm>
          <a:prstGeom prst="rect">
            <a:avLst/>
          </a:prstGeom>
        </p:spPr>
        <p:txBody>
          <a:bodyPr vert="horz" wrap="none" lIns="91440" tIns="0" rIns="91440" bIns="0" rtlCol="0" anchor="ctr">
            <a:noAutofit/>
          </a:bodyPr>
          <a:lstStyle>
            <a:lvl1pPr algn="l" defTabSz="914400" rtl="0" eaLnBrk="1" latinLnBrk="0" hangingPunct="1">
              <a:lnSpc>
                <a:spcPct val="100000"/>
              </a:lnSpc>
              <a:spcBef>
                <a:spcPct val="0"/>
              </a:spcBef>
              <a:buNone/>
              <a:defRPr sz="2000" b="1" kern="1200">
                <a:solidFill>
                  <a:schemeClr val="accent1"/>
                </a:solidFill>
                <a:latin typeface="+mj-lt"/>
                <a:ea typeface="+mj-ea"/>
                <a:cs typeface="Goldman Sans Bold" panose="020B0803020203020204" pitchFamily="34" charset="0"/>
              </a:defRPr>
            </a:lvl1pPr>
          </a:lstStyle>
          <a:p>
            <a:r>
              <a:rPr lang="en-US">
                <a:cs typeface="Arial"/>
              </a:rPr>
              <a:t>Risks In This Deal</a:t>
            </a:r>
          </a:p>
        </p:txBody>
      </p:sp>
      <p:sp>
        <p:nvSpPr>
          <p:cNvPr id="3" name="Rectangle 2">
            <a:extLst>
              <a:ext uri="{FF2B5EF4-FFF2-40B4-BE49-F238E27FC236}">
                <a16:creationId xmlns:a16="http://schemas.microsoft.com/office/drawing/2014/main" id="{29DA6742-6DF2-DB87-02BC-147E344801C2}"/>
              </a:ext>
            </a:extLst>
          </p:cNvPr>
          <p:cNvSpPr/>
          <p:nvPr/>
        </p:nvSpPr>
        <p:spPr>
          <a:xfrm>
            <a:off x="250819" y="1416408"/>
            <a:ext cx="586921" cy="436816"/>
          </a:xfrm>
          <a:prstGeom prst="rect">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1050" b="1">
                <a:solidFill>
                  <a:schemeClr val="bg1">
                    <a:lumMod val="95000"/>
                  </a:schemeClr>
                </a:solidFill>
              </a:rPr>
              <a:t>Risks</a:t>
            </a:r>
            <a:endParaRPr lang="en-CA" sz="900" b="1">
              <a:solidFill>
                <a:schemeClr val="bg1">
                  <a:lumMod val="95000"/>
                </a:schemeClr>
              </a:solidFill>
            </a:endParaRPr>
          </a:p>
        </p:txBody>
      </p:sp>
      <p:sp>
        <p:nvSpPr>
          <p:cNvPr id="4" name="Rectangle 3">
            <a:extLst>
              <a:ext uri="{FF2B5EF4-FFF2-40B4-BE49-F238E27FC236}">
                <a16:creationId xmlns:a16="http://schemas.microsoft.com/office/drawing/2014/main" id="{9059CEF1-0314-C528-E05D-552E513689CB}"/>
              </a:ext>
            </a:extLst>
          </p:cNvPr>
          <p:cNvSpPr/>
          <p:nvPr/>
        </p:nvSpPr>
        <p:spPr>
          <a:xfrm>
            <a:off x="815556" y="1416408"/>
            <a:ext cx="8077616" cy="4368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1050" b="1">
                <a:solidFill>
                  <a:schemeClr val="bg1">
                    <a:lumMod val="95000"/>
                  </a:schemeClr>
                </a:solidFill>
              </a:rPr>
              <a:t>Mitigants</a:t>
            </a:r>
            <a:endParaRPr lang="en-CA" sz="900">
              <a:solidFill>
                <a:schemeClr val="bg1">
                  <a:lumMod val="95000"/>
                </a:schemeClr>
              </a:solidFill>
            </a:endParaRPr>
          </a:p>
        </p:txBody>
      </p:sp>
      <p:sp>
        <p:nvSpPr>
          <p:cNvPr id="33" name="Rectangle 32">
            <a:extLst>
              <a:ext uri="{FF2B5EF4-FFF2-40B4-BE49-F238E27FC236}">
                <a16:creationId xmlns:a16="http://schemas.microsoft.com/office/drawing/2014/main" id="{BA0DB8EF-E41F-FD7B-11C6-9D31DADC435D}"/>
              </a:ext>
            </a:extLst>
          </p:cNvPr>
          <p:cNvSpPr/>
          <p:nvPr/>
        </p:nvSpPr>
        <p:spPr>
          <a:xfrm>
            <a:off x="404644" y="1969065"/>
            <a:ext cx="260124" cy="265231"/>
          </a:xfrm>
          <a:prstGeom prst="rect">
            <a:avLst/>
          </a:prstGeom>
          <a:solidFill>
            <a:srgbClr val="0F2B22"/>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A</a:t>
            </a:r>
          </a:p>
        </p:txBody>
      </p:sp>
      <p:sp>
        <p:nvSpPr>
          <p:cNvPr id="34" name="Rectangle 33">
            <a:extLst>
              <a:ext uri="{FF2B5EF4-FFF2-40B4-BE49-F238E27FC236}">
                <a16:creationId xmlns:a16="http://schemas.microsoft.com/office/drawing/2014/main" id="{C1205E2F-C43F-6603-D794-34E194439D4D}"/>
              </a:ext>
            </a:extLst>
          </p:cNvPr>
          <p:cNvSpPr/>
          <p:nvPr/>
        </p:nvSpPr>
        <p:spPr>
          <a:xfrm>
            <a:off x="404644" y="2469509"/>
            <a:ext cx="260124" cy="265231"/>
          </a:xfrm>
          <a:prstGeom prst="rect">
            <a:avLst/>
          </a:prstGeom>
          <a:solidFill>
            <a:srgbClr val="0F2B22"/>
          </a:solidFill>
          <a:ln w="38100">
            <a:solidFill>
              <a:srgbClr val="4FBF9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B</a:t>
            </a:r>
          </a:p>
        </p:txBody>
      </p:sp>
      <p:sp>
        <p:nvSpPr>
          <p:cNvPr id="35" name="Rectangle 34">
            <a:extLst>
              <a:ext uri="{FF2B5EF4-FFF2-40B4-BE49-F238E27FC236}">
                <a16:creationId xmlns:a16="http://schemas.microsoft.com/office/drawing/2014/main" id="{250564CA-850E-AD48-2643-2CF01F746563}"/>
              </a:ext>
            </a:extLst>
          </p:cNvPr>
          <p:cNvSpPr/>
          <p:nvPr/>
        </p:nvSpPr>
        <p:spPr>
          <a:xfrm>
            <a:off x="404643" y="4832956"/>
            <a:ext cx="254507" cy="265229"/>
          </a:xfrm>
          <a:prstGeom prst="rect">
            <a:avLst/>
          </a:prstGeom>
          <a:solidFill>
            <a:srgbClr val="008864"/>
          </a:solidFill>
          <a:ln w="38100">
            <a:solidFill>
              <a:srgbClr val="D8FB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G</a:t>
            </a:r>
            <a:endParaRPr lang="en-CA" sz="1051"/>
          </a:p>
        </p:txBody>
      </p:sp>
      <p:sp>
        <p:nvSpPr>
          <p:cNvPr id="36" name="Rectangle 35">
            <a:extLst>
              <a:ext uri="{FF2B5EF4-FFF2-40B4-BE49-F238E27FC236}">
                <a16:creationId xmlns:a16="http://schemas.microsoft.com/office/drawing/2014/main" id="{F388DC82-AEF6-CEFF-A1A0-45546C80FC79}"/>
              </a:ext>
            </a:extLst>
          </p:cNvPr>
          <p:cNvSpPr/>
          <p:nvPr/>
        </p:nvSpPr>
        <p:spPr>
          <a:xfrm>
            <a:off x="411744" y="3884557"/>
            <a:ext cx="257692" cy="265230"/>
          </a:xfrm>
          <a:prstGeom prst="rect">
            <a:avLst/>
          </a:prstGeom>
          <a:solidFill>
            <a:srgbClr val="3E685D"/>
          </a:solidFill>
          <a:ln w="38100">
            <a:solidFill>
              <a:srgbClr val="21FFC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E</a:t>
            </a:r>
          </a:p>
        </p:txBody>
      </p:sp>
      <p:sp>
        <p:nvSpPr>
          <p:cNvPr id="37" name="Rectangle 36">
            <a:extLst>
              <a:ext uri="{FF2B5EF4-FFF2-40B4-BE49-F238E27FC236}">
                <a16:creationId xmlns:a16="http://schemas.microsoft.com/office/drawing/2014/main" id="{0524AA21-7D78-29DC-56AC-F5FD679DE6ED}"/>
              </a:ext>
            </a:extLst>
          </p:cNvPr>
          <p:cNvSpPr/>
          <p:nvPr/>
        </p:nvSpPr>
        <p:spPr>
          <a:xfrm>
            <a:off x="404644" y="2963613"/>
            <a:ext cx="260124" cy="265230"/>
          </a:xfrm>
          <a:prstGeom prst="rect">
            <a:avLst/>
          </a:prstGeom>
          <a:solidFill>
            <a:srgbClr val="0F2B22"/>
          </a:solidFill>
          <a:ln w="38100">
            <a:solidFill>
              <a:srgbClr val="4FBF9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C</a:t>
            </a:r>
          </a:p>
        </p:txBody>
      </p:sp>
      <p:sp>
        <p:nvSpPr>
          <p:cNvPr id="38" name="Rectangle 37">
            <a:extLst>
              <a:ext uri="{FF2B5EF4-FFF2-40B4-BE49-F238E27FC236}">
                <a16:creationId xmlns:a16="http://schemas.microsoft.com/office/drawing/2014/main" id="{61C39439-9E23-0BEF-E57C-84CD94ACA2D2}"/>
              </a:ext>
            </a:extLst>
          </p:cNvPr>
          <p:cNvSpPr/>
          <p:nvPr/>
        </p:nvSpPr>
        <p:spPr>
          <a:xfrm>
            <a:off x="404644" y="3406905"/>
            <a:ext cx="257692" cy="265230"/>
          </a:xfrm>
          <a:prstGeom prst="rect">
            <a:avLst/>
          </a:prstGeom>
          <a:solidFill>
            <a:srgbClr val="0F2B22"/>
          </a:solidFill>
          <a:ln w="38100">
            <a:solidFill>
              <a:srgbClr val="4FBF9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D</a:t>
            </a:r>
          </a:p>
        </p:txBody>
      </p:sp>
      <p:sp>
        <p:nvSpPr>
          <p:cNvPr id="39" name="Rectangle 38">
            <a:extLst>
              <a:ext uri="{FF2B5EF4-FFF2-40B4-BE49-F238E27FC236}">
                <a16:creationId xmlns:a16="http://schemas.microsoft.com/office/drawing/2014/main" id="{5206F0AA-A9E1-4DEC-AFA0-00193C60B0C1}"/>
              </a:ext>
            </a:extLst>
          </p:cNvPr>
          <p:cNvSpPr/>
          <p:nvPr/>
        </p:nvSpPr>
        <p:spPr>
          <a:xfrm>
            <a:off x="409006" y="4353840"/>
            <a:ext cx="257692" cy="265230"/>
          </a:xfrm>
          <a:prstGeom prst="rect">
            <a:avLst/>
          </a:prstGeom>
          <a:solidFill>
            <a:srgbClr val="3E685D"/>
          </a:solidFill>
          <a:ln w="38100">
            <a:solidFill>
              <a:srgbClr val="21FFC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F</a:t>
            </a:r>
          </a:p>
        </p:txBody>
      </p:sp>
      <p:sp>
        <p:nvSpPr>
          <p:cNvPr id="40" name="Rectangle 39">
            <a:extLst>
              <a:ext uri="{FF2B5EF4-FFF2-40B4-BE49-F238E27FC236}">
                <a16:creationId xmlns:a16="http://schemas.microsoft.com/office/drawing/2014/main" id="{764D28BE-16D7-451B-7CC4-43C607CC56FB}"/>
              </a:ext>
            </a:extLst>
          </p:cNvPr>
          <p:cNvSpPr/>
          <p:nvPr/>
        </p:nvSpPr>
        <p:spPr>
          <a:xfrm>
            <a:off x="812678" y="1902399"/>
            <a:ext cx="8077614" cy="436816"/>
          </a:xfrm>
          <a:prstGeom prst="rect">
            <a:avLst/>
          </a:prstGeom>
          <a:solidFill>
            <a:srgbClr val="FD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900">
                <a:solidFill>
                  <a:schemeClr val="tx1"/>
                </a:solidFill>
                <a:cs typeface="Arial"/>
              </a:rPr>
              <a:t>Compliance with Data Privacy Laws, Engage Early with Regulatory Authorities, Complete Proper Due Dilligence</a:t>
            </a:r>
            <a:endParaRPr lang="en-US">
              <a:solidFill>
                <a:schemeClr val="tx1"/>
              </a:solidFill>
              <a:cs typeface="Arial" panose="020B0604020202020204"/>
            </a:endParaRPr>
          </a:p>
        </p:txBody>
      </p:sp>
      <p:sp>
        <p:nvSpPr>
          <p:cNvPr id="41" name="Rectangle 40">
            <a:extLst>
              <a:ext uri="{FF2B5EF4-FFF2-40B4-BE49-F238E27FC236}">
                <a16:creationId xmlns:a16="http://schemas.microsoft.com/office/drawing/2014/main" id="{7A9E78D3-0D09-BCA2-296E-7E36A961BBE2}"/>
              </a:ext>
            </a:extLst>
          </p:cNvPr>
          <p:cNvSpPr/>
          <p:nvPr/>
        </p:nvSpPr>
        <p:spPr>
          <a:xfrm>
            <a:off x="815554" y="2374035"/>
            <a:ext cx="8077616" cy="436816"/>
          </a:xfrm>
          <a:prstGeom prst="rect">
            <a:avLst/>
          </a:prstGeom>
          <a:solidFill>
            <a:srgbClr val="FD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900">
                <a:solidFill>
                  <a:schemeClr val="tx1"/>
                </a:solidFill>
                <a:cs typeface="Arial"/>
              </a:rPr>
              <a:t>Secure Support from Key Shareholders, Reducing Execution and Regulatory Risks, Address Employee and Cultural Concerns</a:t>
            </a:r>
          </a:p>
        </p:txBody>
      </p:sp>
      <p:sp>
        <p:nvSpPr>
          <p:cNvPr id="42" name="Rectangle 41">
            <a:extLst>
              <a:ext uri="{FF2B5EF4-FFF2-40B4-BE49-F238E27FC236}">
                <a16:creationId xmlns:a16="http://schemas.microsoft.com/office/drawing/2014/main" id="{77729942-AC03-4B4A-8CE3-99AA35B7B0D6}"/>
              </a:ext>
            </a:extLst>
          </p:cNvPr>
          <p:cNvSpPr/>
          <p:nvPr/>
        </p:nvSpPr>
        <p:spPr>
          <a:xfrm>
            <a:off x="815553" y="2843057"/>
            <a:ext cx="8077616" cy="436816"/>
          </a:xfrm>
          <a:prstGeom prst="rect">
            <a:avLst/>
          </a:prstGeom>
          <a:solidFill>
            <a:srgbClr val="FD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900">
                <a:solidFill>
                  <a:schemeClr val="tx1"/>
                </a:solidFill>
                <a:cs typeface="Arial"/>
              </a:rPr>
              <a:t>Issuing New Shares onto the Market, Structure a Deal with Minimum Cash Upfront, Explore Government/Institutional Support</a:t>
            </a:r>
          </a:p>
        </p:txBody>
      </p:sp>
      <p:sp>
        <p:nvSpPr>
          <p:cNvPr id="43" name="Rectangle 42">
            <a:extLst>
              <a:ext uri="{FF2B5EF4-FFF2-40B4-BE49-F238E27FC236}">
                <a16:creationId xmlns:a16="http://schemas.microsoft.com/office/drawing/2014/main" id="{FBD29C39-4D59-ADC0-BFE8-9E222157D9CF}"/>
              </a:ext>
            </a:extLst>
          </p:cNvPr>
          <p:cNvSpPr/>
          <p:nvPr/>
        </p:nvSpPr>
        <p:spPr>
          <a:xfrm>
            <a:off x="815553" y="3310439"/>
            <a:ext cx="8077616" cy="436816"/>
          </a:xfrm>
          <a:prstGeom prst="rect">
            <a:avLst/>
          </a:prstGeom>
          <a:solidFill>
            <a:srgbClr val="FD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900">
                <a:solidFill>
                  <a:schemeClr val="tx1"/>
                </a:solidFill>
                <a:cs typeface="Arial"/>
              </a:rPr>
              <a:t>Engage with Shareholders Early and Proactively, Negotiate to find Common Ground</a:t>
            </a:r>
            <a:endParaRPr lang="en-US">
              <a:solidFill>
                <a:schemeClr val="tx1"/>
              </a:solidFill>
            </a:endParaRPr>
          </a:p>
        </p:txBody>
      </p:sp>
      <p:sp>
        <p:nvSpPr>
          <p:cNvPr id="44" name="Rectangle 43">
            <a:extLst>
              <a:ext uri="{FF2B5EF4-FFF2-40B4-BE49-F238E27FC236}">
                <a16:creationId xmlns:a16="http://schemas.microsoft.com/office/drawing/2014/main" id="{84C39ABE-0D25-B601-B0C1-C49C93355F8F}"/>
              </a:ext>
            </a:extLst>
          </p:cNvPr>
          <p:cNvSpPr/>
          <p:nvPr/>
        </p:nvSpPr>
        <p:spPr>
          <a:xfrm>
            <a:off x="815553" y="3782834"/>
            <a:ext cx="8077616" cy="436816"/>
          </a:xfrm>
          <a:prstGeom prst="rect">
            <a:avLst/>
          </a:prstGeom>
          <a:solidFill>
            <a:srgbClr val="FD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900">
                <a:solidFill>
                  <a:schemeClr val="tx1"/>
                </a:solidFill>
              </a:rPr>
              <a:t>Identify and Prioritize Key Talent, Offer Financial and Career Incentives, Create a Positive Integration Experience</a:t>
            </a:r>
            <a:endParaRPr lang="en-CA" sz="900">
              <a:solidFill>
                <a:schemeClr val="tx1"/>
              </a:solidFill>
              <a:cs typeface="Arial"/>
            </a:endParaRPr>
          </a:p>
        </p:txBody>
      </p:sp>
      <p:sp>
        <p:nvSpPr>
          <p:cNvPr id="45" name="Rectangle 44">
            <a:extLst>
              <a:ext uri="{FF2B5EF4-FFF2-40B4-BE49-F238E27FC236}">
                <a16:creationId xmlns:a16="http://schemas.microsoft.com/office/drawing/2014/main" id="{CB98956D-1EDE-B20A-84DC-85C343222BEE}"/>
              </a:ext>
            </a:extLst>
          </p:cNvPr>
          <p:cNvSpPr/>
          <p:nvPr/>
        </p:nvSpPr>
        <p:spPr>
          <a:xfrm>
            <a:off x="815553" y="4257374"/>
            <a:ext cx="8077616" cy="436816"/>
          </a:xfrm>
          <a:prstGeom prst="rect">
            <a:avLst/>
          </a:prstGeom>
          <a:solidFill>
            <a:srgbClr val="FD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900">
                <a:solidFill>
                  <a:schemeClr val="tx1"/>
                </a:solidFill>
                <a:cs typeface="Arial"/>
              </a:rPr>
              <a:t>Develop a Clear and Executable Integration Plan, Leverage Tech and AI Integration</a:t>
            </a:r>
            <a:endParaRPr lang="en-US"/>
          </a:p>
        </p:txBody>
      </p:sp>
      <p:sp>
        <p:nvSpPr>
          <p:cNvPr id="46" name="Rectangle 45">
            <a:extLst>
              <a:ext uri="{FF2B5EF4-FFF2-40B4-BE49-F238E27FC236}">
                <a16:creationId xmlns:a16="http://schemas.microsoft.com/office/drawing/2014/main" id="{7429B4C3-5D3C-E41E-6BF4-4BA32DE7B67D}"/>
              </a:ext>
            </a:extLst>
          </p:cNvPr>
          <p:cNvSpPr/>
          <p:nvPr/>
        </p:nvSpPr>
        <p:spPr>
          <a:xfrm>
            <a:off x="815553" y="4731914"/>
            <a:ext cx="8077616" cy="436816"/>
          </a:xfrm>
          <a:prstGeom prst="rect">
            <a:avLst/>
          </a:prstGeom>
          <a:solidFill>
            <a:srgbClr val="FD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900">
                <a:solidFill>
                  <a:schemeClr val="tx1"/>
                </a:solidFill>
                <a:cs typeface="Arial"/>
              </a:rPr>
              <a:t>Refinance Debt Using SHOP’s Stronger Balance Sheet to Decrease Interest Expenses</a:t>
            </a:r>
          </a:p>
        </p:txBody>
      </p:sp>
    </p:spTree>
    <p:extLst>
      <p:ext uri="{BB962C8B-B14F-4D97-AF65-F5344CB8AC3E}">
        <p14:creationId xmlns:p14="http://schemas.microsoft.com/office/powerpoint/2010/main" val="15859113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FB727F-EBAF-2C23-7C88-8E05AAA06810}"/>
            </a:ext>
          </a:extLst>
        </p:cNvPr>
        <p:cNvGrpSpPr/>
        <p:nvPr/>
      </p:nvGrpSpPr>
      <p:grpSpPr>
        <a:xfrm>
          <a:off x="0" y="0"/>
          <a:ext cx="0" cy="0"/>
          <a:chOff x="0" y="0"/>
          <a:chExt cx="0" cy="0"/>
        </a:xfrm>
      </p:grpSpPr>
      <p:pic>
        <p:nvPicPr>
          <p:cNvPr id="5" name="Picture Placeholder 4" descr="A person walking in a building&#10;&#10;AI-generated content may be incorrect.">
            <a:extLst>
              <a:ext uri="{FF2B5EF4-FFF2-40B4-BE49-F238E27FC236}">
                <a16:creationId xmlns:a16="http://schemas.microsoft.com/office/drawing/2014/main" id="{36412140-3C0D-C29C-8DA7-753A8E59984B}"/>
              </a:ext>
            </a:extLst>
          </p:cNvPr>
          <p:cNvPicPr>
            <a:picLocks noGrp="1" noChangeAspect="1"/>
          </p:cNvPicPr>
          <p:nvPr>
            <p:ph type="pic" sz="quarter" idx="10"/>
          </p:nvPr>
        </p:nvPicPr>
        <p:blipFill>
          <a:blip r:embed="rId2"/>
          <a:srcRect l="5500" r="5500"/>
          <a:stretch/>
        </p:blipFill>
        <p:spPr>
          <a:xfrm>
            <a:off x="0" y="0"/>
            <a:ext cx="9144000" cy="6858000"/>
          </a:xfrm>
          <a:noFill/>
        </p:spPr>
      </p:pic>
      <p:sp>
        <p:nvSpPr>
          <p:cNvPr id="27" name="Text Placeholder 2">
            <a:extLst>
              <a:ext uri="{FF2B5EF4-FFF2-40B4-BE49-F238E27FC236}">
                <a16:creationId xmlns:a16="http://schemas.microsoft.com/office/drawing/2014/main" id="{817D5D76-4ED7-962D-7C17-085BACCFAF8C}"/>
              </a:ext>
            </a:extLst>
          </p:cNvPr>
          <p:cNvSpPr>
            <a:spLocks noGrp="1"/>
          </p:cNvSpPr>
          <p:nvPr>
            <p:ph type="body" sz="quarter" idx="13"/>
          </p:nvPr>
        </p:nvSpPr>
        <p:spPr>
          <a:xfrm>
            <a:off x="0" y="5121275"/>
            <a:ext cx="9144000" cy="1736724"/>
          </a:xfrm>
        </p:spPr>
        <p:txBody>
          <a:bodyPr/>
          <a:lstStyle/>
          <a:p>
            <a:endParaRPr lang="en-US"/>
          </a:p>
        </p:txBody>
      </p:sp>
      <p:sp>
        <p:nvSpPr>
          <p:cNvPr id="9" name="Title 8">
            <a:extLst>
              <a:ext uri="{FF2B5EF4-FFF2-40B4-BE49-F238E27FC236}">
                <a16:creationId xmlns:a16="http://schemas.microsoft.com/office/drawing/2014/main" id="{04C9D681-AF19-04BC-22F7-5229F60CBDD0}"/>
              </a:ext>
            </a:extLst>
          </p:cNvPr>
          <p:cNvSpPr>
            <a:spLocks noGrp="1"/>
          </p:cNvSpPr>
          <p:nvPr>
            <p:ph type="ctrTitle"/>
          </p:nvPr>
        </p:nvSpPr>
        <p:spPr>
          <a:xfrm>
            <a:off x="250825" y="5339798"/>
            <a:ext cx="8642349" cy="810730"/>
          </a:xfrm>
        </p:spPr>
        <p:txBody>
          <a:bodyPr anchor="ctr">
            <a:normAutofit/>
          </a:bodyPr>
          <a:lstStyle/>
          <a:p>
            <a:pPr>
              <a:lnSpc>
                <a:spcPct val="90000"/>
              </a:lnSpc>
            </a:pPr>
            <a:r>
              <a:rPr lang="en-US" sz="5100"/>
              <a:t>Relative Valuation</a:t>
            </a:r>
          </a:p>
        </p:txBody>
      </p:sp>
      <p:sp>
        <p:nvSpPr>
          <p:cNvPr id="29" name="Subtitle 4">
            <a:extLst>
              <a:ext uri="{FF2B5EF4-FFF2-40B4-BE49-F238E27FC236}">
                <a16:creationId xmlns:a16="http://schemas.microsoft.com/office/drawing/2014/main" id="{407E41FB-6C6B-3132-D2DB-913E0887C84D}"/>
              </a:ext>
            </a:extLst>
          </p:cNvPr>
          <p:cNvSpPr>
            <a:spLocks noGrp="1"/>
          </p:cNvSpPr>
          <p:nvPr>
            <p:ph type="subTitle" idx="1"/>
          </p:nvPr>
        </p:nvSpPr>
        <p:spPr>
          <a:xfrm>
            <a:off x="250827" y="6237292"/>
            <a:ext cx="8642348" cy="395287"/>
          </a:xfrm>
        </p:spPr>
        <p:txBody>
          <a:bodyPr/>
          <a:lstStyle/>
          <a:p>
            <a:endParaRPr lang="en-US"/>
          </a:p>
        </p:txBody>
      </p:sp>
      <p:sp>
        <p:nvSpPr>
          <p:cNvPr id="31" name="Content Placeholder 5">
            <a:extLst>
              <a:ext uri="{FF2B5EF4-FFF2-40B4-BE49-F238E27FC236}">
                <a16:creationId xmlns:a16="http://schemas.microsoft.com/office/drawing/2014/main" id="{7F7E66FC-CA4B-D46B-7DF6-E328D4C7EBD9}"/>
              </a:ext>
            </a:extLst>
          </p:cNvPr>
          <p:cNvSpPr>
            <a:spLocks noGrp="1"/>
          </p:cNvSpPr>
          <p:nvPr>
            <p:ph sz="quarter" idx="12"/>
          </p:nvPr>
        </p:nvSpPr>
        <p:spPr>
          <a:xfrm>
            <a:off x="395399" y="6165850"/>
            <a:ext cx="1614097" cy="71438"/>
          </a:xfrm>
        </p:spPr>
        <p:txBody>
          <a:bodyPr/>
          <a:lstStyle/>
          <a:p>
            <a:endParaRPr lang="en-US"/>
          </a:p>
        </p:txBody>
      </p:sp>
    </p:spTree>
    <p:extLst>
      <p:ext uri="{BB962C8B-B14F-4D97-AF65-F5344CB8AC3E}">
        <p14:creationId xmlns:p14="http://schemas.microsoft.com/office/powerpoint/2010/main" val="37905670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4F8CB8-9D0B-1230-BF39-BA424FC256CD}"/>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417BF76C-C7AF-4E46-589C-910D27810DBE}"/>
              </a:ext>
            </a:extLst>
          </p:cNvPr>
          <p:cNvSpPr/>
          <p:nvPr/>
        </p:nvSpPr>
        <p:spPr>
          <a:xfrm>
            <a:off x="199504" y="3836995"/>
            <a:ext cx="5819943" cy="189041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19" name="Rectangle 18">
            <a:extLst>
              <a:ext uri="{FF2B5EF4-FFF2-40B4-BE49-F238E27FC236}">
                <a16:creationId xmlns:a16="http://schemas.microsoft.com/office/drawing/2014/main" id="{CE08768B-5F94-BCFB-CE17-0B9765517B93}"/>
              </a:ext>
            </a:extLst>
          </p:cNvPr>
          <p:cNvSpPr/>
          <p:nvPr/>
        </p:nvSpPr>
        <p:spPr>
          <a:xfrm>
            <a:off x="199505" y="1394887"/>
            <a:ext cx="5819942" cy="2431348"/>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 name="Text Placeholder 1">
            <a:extLst>
              <a:ext uri="{FF2B5EF4-FFF2-40B4-BE49-F238E27FC236}">
                <a16:creationId xmlns:a16="http://schemas.microsoft.com/office/drawing/2014/main" id="{584D5422-00A4-2749-4F3C-A920E0580E7C}"/>
              </a:ext>
            </a:extLst>
          </p:cNvPr>
          <p:cNvSpPr>
            <a:spLocks noGrp="1"/>
          </p:cNvSpPr>
          <p:nvPr>
            <p:ph type="body" sz="quarter" idx="21"/>
          </p:nvPr>
        </p:nvSpPr>
        <p:spPr/>
        <p:txBody>
          <a:bodyPr vert="horz" lIns="91440" tIns="45720" rIns="91440" bIns="45720" rtlCol="0" anchor="t">
            <a:normAutofit/>
          </a:bodyPr>
          <a:lstStyle/>
          <a:p>
            <a:r>
              <a:rPr lang="en-CA"/>
              <a:t>Similar Companies to </a:t>
            </a:r>
            <a:r>
              <a:rPr lang="en-CA" err="1"/>
              <a:t>AppLovin</a:t>
            </a:r>
            <a:endParaRPr lang="en-CA"/>
          </a:p>
        </p:txBody>
      </p:sp>
      <p:sp>
        <p:nvSpPr>
          <p:cNvPr id="4" name="Title 3">
            <a:extLst>
              <a:ext uri="{FF2B5EF4-FFF2-40B4-BE49-F238E27FC236}">
                <a16:creationId xmlns:a16="http://schemas.microsoft.com/office/drawing/2014/main" id="{3C5659B5-5DFE-0D12-5270-E88823582FCB}"/>
              </a:ext>
            </a:extLst>
          </p:cNvPr>
          <p:cNvSpPr>
            <a:spLocks noGrp="1"/>
          </p:cNvSpPr>
          <p:nvPr>
            <p:ph type="title"/>
          </p:nvPr>
        </p:nvSpPr>
        <p:spPr/>
        <p:txBody>
          <a:bodyPr/>
          <a:lstStyle/>
          <a:p>
            <a:r>
              <a:rPr lang="en-CA"/>
              <a:t>Company Debt To Equity Ratio</a:t>
            </a:r>
          </a:p>
        </p:txBody>
      </p:sp>
      <p:sp>
        <p:nvSpPr>
          <p:cNvPr id="5" name="Text Placeholder 4">
            <a:extLst>
              <a:ext uri="{FF2B5EF4-FFF2-40B4-BE49-F238E27FC236}">
                <a16:creationId xmlns:a16="http://schemas.microsoft.com/office/drawing/2014/main" id="{664FED42-1C79-30E2-AD1A-5F34938CDEA1}"/>
              </a:ext>
            </a:extLst>
          </p:cNvPr>
          <p:cNvSpPr>
            <a:spLocks noGrp="1"/>
          </p:cNvSpPr>
          <p:nvPr>
            <p:ph type="body" sz="quarter" idx="13"/>
          </p:nvPr>
        </p:nvSpPr>
        <p:spPr/>
        <p:txBody>
          <a:bodyPr/>
          <a:lstStyle/>
          <a:p>
            <a:r>
              <a:rPr lang="en-CA"/>
              <a:t>Source(s): Pitchbook, Capital IQ</a:t>
            </a:r>
          </a:p>
        </p:txBody>
      </p:sp>
      <p:graphicFrame>
        <p:nvGraphicFramePr>
          <p:cNvPr id="8" name="Table Placeholder 7">
            <a:extLst>
              <a:ext uri="{FF2B5EF4-FFF2-40B4-BE49-F238E27FC236}">
                <a16:creationId xmlns:a16="http://schemas.microsoft.com/office/drawing/2014/main" id="{12D1685D-AD6C-DC72-6BDB-27C03A2DD038}"/>
              </a:ext>
            </a:extLst>
          </p:cNvPr>
          <p:cNvGraphicFramePr>
            <a:graphicFrameLocks noGrp="1"/>
          </p:cNvGraphicFramePr>
          <p:nvPr>
            <p:ph type="tbl" sz="quarter" idx="14"/>
            <p:extLst>
              <p:ext uri="{D42A27DB-BD31-4B8C-83A1-F6EECF244321}">
                <p14:modId xmlns:p14="http://schemas.microsoft.com/office/powerpoint/2010/main" val="3617109397"/>
              </p:ext>
            </p:extLst>
          </p:nvPr>
        </p:nvGraphicFramePr>
        <p:xfrm>
          <a:off x="216417" y="1006477"/>
          <a:ext cx="5803030" cy="5217743"/>
        </p:xfrm>
        <a:graphic>
          <a:graphicData uri="http://schemas.openxmlformats.org/drawingml/2006/table">
            <a:tbl>
              <a:tblPr firstRow="1" bandRow="1">
                <a:tableStyleId>{0E3FDE45-AF77-4B5C-9715-49D594BDF05E}</a:tableStyleId>
              </a:tblPr>
              <a:tblGrid>
                <a:gridCol w="2162494">
                  <a:extLst>
                    <a:ext uri="{9D8B030D-6E8A-4147-A177-3AD203B41FA5}">
                      <a16:colId xmlns:a16="http://schemas.microsoft.com/office/drawing/2014/main" val="1996002784"/>
                    </a:ext>
                  </a:extLst>
                </a:gridCol>
                <a:gridCol w="1271405">
                  <a:extLst>
                    <a:ext uri="{9D8B030D-6E8A-4147-A177-3AD203B41FA5}">
                      <a16:colId xmlns:a16="http://schemas.microsoft.com/office/drawing/2014/main" val="1682591392"/>
                    </a:ext>
                  </a:extLst>
                </a:gridCol>
                <a:gridCol w="2369131">
                  <a:extLst>
                    <a:ext uri="{9D8B030D-6E8A-4147-A177-3AD203B41FA5}">
                      <a16:colId xmlns:a16="http://schemas.microsoft.com/office/drawing/2014/main" val="554846100"/>
                    </a:ext>
                  </a:extLst>
                </a:gridCol>
              </a:tblGrid>
              <a:tr h="367335">
                <a:tc gridSpan="2">
                  <a:txBody>
                    <a:bodyPr/>
                    <a:lstStyle/>
                    <a:p>
                      <a:pPr algn="ctr" fontAlgn="b"/>
                      <a:r>
                        <a:rPr lang="en-CA" sz="1100" b="1" i="0" u="none" strike="noStrike">
                          <a:solidFill>
                            <a:schemeClr val="bg1">
                              <a:lumMod val="95000"/>
                            </a:schemeClr>
                          </a:solidFill>
                          <a:effectLst/>
                          <a:latin typeface="Arial" panose="020B0604020202020204" pitchFamily="34" charset="0"/>
                        </a:rPr>
                        <a:t>Company</a:t>
                      </a:r>
                    </a:p>
                  </a:txBody>
                  <a:tcPr marL="6350" marR="6350" marT="6350" anchor="ctr">
                    <a:solidFill>
                      <a:schemeClr val="accent1"/>
                    </a:solidFill>
                  </a:tcPr>
                </a:tc>
                <a:tc hMerge="1">
                  <a:txBody>
                    <a:bodyPr/>
                    <a:lstStyle/>
                    <a:p>
                      <a:pPr algn="l" fontAlgn="b"/>
                      <a:endParaRPr lang="en-CA" sz="1100" b="0" i="0" u="none" strike="noStrike">
                        <a:solidFill>
                          <a:srgbClr val="000000"/>
                        </a:solidFill>
                        <a:effectLst/>
                        <a:latin typeface="Arial" panose="020B0604020202020204" pitchFamily="34" charset="0"/>
                      </a:endParaRPr>
                    </a:p>
                  </a:txBody>
                  <a:tcPr marL="6350" marR="6350" marT="6350" anchor="b"/>
                </a:tc>
                <a:tc>
                  <a:txBody>
                    <a:bodyPr/>
                    <a:lstStyle/>
                    <a:p>
                      <a:pPr algn="ctr" fontAlgn="b"/>
                      <a:r>
                        <a:rPr lang="en-CA" sz="1100" b="1" i="0" u="none" strike="noStrike">
                          <a:solidFill>
                            <a:schemeClr val="bg1">
                              <a:lumMod val="95000"/>
                            </a:schemeClr>
                          </a:solidFill>
                          <a:effectLst/>
                          <a:latin typeface="Arial" panose="020B0604020202020204" pitchFamily="34" charset="0"/>
                        </a:rPr>
                        <a:t>D/E</a:t>
                      </a:r>
                    </a:p>
                  </a:txBody>
                  <a:tcPr marL="6350" marR="6350" marT="6350" anchor="ctr">
                    <a:solidFill>
                      <a:schemeClr val="accent1"/>
                    </a:solidFill>
                  </a:tcPr>
                </a:tc>
                <a:extLst>
                  <a:ext uri="{0D108BD9-81ED-4DB2-BD59-A6C34878D82A}">
                    <a16:rowId xmlns:a16="http://schemas.microsoft.com/office/drawing/2014/main" val="3748795538"/>
                  </a:ext>
                </a:extLst>
              </a:tr>
              <a:tr h="445597">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ctr"/>
                      <a:r>
                        <a:rPr lang="en-CA" sz="1100" b="1" i="0" u="none" strike="noStrike">
                          <a:solidFill>
                            <a:srgbClr val="000000"/>
                          </a:solidFill>
                          <a:effectLst/>
                          <a:latin typeface="Arial" panose="020B0604020202020204" pitchFamily="34" charset="0"/>
                        </a:rPr>
                        <a:t>2.33%</a:t>
                      </a:r>
                    </a:p>
                  </a:txBody>
                  <a:tcPr marL="6350" marR="6350" marT="6350" anchor="ctr"/>
                </a:tc>
                <a:extLst>
                  <a:ext uri="{0D108BD9-81ED-4DB2-BD59-A6C34878D82A}">
                    <a16:rowId xmlns:a16="http://schemas.microsoft.com/office/drawing/2014/main" val="2166770373"/>
                  </a:ext>
                </a:extLst>
              </a:tr>
              <a:tr h="501974">
                <a:tc>
                  <a:txBody>
                    <a:bodyPr/>
                    <a:lstStyle/>
                    <a:p>
                      <a:pPr algn="ctr" fontAlgn="b"/>
                      <a:endParaRPr lang="en-US"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ctr"/>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1.05%</a:t>
                      </a:r>
                    </a:p>
                  </a:txBody>
                  <a:tcPr marL="6350" marR="6350" marT="6350" anchor="ctr"/>
                </a:tc>
                <a:extLst>
                  <a:ext uri="{0D108BD9-81ED-4DB2-BD59-A6C34878D82A}">
                    <a16:rowId xmlns:a16="http://schemas.microsoft.com/office/drawing/2014/main" val="2260035197"/>
                  </a:ext>
                </a:extLst>
              </a:tr>
              <a:tr h="501974">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3.51%</a:t>
                      </a:r>
                    </a:p>
                  </a:txBody>
                  <a:tcPr marL="6350" marR="6350" marT="6350" anchor="ctr"/>
                </a:tc>
                <a:extLst>
                  <a:ext uri="{0D108BD9-81ED-4DB2-BD59-A6C34878D82A}">
                    <a16:rowId xmlns:a16="http://schemas.microsoft.com/office/drawing/2014/main" val="2883045243"/>
                  </a:ext>
                </a:extLst>
              </a:tr>
              <a:tr h="501974">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1.23%</a:t>
                      </a:r>
                    </a:p>
                  </a:txBody>
                  <a:tcPr marL="6350" marR="6350" marT="6350" anchor="ctr"/>
                </a:tc>
                <a:extLst>
                  <a:ext uri="{0D108BD9-81ED-4DB2-BD59-A6C34878D82A}">
                    <a16:rowId xmlns:a16="http://schemas.microsoft.com/office/drawing/2014/main" val="202643084"/>
                  </a:ext>
                </a:extLst>
              </a:tr>
              <a:tr h="501974">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4.17%</a:t>
                      </a:r>
                    </a:p>
                  </a:txBody>
                  <a:tcPr marL="6350" marR="6350" marT="6350" anchor="ctr"/>
                </a:tc>
                <a:extLst>
                  <a:ext uri="{0D108BD9-81ED-4DB2-BD59-A6C34878D82A}">
                    <a16:rowId xmlns:a16="http://schemas.microsoft.com/office/drawing/2014/main" val="186322809"/>
                  </a:ext>
                </a:extLst>
              </a:tr>
              <a:tr h="501974">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0.65%</a:t>
                      </a:r>
                    </a:p>
                  </a:txBody>
                  <a:tcPr marL="6350" marR="6350" marT="6350" anchor="ctr"/>
                </a:tc>
                <a:extLst>
                  <a:ext uri="{0D108BD9-81ED-4DB2-BD59-A6C34878D82A}">
                    <a16:rowId xmlns:a16="http://schemas.microsoft.com/office/drawing/2014/main" val="2419930507"/>
                  </a:ext>
                </a:extLst>
              </a:tr>
              <a:tr h="501974">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0.14%</a:t>
                      </a:r>
                    </a:p>
                  </a:txBody>
                  <a:tcPr marL="6350" marR="6350" marT="6350" anchor="ctr"/>
                </a:tc>
                <a:extLst>
                  <a:ext uri="{0D108BD9-81ED-4DB2-BD59-A6C34878D82A}">
                    <a16:rowId xmlns:a16="http://schemas.microsoft.com/office/drawing/2014/main" val="1013609071"/>
                  </a:ext>
                </a:extLst>
              </a:tr>
              <a:tr h="417333">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1.79%</a:t>
                      </a:r>
                    </a:p>
                  </a:txBody>
                  <a:tcPr marL="6350" marR="6350" marT="6350" anchor="ctr"/>
                </a:tc>
                <a:extLst>
                  <a:ext uri="{0D108BD9-81ED-4DB2-BD59-A6C34878D82A}">
                    <a16:rowId xmlns:a16="http://schemas.microsoft.com/office/drawing/2014/main" val="2577423373"/>
                  </a:ext>
                </a:extLst>
              </a:tr>
              <a:tr h="473660">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solidFill>
                      <a:schemeClr val="bg1">
                        <a:alpha val="20000"/>
                      </a:schemeClr>
                    </a:solidFill>
                  </a:tcPr>
                </a:tc>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solidFill>
                      <a:schemeClr val="bg1">
                        <a:alpha val="20000"/>
                      </a:schemeClr>
                    </a:solidFill>
                  </a:tcPr>
                </a:tc>
                <a:tc>
                  <a:txBody>
                    <a:bodyPr/>
                    <a:lstStyle/>
                    <a:p>
                      <a:pPr algn="ctr" fontAlgn="b"/>
                      <a:endParaRPr lang="en-CA" sz="1100" b="1" i="0" u="none" strike="noStrike">
                        <a:solidFill>
                          <a:srgbClr val="000000"/>
                        </a:solidFill>
                        <a:effectLst/>
                        <a:latin typeface="Arial" panose="020B0604020202020204" pitchFamily="34" charset="0"/>
                      </a:endParaRPr>
                    </a:p>
                  </a:txBody>
                  <a:tcPr marL="6350" marR="6350" marT="6350" anchor="ctr">
                    <a:solidFill>
                      <a:schemeClr val="bg1">
                        <a:alpha val="20000"/>
                      </a:schemeClr>
                    </a:solidFill>
                  </a:tcPr>
                </a:tc>
                <a:extLst>
                  <a:ext uri="{0D108BD9-81ED-4DB2-BD59-A6C34878D82A}">
                    <a16:rowId xmlns:a16="http://schemas.microsoft.com/office/drawing/2014/main" val="3821387120"/>
                  </a:ext>
                </a:extLst>
              </a:tr>
              <a:tr h="501974">
                <a:tc>
                  <a:txBody>
                    <a:bodyPr/>
                    <a:lstStyle/>
                    <a:p>
                      <a:pPr algn="ctr" fontAlgn="b"/>
                      <a:endParaRPr lang="en-CA" sz="1100" b="0" i="0" u="none" strike="noStrike">
                        <a:solidFill>
                          <a:schemeClr val="accent2"/>
                        </a:solidFill>
                        <a:effectLst/>
                        <a:latin typeface="Arial" panose="020B0604020202020204" pitchFamily="34" charset="0"/>
                      </a:endParaRPr>
                    </a:p>
                  </a:txBody>
                  <a:tcPr marL="6350" marR="6350" marT="6350" anchor="ctr">
                    <a:solidFill>
                      <a:schemeClr val="tx2">
                        <a:lumMod val="10000"/>
                        <a:lumOff val="90000"/>
                      </a:schemeClr>
                    </a:solidFill>
                  </a:tcPr>
                </a:tc>
                <a:tc>
                  <a:txBody>
                    <a:bodyPr/>
                    <a:lstStyle/>
                    <a:p>
                      <a:pPr algn="ctr" fontAlgn="b"/>
                      <a:endParaRPr lang="en-CA" sz="1100" b="0" i="0" u="none" strike="noStrike">
                        <a:solidFill>
                          <a:schemeClr val="accent2"/>
                        </a:solidFill>
                        <a:effectLst/>
                        <a:latin typeface="Arial" panose="020B0604020202020204" pitchFamily="34" charset="0"/>
                      </a:endParaRPr>
                    </a:p>
                  </a:txBody>
                  <a:tcPr marL="6350" marR="6350" marT="6350" anchor="ctr">
                    <a:solidFill>
                      <a:schemeClr val="tx2">
                        <a:lumMod val="10000"/>
                        <a:lumOff val="90000"/>
                      </a:schemeClr>
                    </a:solidFill>
                  </a:tcPr>
                </a:tc>
                <a:tc>
                  <a:txBody>
                    <a:bodyPr/>
                    <a:lstStyle/>
                    <a:p>
                      <a:pPr algn="ctr" fontAlgn="b"/>
                      <a:r>
                        <a:rPr lang="en-CA" sz="1100" b="1" i="0" u="none" strike="noStrike">
                          <a:solidFill>
                            <a:schemeClr val="accent2"/>
                          </a:solidFill>
                          <a:effectLst/>
                          <a:latin typeface="Arial" panose="020B0604020202020204" pitchFamily="34" charset="0"/>
                        </a:rPr>
                        <a:t>3.29%</a:t>
                      </a:r>
                    </a:p>
                  </a:txBody>
                  <a:tcPr marL="6350" marR="6350" marT="6350" anchor="ctr">
                    <a:solidFill>
                      <a:schemeClr val="tx2">
                        <a:lumMod val="10000"/>
                        <a:lumOff val="90000"/>
                      </a:schemeClr>
                    </a:solidFill>
                  </a:tcPr>
                </a:tc>
                <a:extLst>
                  <a:ext uri="{0D108BD9-81ED-4DB2-BD59-A6C34878D82A}">
                    <a16:rowId xmlns:a16="http://schemas.microsoft.com/office/drawing/2014/main" val="3543999463"/>
                  </a:ext>
                </a:extLst>
              </a:tr>
            </a:tbl>
          </a:graphicData>
        </a:graphic>
      </p:graphicFrame>
      <p:pic>
        <p:nvPicPr>
          <p:cNvPr id="9" name="Picture 16">
            <a:extLst>
              <a:ext uri="{FF2B5EF4-FFF2-40B4-BE49-F238E27FC236}">
                <a16:creationId xmlns:a16="http://schemas.microsoft.com/office/drawing/2014/main" id="{D754E2EE-EF3F-F7CA-CB1B-994BAE4178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28157" y="1480911"/>
            <a:ext cx="1136249" cy="30560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8" descr="The Trade Desk: A Growth Story That Keeps Compounding">
            <a:extLst>
              <a:ext uri="{FF2B5EF4-FFF2-40B4-BE49-F238E27FC236}">
                <a16:creationId xmlns:a16="http://schemas.microsoft.com/office/drawing/2014/main" id="{0C834282-C664-6A92-0048-C923F37AB1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776" y="1834830"/>
            <a:ext cx="2284703" cy="53685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4">
            <a:extLst>
              <a:ext uri="{FF2B5EF4-FFF2-40B4-BE49-F238E27FC236}">
                <a16:creationId xmlns:a16="http://schemas.microsoft.com/office/drawing/2014/main" id="{D39F6513-09CC-396D-0864-A693A45C224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1729" y="2456825"/>
            <a:ext cx="1322690" cy="24832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6" descr="Google Logo transparent PNG | FREE PNG Logos">
            <a:extLst>
              <a:ext uri="{FF2B5EF4-FFF2-40B4-BE49-F238E27FC236}">
                <a16:creationId xmlns:a16="http://schemas.microsoft.com/office/drawing/2014/main" id="{199A3DEB-5D50-54B2-40FB-742A58725AF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8624" b="22976"/>
          <a:stretch/>
        </p:blipFill>
        <p:spPr bwMode="auto">
          <a:xfrm>
            <a:off x="1239453" y="2703772"/>
            <a:ext cx="1383727" cy="74920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2" descr="Criteo - ad:tech">
            <a:extLst>
              <a:ext uri="{FF2B5EF4-FFF2-40B4-BE49-F238E27FC236}">
                <a16:creationId xmlns:a16="http://schemas.microsoft.com/office/drawing/2014/main" id="{01FE1CB4-71D4-57BD-4F1F-FBBCCE85265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62149" y="3213679"/>
            <a:ext cx="1494357" cy="76199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2" descr="CLIENTS | Sooqista Studios">
            <a:extLst>
              <a:ext uri="{FF2B5EF4-FFF2-40B4-BE49-F238E27FC236}">
                <a16:creationId xmlns:a16="http://schemas.microsoft.com/office/drawing/2014/main" id="{7F432D7D-0D56-7E76-E869-B76F0E3032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16236" y="5641100"/>
            <a:ext cx="677282" cy="677282"/>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794FF0CE-6790-0B95-896F-AE90F13BEB3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42105" y="3910739"/>
            <a:ext cx="1162286" cy="39213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Digital Turbine logo in transparent PNG and vectorized SVG formats">
            <a:extLst>
              <a:ext uri="{FF2B5EF4-FFF2-40B4-BE49-F238E27FC236}">
                <a16:creationId xmlns:a16="http://schemas.microsoft.com/office/drawing/2014/main" id="{274D886B-93FB-4FB0-6C32-AD5CED078D1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60463" y="4428841"/>
            <a:ext cx="1162286" cy="367239"/>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Programmatic Advertising Technology Company | PubMatic">
            <a:extLst>
              <a:ext uri="{FF2B5EF4-FFF2-40B4-BE49-F238E27FC236}">
                <a16:creationId xmlns:a16="http://schemas.microsoft.com/office/drawing/2014/main" id="{72294337-9265-9A40-67D6-165510B11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26067" y="4891677"/>
            <a:ext cx="1624119" cy="219590"/>
          </a:xfrm>
          <a:prstGeom prst="rect">
            <a:avLst/>
          </a:prstGeom>
          <a:noFill/>
          <a:extLst>
            <a:ext uri="{909E8E84-426E-40DD-AFC4-6F175D3DCCD1}">
              <a14:hiddenFill xmlns:a14="http://schemas.microsoft.com/office/drawing/2010/main">
                <a:solidFill>
                  <a:srgbClr val="FFFFFF"/>
                </a:solidFill>
              </a14:hiddenFill>
            </a:ext>
          </a:extLst>
        </p:spPr>
      </p:pic>
      <p:sp>
        <p:nvSpPr>
          <p:cNvPr id="21" name="Right Bracket 20">
            <a:extLst>
              <a:ext uri="{FF2B5EF4-FFF2-40B4-BE49-F238E27FC236}">
                <a16:creationId xmlns:a16="http://schemas.microsoft.com/office/drawing/2014/main" id="{C27309B2-E760-9E92-A2AA-804F55FD0C09}"/>
              </a:ext>
            </a:extLst>
          </p:cNvPr>
          <p:cNvSpPr/>
          <p:nvPr/>
        </p:nvSpPr>
        <p:spPr>
          <a:xfrm>
            <a:off x="6232490" y="1384633"/>
            <a:ext cx="192963" cy="2408485"/>
          </a:xfrm>
          <a:prstGeom prst="rightBracket">
            <a:avLst/>
          </a:prstGeom>
        </p:spPr>
        <p:style>
          <a:lnRef idx="3">
            <a:schemeClr val="accent2"/>
          </a:lnRef>
          <a:fillRef idx="0">
            <a:schemeClr val="accent2"/>
          </a:fillRef>
          <a:effectRef idx="2">
            <a:schemeClr val="accent2"/>
          </a:effectRef>
          <a:fontRef idx="minor">
            <a:schemeClr val="tx1"/>
          </a:fontRef>
        </p:style>
        <p:txBody>
          <a:bodyPr rtlCol="0" anchor="ctr"/>
          <a:lstStyle/>
          <a:p>
            <a:pPr algn="ctr"/>
            <a:endParaRPr lang="en-CA"/>
          </a:p>
        </p:txBody>
      </p:sp>
      <p:sp>
        <p:nvSpPr>
          <p:cNvPr id="22" name="TextBox 21">
            <a:extLst>
              <a:ext uri="{FF2B5EF4-FFF2-40B4-BE49-F238E27FC236}">
                <a16:creationId xmlns:a16="http://schemas.microsoft.com/office/drawing/2014/main" id="{83792EEE-AE5E-2C0B-4416-8522072C4AC8}"/>
              </a:ext>
            </a:extLst>
          </p:cNvPr>
          <p:cNvSpPr txBox="1"/>
          <p:nvPr/>
        </p:nvSpPr>
        <p:spPr>
          <a:xfrm rot="5400000">
            <a:off x="6288391" y="2280048"/>
            <a:ext cx="723275" cy="369332"/>
          </a:xfrm>
          <a:prstGeom prst="rect">
            <a:avLst/>
          </a:prstGeom>
          <a:noFill/>
        </p:spPr>
        <p:txBody>
          <a:bodyPr wrap="none" rtlCol="0">
            <a:spAutoFit/>
          </a:bodyPr>
          <a:lstStyle/>
          <a:p>
            <a:pPr algn="ctr"/>
            <a:r>
              <a:rPr lang="en-CA" sz="900" b="1">
                <a:solidFill>
                  <a:schemeClr val="accent2"/>
                </a:solidFill>
              </a:rPr>
              <a:t>RV </a:t>
            </a:r>
          </a:p>
          <a:p>
            <a:pPr algn="ctr"/>
            <a:r>
              <a:rPr lang="en-CA" sz="900" b="1">
                <a:solidFill>
                  <a:schemeClr val="accent2"/>
                </a:solidFill>
              </a:rPr>
              <a:t>Comp Set</a:t>
            </a:r>
          </a:p>
        </p:txBody>
      </p:sp>
      <p:sp>
        <p:nvSpPr>
          <p:cNvPr id="23" name="Right Bracket 22">
            <a:extLst>
              <a:ext uri="{FF2B5EF4-FFF2-40B4-BE49-F238E27FC236}">
                <a16:creationId xmlns:a16="http://schemas.microsoft.com/office/drawing/2014/main" id="{B0CD3A3E-9F60-5702-1E32-39A40450124E}"/>
              </a:ext>
            </a:extLst>
          </p:cNvPr>
          <p:cNvSpPr/>
          <p:nvPr/>
        </p:nvSpPr>
        <p:spPr>
          <a:xfrm>
            <a:off x="6227346" y="3834124"/>
            <a:ext cx="200531" cy="1422572"/>
          </a:xfrm>
          <a:prstGeom prst="rightBracket">
            <a:avLst/>
          </a:prstGeom>
        </p:spPr>
        <p:style>
          <a:lnRef idx="3">
            <a:schemeClr val="accent2"/>
          </a:lnRef>
          <a:fillRef idx="0">
            <a:schemeClr val="accent2"/>
          </a:fillRef>
          <a:effectRef idx="2">
            <a:schemeClr val="accent2"/>
          </a:effectRef>
          <a:fontRef idx="minor">
            <a:schemeClr val="tx1"/>
          </a:fontRef>
        </p:style>
        <p:txBody>
          <a:bodyPr rtlCol="0" anchor="ctr"/>
          <a:lstStyle/>
          <a:p>
            <a:pPr algn="ctr"/>
            <a:endParaRPr lang="en-CA"/>
          </a:p>
        </p:txBody>
      </p:sp>
      <p:sp>
        <p:nvSpPr>
          <p:cNvPr id="24" name="TextBox 23">
            <a:extLst>
              <a:ext uri="{FF2B5EF4-FFF2-40B4-BE49-F238E27FC236}">
                <a16:creationId xmlns:a16="http://schemas.microsoft.com/office/drawing/2014/main" id="{58EC26BC-A4E6-4C19-5538-E982190C7C65}"/>
              </a:ext>
            </a:extLst>
          </p:cNvPr>
          <p:cNvSpPr txBox="1"/>
          <p:nvPr/>
        </p:nvSpPr>
        <p:spPr>
          <a:xfrm rot="5400000">
            <a:off x="5877752" y="4303230"/>
            <a:ext cx="1537600" cy="369332"/>
          </a:xfrm>
          <a:prstGeom prst="rect">
            <a:avLst/>
          </a:prstGeom>
          <a:noFill/>
        </p:spPr>
        <p:txBody>
          <a:bodyPr wrap="none" rtlCol="0">
            <a:spAutoFit/>
          </a:bodyPr>
          <a:lstStyle/>
          <a:p>
            <a:pPr algn="ctr"/>
            <a:r>
              <a:rPr lang="en-CA" sz="900" b="1">
                <a:solidFill>
                  <a:schemeClr val="accent2"/>
                </a:solidFill>
              </a:rPr>
              <a:t>Companies Not Included</a:t>
            </a:r>
          </a:p>
          <a:p>
            <a:pPr algn="ctr"/>
            <a:r>
              <a:rPr lang="en-CA" sz="900" b="1">
                <a:solidFill>
                  <a:schemeClr val="accent2"/>
                </a:solidFill>
              </a:rPr>
              <a:t>In Comp Set</a:t>
            </a:r>
          </a:p>
        </p:txBody>
      </p:sp>
      <p:sp>
        <p:nvSpPr>
          <p:cNvPr id="25" name="Right Bracket 24">
            <a:extLst>
              <a:ext uri="{FF2B5EF4-FFF2-40B4-BE49-F238E27FC236}">
                <a16:creationId xmlns:a16="http://schemas.microsoft.com/office/drawing/2014/main" id="{E639FB31-1628-BE8C-3193-47B7FFDBE2E9}"/>
              </a:ext>
            </a:extLst>
          </p:cNvPr>
          <p:cNvSpPr/>
          <p:nvPr/>
        </p:nvSpPr>
        <p:spPr>
          <a:xfrm>
            <a:off x="6227347" y="5731333"/>
            <a:ext cx="192963" cy="496815"/>
          </a:xfrm>
          <a:prstGeom prst="rightBracket">
            <a:avLst/>
          </a:prstGeom>
          <a:ln>
            <a:solidFill>
              <a:srgbClr val="FF0000"/>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CA"/>
          </a:p>
        </p:txBody>
      </p:sp>
      <p:sp>
        <p:nvSpPr>
          <p:cNvPr id="26" name="TextBox 25">
            <a:extLst>
              <a:ext uri="{FF2B5EF4-FFF2-40B4-BE49-F238E27FC236}">
                <a16:creationId xmlns:a16="http://schemas.microsoft.com/office/drawing/2014/main" id="{49CB044F-3C37-557F-C1A3-C05EC6CFD627}"/>
              </a:ext>
            </a:extLst>
          </p:cNvPr>
          <p:cNvSpPr txBox="1"/>
          <p:nvPr/>
        </p:nvSpPr>
        <p:spPr>
          <a:xfrm rot="5400000">
            <a:off x="6293852" y="5775245"/>
            <a:ext cx="697627" cy="369332"/>
          </a:xfrm>
          <a:prstGeom prst="rect">
            <a:avLst/>
          </a:prstGeom>
          <a:noFill/>
        </p:spPr>
        <p:txBody>
          <a:bodyPr wrap="none" rtlCol="0">
            <a:spAutoFit/>
          </a:bodyPr>
          <a:lstStyle/>
          <a:p>
            <a:pPr algn="ctr"/>
            <a:r>
              <a:rPr lang="en-CA" sz="900" b="1">
                <a:solidFill>
                  <a:srgbClr val="FF0000"/>
                </a:solidFill>
              </a:rPr>
              <a:t>High </a:t>
            </a:r>
          </a:p>
          <a:p>
            <a:pPr algn="ctr"/>
            <a:r>
              <a:rPr lang="en-CA" sz="900" b="1">
                <a:solidFill>
                  <a:srgbClr val="FF0000"/>
                </a:solidFill>
              </a:rPr>
              <a:t>D/E Ratio</a:t>
            </a:r>
          </a:p>
        </p:txBody>
      </p:sp>
      <p:cxnSp>
        <p:nvCxnSpPr>
          <p:cNvPr id="28" name="Straight Arrow Connector 27">
            <a:extLst>
              <a:ext uri="{FF2B5EF4-FFF2-40B4-BE49-F238E27FC236}">
                <a16:creationId xmlns:a16="http://schemas.microsoft.com/office/drawing/2014/main" id="{EAC60310-2666-9687-86F2-E4DF0FD01E15}"/>
              </a:ext>
            </a:extLst>
          </p:cNvPr>
          <p:cNvCxnSpPr>
            <a:cxnSpLocks/>
          </p:cNvCxnSpPr>
          <p:nvPr/>
        </p:nvCxnSpPr>
        <p:spPr>
          <a:xfrm>
            <a:off x="323850" y="5478114"/>
            <a:ext cx="6585673" cy="0"/>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9" name="Rectangle 28">
            <a:extLst>
              <a:ext uri="{FF2B5EF4-FFF2-40B4-BE49-F238E27FC236}">
                <a16:creationId xmlns:a16="http://schemas.microsoft.com/office/drawing/2014/main" id="{9CEBC841-5A5B-3F45-E34A-478BF4376C1B}"/>
              </a:ext>
            </a:extLst>
          </p:cNvPr>
          <p:cNvSpPr/>
          <p:nvPr/>
        </p:nvSpPr>
        <p:spPr>
          <a:xfrm>
            <a:off x="7073368" y="5173518"/>
            <a:ext cx="1819807" cy="6091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900" b="1">
                <a:solidFill>
                  <a:srgbClr val="D8FBE5"/>
                </a:solidFill>
              </a:rPr>
              <a:t>Average D/E Ratio: 1.86% </a:t>
            </a:r>
          </a:p>
        </p:txBody>
      </p:sp>
      <p:sp>
        <p:nvSpPr>
          <p:cNvPr id="32" name="Rectangle 31">
            <a:extLst>
              <a:ext uri="{FF2B5EF4-FFF2-40B4-BE49-F238E27FC236}">
                <a16:creationId xmlns:a16="http://schemas.microsoft.com/office/drawing/2014/main" id="{18C9CEF7-2669-280A-3365-2DF95B29C6BB}"/>
              </a:ext>
            </a:extLst>
          </p:cNvPr>
          <p:cNvSpPr/>
          <p:nvPr/>
        </p:nvSpPr>
        <p:spPr>
          <a:xfrm>
            <a:off x="4124132" y="1044184"/>
            <a:ext cx="1383727" cy="5088392"/>
          </a:xfrm>
          <a:prstGeom prst="rect">
            <a:avLst/>
          </a:prstGeom>
          <a:solidFill>
            <a:schemeClr val="accent1">
              <a:alpha val="0"/>
            </a:schemeClr>
          </a:solid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Tree>
    <p:extLst>
      <p:ext uri="{BB962C8B-B14F-4D97-AF65-F5344CB8AC3E}">
        <p14:creationId xmlns:p14="http://schemas.microsoft.com/office/powerpoint/2010/main" val="144235013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B9C9C-0F8B-BD6C-6FC9-37642FF56ACD}"/>
            </a:ext>
          </a:extLst>
        </p:cNvPr>
        <p:cNvGrpSpPr/>
        <p:nvPr/>
      </p:nvGrpSpPr>
      <p:grpSpPr>
        <a:xfrm>
          <a:off x="0" y="0"/>
          <a:ext cx="0" cy="0"/>
          <a:chOff x="0" y="0"/>
          <a:chExt cx="0" cy="0"/>
        </a:xfrm>
      </p:grpSpPr>
      <p:sp>
        <p:nvSpPr>
          <p:cNvPr id="19" name="Rectangle 18">
            <a:extLst>
              <a:ext uri="{FF2B5EF4-FFF2-40B4-BE49-F238E27FC236}">
                <a16:creationId xmlns:a16="http://schemas.microsoft.com/office/drawing/2014/main" id="{D882D242-89DC-F202-79F9-28D7F7551481}"/>
              </a:ext>
            </a:extLst>
          </p:cNvPr>
          <p:cNvSpPr/>
          <p:nvPr/>
        </p:nvSpPr>
        <p:spPr>
          <a:xfrm>
            <a:off x="199505" y="1379885"/>
            <a:ext cx="8693670" cy="2446350"/>
          </a:xfrm>
          <a:prstGeom prst="rect">
            <a:avLst/>
          </a:prstGeom>
          <a:solidFill>
            <a:srgbClr val="FBF7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 name="Text Placeholder 1">
            <a:extLst>
              <a:ext uri="{FF2B5EF4-FFF2-40B4-BE49-F238E27FC236}">
                <a16:creationId xmlns:a16="http://schemas.microsoft.com/office/drawing/2014/main" id="{477620EF-38C8-175D-F3C1-F65EA8DA6B24}"/>
              </a:ext>
            </a:extLst>
          </p:cNvPr>
          <p:cNvSpPr>
            <a:spLocks noGrp="1"/>
          </p:cNvSpPr>
          <p:nvPr>
            <p:ph type="body" sz="quarter" idx="21"/>
          </p:nvPr>
        </p:nvSpPr>
        <p:spPr/>
        <p:txBody>
          <a:bodyPr vert="horz" lIns="91440" tIns="45720" rIns="91440" bIns="45720" rtlCol="0" anchor="t">
            <a:normAutofit/>
          </a:bodyPr>
          <a:lstStyle/>
          <a:p>
            <a:r>
              <a:rPr lang="en-CA"/>
              <a:t>Tech M&amp;A with Similar Purchase Prices</a:t>
            </a:r>
          </a:p>
        </p:txBody>
      </p:sp>
      <p:sp>
        <p:nvSpPr>
          <p:cNvPr id="4" name="Title 3">
            <a:extLst>
              <a:ext uri="{FF2B5EF4-FFF2-40B4-BE49-F238E27FC236}">
                <a16:creationId xmlns:a16="http://schemas.microsoft.com/office/drawing/2014/main" id="{24F95ECB-CCAE-3513-53EE-F20380A60C7F}"/>
              </a:ext>
            </a:extLst>
          </p:cNvPr>
          <p:cNvSpPr>
            <a:spLocks noGrp="1"/>
          </p:cNvSpPr>
          <p:nvPr>
            <p:ph type="title"/>
          </p:nvPr>
        </p:nvSpPr>
        <p:spPr/>
        <p:txBody>
          <a:bodyPr/>
          <a:lstStyle/>
          <a:p>
            <a:r>
              <a:rPr lang="en-CA"/>
              <a:t>Precedent Transactions Analysis</a:t>
            </a:r>
          </a:p>
        </p:txBody>
      </p:sp>
      <p:sp>
        <p:nvSpPr>
          <p:cNvPr id="5" name="Text Placeholder 4">
            <a:extLst>
              <a:ext uri="{FF2B5EF4-FFF2-40B4-BE49-F238E27FC236}">
                <a16:creationId xmlns:a16="http://schemas.microsoft.com/office/drawing/2014/main" id="{921423BF-2668-768C-1A8F-067B84713EB5}"/>
              </a:ext>
            </a:extLst>
          </p:cNvPr>
          <p:cNvSpPr>
            <a:spLocks noGrp="1"/>
          </p:cNvSpPr>
          <p:nvPr>
            <p:ph type="body" sz="quarter" idx="13"/>
          </p:nvPr>
        </p:nvSpPr>
        <p:spPr/>
        <p:txBody>
          <a:bodyPr/>
          <a:lstStyle/>
          <a:p>
            <a:r>
              <a:rPr lang="en-CA"/>
              <a:t>Source(s): Pitchbook, Capital IQ</a:t>
            </a:r>
          </a:p>
        </p:txBody>
      </p:sp>
      <p:graphicFrame>
        <p:nvGraphicFramePr>
          <p:cNvPr id="8" name="Table Placeholder 7">
            <a:extLst>
              <a:ext uri="{FF2B5EF4-FFF2-40B4-BE49-F238E27FC236}">
                <a16:creationId xmlns:a16="http://schemas.microsoft.com/office/drawing/2014/main" id="{A78EDF98-7DE3-CFB9-A568-B0137D61C685}"/>
              </a:ext>
            </a:extLst>
          </p:cNvPr>
          <p:cNvGraphicFramePr>
            <a:graphicFrameLocks noGrp="1"/>
          </p:cNvGraphicFramePr>
          <p:nvPr>
            <p:ph type="tbl" sz="quarter" idx="14"/>
            <p:extLst>
              <p:ext uri="{D42A27DB-BD31-4B8C-83A1-F6EECF244321}">
                <p14:modId xmlns:p14="http://schemas.microsoft.com/office/powerpoint/2010/main" val="2384313817"/>
              </p:ext>
            </p:extLst>
          </p:nvPr>
        </p:nvGraphicFramePr>
        <p:xfrm>
          <a:off x="250825" y="983032"/>
          <a:ext cx="8676756" cy="3824776"/>
        </p:xfrm>
        <a:graphic>
          <a:graphicData uri="http://schemas.openxmlformats.org/drawingml/2006/table">
            <a:tbl>
              <a:tblPr firstRow="1" bandRow="1">
                <a:tableStyleId>{0E3FDE45-AF77-4B5C-9715-49D594BDF05E}</a:tableStyleId>
              </a:tblPr>
              <a:tblGrid>
                <a:gridCol w="1779994">
                  <a:extLst>
                    <a:ext uri="{9D8B030D-6E8A-4147-A177-3AD203B41FA5}">
                      <a16:colId xmlns:a16="http://schemas.microsoft.com/office/drawing/2014/main" val="1996002784"/>
                    </a:ext>
                  </a:extLst>
                </a:gridCol>
                <a:gridCol w="880332">
                  <a:extLst>
                    <a:ext uri="{9D8B030D-6E8A-4147-A177-3AD203B41FA5}">
                      <a16:colId xmlns:a16="http://schemas.microsoft.com/office/drawing/2014/main" val="1682591392"/>
                    </a:ext>
                  </a:extLst>
                </a:gridCol>
                <a:gridCol w="2116268">
                  <a:extLst>
                    <a:ext uri="{9D8B030D-6E8A-4147-A177-3AD203B41FA5}">
                      <a16:colId xmlns:a16="http://schemas.microsoft.com/office/drawing/2014/main" val="554846100"/>
                    </a:ext>
                  </a:extLst>
                </a:gridCol>
                <a:gridCol w="1950081">
                  <a:extLst>
                    <a:ext uri="{9D8B030D-6E8A-4147-A177-3AD203B41FA5}">
                      <a16:colId xmlns:a16="http://schemas.microsoft.com/office/drawing/2014/main" val="2445620609"/>
                    </a:ext>
                  </a:extLst>
                </a:gridCol>
                <a:gridCol w="1950081">
                  <a:extLst>
                    <a:ext uri="{9D8B030D-6E8A-4147-A177-3AD203B41FA5}">
                      <a16:colId xmlns:a16="http://schemas.microsoft.com/office/drawing/2014/main" val="3678855769"/>
                    </a:ext>
                  </a:extLst>
                </a:gridCol>
              </a:tblGrid>
              <a:tr h="367335">
                <a:tc gridSpan="2">
                  <a:txBody>
                    <a:bodyPr/>
                    <a:lstStyle/>
                    <a:p>
                      <a:pPr algn="ctr" fontAlgn="b"/>
                      <a:r>
                        <a:rPr lang="en-CA" sz="1100" b="1" i="0" u="none" strike="noStrike">
                          <a:solidFill>
                            <a:srgbClr val="000000"/>
                          </a:solidFill>
                          <a:effectLst/>
                          <a:latin typeface="Arial" panose="020B0604020202020204" pitchFamily="34" charset="0"/>
                        </a:rPr>
                        <a:t>Acquirer</a:t>
                      </a:r>
                    </a:p>
                  </a:txBody>
                  <a:tcPr marL="6350" marR="6350" marT="6350" anchor="ctr"/>
                </a:tc>
                <a:tc hMerge="1">
                  <a:txBody>
                    <a:bodyPr/>
                    <a:lstStyle/>
                    <a:p>
                      <a:pPr algn="l" fontAlgn="b"/>
                      <a:endParaRPr lang="en-CA" sz="1100" b="0" i="0" u="none" strike="noStrike">
                        <a:solidFill>
                          <a:srgbClr val="000000"/>
                        </a:solidFill>
                        <a:effectLst/>
                        <a:latin typeface="Arial" panose="020B0604020202020204" pitchFamily="34" charset="0"/>
                      </a:endParaRPr>
                    </a:p>
                  </a:txBody>
                  <a:tcPr marL="6350" marR="6350" marT="6350" anchor="b"/>
                </a:tc>
                <a:tc>
                  <a:txBody>
                    <a:bodyPr/>
                    <a:lstStyle/>
                    <a:p>
                      <a:pPr algn="ctr" fontAlgn="b"/>
                      <a:r>
                        <a:rPr lang="en-CA" sz="1100" b="1" i="0" u="none" strike="noStrike">
                          <a:solidFill>
                            <a:srgbClr val="000000"/>
                          </a:solidFill>
                          <a:effectLst/>
                          <a:latin typeface="Arial" panose="020B0604020202020204" pitchFamily="34" charset="0"/>
                        </a:rPr>
                        <a:t>Target</a:t>
                      </a: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Value (</a:t>
                      </a:r>
                      <a:r>
                        <a:rPr lang="en-CA" sz="1100" b="1" i="1" u="none" strike="noStrike">
                          <a:solidFill>
                            <a:srgbClr val="000000"/>
                          </a:solidFill>
                          <a:effectLst/>
                          <a:latin typeface="Arial" panose="020B0604020202020204" pitchFamily="34" charset="0"/>
                        </a:rPr>
                        <a:t>USD, bn)</a:t>
                      </a:r>
                      <a:endParaRPr lang="en-CA" sz="1100" b="1" i="0" u="none" strike="noStrike">
                        <a:solidFill>
                          <a:srgbClr val="000000"/>
                        </a:solidFill>
                        <a:effectLst/>
                        <a:latin typeface="Arial" panose="020B0604020202020204" pitchFamily="34" charset="0"/>
                      </a:endParaRP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Premium Paid</a:t>
                      </a:r>
                    </a:p>
                  </a:txBody>
                  <a:tcPr marL="6350" marR="6350" marT="6350" anchor="ctr"/>
                </a:tc>
                <a:extLst>
                  <a:ext uri="{0D108BD9-81ED-4DB2-BD59-A6C34878D82A}">
                    <a16:rowId xmlns:a16="http://schemas.microsoft.com/office/drawing/2014/main" val="3748795538"/>
                  </a:ext>
                </a:extLst>
              </a:tr>
              <a:tr h="445597">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ctr"/>
                      <a:endParaRPr lang="en-CA" sz="1100" b="1" i="0" u="none" strike="noStrike">
                        <a:solidFill>
                          <a:srgbClr val="000000"/>
                        </a:solidFill>
                        <a:effectLst/>
                        <a:latin typeface="Arial" panose="020B0604020202020204" pitchFamily="34" charset="0"/>
                      </a:endParaRPr>
                    </a:p>
                  </a:txBody>
                  <a:tcPr marL="6350" marR="6350" marT="6350" anchor="ctr"/>
                </a:tc>
                <a:tc>
                  <a:txBody>
                    <a:bodyPr/>
                    <a:lstStyle/>
                    <a:p>
                      <a:pPr algn="ctr" fontAlgn="ctr"/>
                      <a:r>
                        <a:rPr lang="en-CA" sz="1100" b="1" i="0" u="none" strike="noStrike">
                          <a:solidFill>
                            <a:srgbClr val="000000"/>
                          </a:solidFill>
                          <a:effectLst/>
                          <a:latin typeface="Arial" panose="020B0604020202020204" pitchFamily="34" charset="0"/>
                        </a:rPr>
                        <a:t>68.7</a:t>
                      </a:r>
                    </a:p>
                  </a:txBody>
                  <a:tcPr marL="6350" marR="6350" marT="6350" anchor="ctr"/>
                </a:tc>
                <a:tc>
                  <a:txBody>
                    <a:bodyPr/>
                    <a:lstStyle/>
                    <a:p>
                      <a:pPr algn="ctr" fontAlgn="ctr"/>
                      <a:r>
                        <a:rPr lang="en-CA" sz="1100" b="1" i="0" u="none" strike="noStrike">
                          <a:solidFill>
                            <a:srgbClr val="000000"/>
                          </a:solidFill>
                          <a:effectLst/>
                          <a:latin typeface="Arial" panose="020B0604020202020204" pitchFamily="34" charset="0"/>
                        </a:rPr>
                        <a:t>45%</a:t>
                      </a:r>
                    </a:p>
                  </a:txBody>
                  <a:tcPr marL="6350" marR="6350" marT="6350" anchor="ctr"/>
                </a:tc>
                <a:extLst>
                  <a:ext uri="{0D108BD9-81ED-4DB2-BD59-A6C34878D82A}">
                    <a16:rowId xmlns:a16="http://schemas.microsoft.com/office/drawing/2014/main" val="2166770373"/>
                  </a:ext>
                </a:extLst>
              </a:tr>
              <a:tr h="501974">
                <a:tc>
                  <a:txBody>
                    <a:bodyPr/>
                    <a:lstStyle/>
                    <a:p>
                      <a:pPr algn="ctr" fontAlgn="b"/>
                      <a:endParaRPr lang="en-US"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ctr"/>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1" i="0" u="none" strike="noStrike">
                        <a:solidFill>
                          <a:srgbClr val="000000"/>
                        </a:solidFill>
                        <a:effectLst/>
                        <a:latin typeface="Arial" panose="020B0604020202020204" pitchFamily="34" charset="0"/>
                      </a:endParaRP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28</a:t>
                      </a: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31%</a:t>
                      </a:r>
                    </a:p>
                  </a:txBody>
                  <a:tcPr marL="6350" marR="6350" marT="6350" anchor="ctr"/>
                </a:tc>
                <a:extLst>
                  <a:ext uri="{0D108BD9-81ED-4DB2-BD59-A6C34878D82A}">
                    <a16:rowId xmlns:a16="http://schemas.microsoft.com/office/drawing/2014/main" val="2260035197"/>
                  </a:ext>
                </a:extLst>
              </a:tr>
              <a:tr h="501974">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1" i="0" u="none" strike="noStrike">
                        <a:solidFill>
                          <a:srgbClr val="000000"/>
                        </a:solidFill>
                        <a:effectLst/>
                        <a:latin typeface="Arial" panose="020B0604020202020204" pitchFamily="34" charset="0"/>
                      </a:endParaRP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61</a:t>
                      </a: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32%</a:t>
                      </a:r>
                    </a:p>
                  </a:txBody>
                  <a:tcPr marL="6350" marR="6350" marT="6350" anchor="ctr"/>
                </a:tc>
                <a:extLst>
                  <a:ext uri="{0D108BD9-81ED-4DB2-BD59-A6C34878D82A}">
                    <a16:rowId xmlns:a16="http://schemas.microsoft.com/office/drawing/2014/main" val="2883045243"/>
                  </a:ext>
                </a:extLst>
              </a:tr>
              <a:tr h="501974">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1" i="0" u="none" strike="noStrike">
                        <a:solidFill>
                          <a:srgbClr val="000000"/>
                        </a:solidFill>
                        <a:effectLst/>
                        <a:latin typeface="Arial" panose="020B0604020202020204" pitchFamily="34" charset="0"/>
                      </a:endParaRP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35</a:t>
                      </a: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35%</a:t>
                      </a:r>
                    </a:p>
                  </a:txBody>
                  <a:tcPr marL="6350" marR="6350" marT="6350" anchor="ctr"/>
                </a:tc>
                <a:extLst>
                  <a:ext uri="{0D108BD9-81ED-4DB2-BD59-A6C34878D82A}">
                    <a16:rowId xmlns:a16="http://schemas.microsoft.com/office/drawing/2014/main" val="202643084"/>
                  </a:ext>
                </a:extLst>
              </a:tr>
              <a:tr h="501974">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1" i="0" u="none" strike="noStrike">
                        <a:solidFill>
                          <a:srgbClr val="000000"/>
                        </a:solidFill>
                        <a:effectLst/>
                        <a:latin typeface="Arial" panose="020B0604020202020204" pitchFamily="34" charset="0"/>
                      </a:endParaRP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27.7</a:t>
                      </a: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55%</a:t>
                      </a:r>
                    </a:p>
                  </a:txBody>
                  <a:tcPr marL="6350" marR="6350" marT="6350" anchor="ctr"/>
                </a:tc>
                <a:extLst>
                  <a:ext uri="{0D108BD9-81ED-4DB2-BD59-A6C34878D82A}">
                    <a16:rowId xmlns:a16="http://schemas.microsoft.com/office/drawing/2014/main" val="186322809"/>
                  </a:ext>
                </a:extLst>
              </a:tr>
              <a:tr h="501974">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1"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1"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1" i="0" u="none" strike="noStrike">
                        <a:solidFill>
                          <a:srgbClr val="000000"/>
                        </a:solidFill>
                        <a:effectLst/>
                        <a:latin typeface="Arial" panose="020B0604020202020204" pitchFamily="34" charset="0"/>
                      </a:endParaRPr>
                    </a:p>
                  </a:txBody>
                  <a:tcPr marL="6350" marR="6350" marT="6350" anchor="ctr"/>
                </a:tc>
                <a:extLst>
                  <a:ext uri="{0D108BD9-81ED-4DB2-BD59-A6C34878D82A}">
                    <a16:rowId xmlns:a16="http://schemas.microsoft.com/office/drawing/2014/main" val="2419930507"/>
                  </a:ext>
                </a:extLst>
              </a:tr>
              <a:tr h="501974">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0" i="0" u="none" strike="noStrike">
                        <a:solidFill>
                          <a:srgbClr val="000000"/>
                        </a:solidFill>
                        <a:effectLst/>
                        <a:latin typeface="Arial" panose="020B0604020202020204" pitchFamily="34" charset="0"/>
                      </a:endParaRPr>
                    </a:p>
                  </a:txBody>
                  <a:tcPr marL="6350" marR="6350" marT="6350" anchor="ctr"/>
                </a:tc>
                <a:tc>
                  <a:txBody>
                    <a:bodyPr/>
                    <a:lstStyle/>
                    <a:p>
                      <a:pPr algn="ctr" fontAlgn="b"/>
                      <a:endParaRPr lang="en-CA" sz="1100" b="1" i="0" u="none" strike="noStrike">
                        <a:solidFill>
                          <a:srgbClr val="000000"/>
                        </a:solidFill>
                        <a:effectLst/>
                        <a:latin typeface="Arial" panose="020B0604020202020204" pitchFamily="34" charset="0"/>
                      </a:endParaRP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60.8</a:t>
                      </a:r>
                    </a:p>
                  </a:txBody>
                  <a:tcPr marL="6350" marR="6350" marT="6350" anchor="ctr"/>
                </a:tc>
                <a:tc>
                  <a:txBody>
                    <a:bodyPr/>
                    <a:lstStyle/>
                    <a:p>
                      <a:pPr algn="ctr" fontAlgn="b"/>
                      <a:r>
                        <a:rPr lang="en-CA" sz="1100" b="1" i="0" u="none" strike="noStrike">
                          <a:solidFill>
                            <a:srgbClr val="000000"/>
                          </a:solidFill>
                          <a:effectLst/>
                          <a:latin typeface="Arial" panose="020B0604020202020204" pitchFamily="34" charset="0"/>
                        </a:rPr>
                        <a:t>20%</a:t>
                      </a:r>
                    </a:p>
                  </a:txBody>
                  <a:tcPr marL="6350" marR="6350" marT="6350" anchor="ctr"/>
                </a:tc>
                <a:extLst>
                  <a:ext uri="{0D108BD9-81ED-4DB2-BD59-A6C34878D82A}">
                    <a16:rowId xmlns:a16="http://schemas.microsoft.com/office/drawing/2014/main" val="1013609071"/>
                  </a:ext>
                </a:extLst>
              </a:tr>
            </a:tbl>
          </a:graphicData>
        </a:graphic>
      </p:graphicFrame>
      <p:pic>
        <p:nvPicPr>
          <p:cNvPr id="15" name="Picture 12" descr="CLIENTS | Sooqista Studios">
            <a:extLst>
              <a:ext uri="{FF2B5EF4-FFF2-40B4-BE49-F238E27FC236}">
                <a16:creationId xmlns:a16="http://schemas.microsoft.com/office/drawing/2014/main" id="{8C818A8B-35DA-18AD-E852-34D4A2901F1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0174" y="4224569"/>
            <a:ext cx="677282" cy="677282"/>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AA807C26-E9A0-FDCA-6110-038C1C5C7CF9}"/>
              </a:ext>
            </a:extLst>
          </p:cNvPr>
          <p:cNvSpPr/>
          <p:nvPr/>
        </p:nvSpPr>
        <p:spPr>
          <a:xfrm>
            <a:off x="3278272" y="5204661"/>
            <a:ext cx="2587456" cy="740432"/>
          </a:xfrm>
          <a:prstGeom prst="rect">
            <a:avLst/>
          </a:prstGeom>
          <a:solidFill>
            <a:schemeClr val="accent1">
              <a:alpha val="0"/>
            </a:schemeClr>
          </a:solid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pic>
        <p:nvPicPr>
          <p:cNvPr id="34" name="Picture 33" descr="A logo of a company&#10;&#10;AI-generated content may be incorrect.">
            <a:extLst>
              <a:ext uri="{FF2B5EF4-FFF2-40B4-BE49-F238E27FC236}">
                <a16:creationId xmlns:a16="http://schemas.microsoft.com/office/drawing/2014/main" id="{0C36BDF6-E5FF-1A4E-9DBE-FF5699EAC5D7}"/>
              </a:ext>
            </a:extLst>
          </p:cNvPr>
          <p:cNvPicPr>
            <a:picLocks noChangeAspect="1"/>
          </p:cNvPicPr>
          <p:nvPr/>
        </p:nvPicPr>
        <p:blipFill>
          <a:blip r:embed="rId3"/>
          <a:stretch>
            <a:fillRect/>
          </a:stretch>
        </p:blipFill>
        <p:spPr>
          <a:xfrm>
            <a:off x="905354" y="877590"/>
            <a:ext cx="1373155" cy="1335832"/>
          </a:xfrm>
          <a:prstGeom prst="rect">
            <a:avLst/>
          </a:prstGeom>
        </p:spPr>
      </p:pic>
      <p:pic>
        <p:nvPicPr>
          <p:cNvPr id="38" name="Picture 37" descr="A black background with a black square&#10;&#10;AI-generated content may be incorrect.">
            <a:extLst>
              <a:ext uri="{FF2B5EF4-FFF2-40B4-BE49-F238E27FC236}">
                <a16:creationId xmlns:a16="http://schemas.microsoft.com/office/drawing/2014/main" id="{2D99D518-FE75-DEE1-C6DE-7D1ED6A6A8DF}"/>
              </a:ext>
            </a:extLst>
          </p:cNvPr>
          <p:cNvPicPr>
            <a:picLocks noChangeAspect="1"/>
          </p:cNvPicPr>
          <p:nvPr/>
        </p:nvPicPr>
        <p:blipFill>
          <a:blip r:embed="rId4"/>
          <a:stretch>
            <a:fillRect/>
          </a:stretch>
        </p:blipFill>
        <p:spPr>
          <a:xfrm>
            <a:off x="3647385" y="1369125"/>
            <a:ext cx="750710" cy="422275"/>
          </a:xfrm>
          <a:prstGeom prst="rect">
            <a:avLst/>
          </a:prstGeom>
        </p:spPr>
      </p:pic>
      <p:pic>
        <p:nvPicPr>
          <p:cNvPr id="40" name="Picture 39" descr="A blue text on a black background&#10;&#10;AI-generated content may be incorrect.">
            <a:extLst>
              <a:ext uri="{FF2B5EF4-FFF2-40B4-BE49-F238E27FC236}">
                <a16:creationId xmlns:a16="http://schemas.microsoft.com/office/drawing/2014/main" id="{B6AE89FB-4614-5BB1-C439-36DEBFB408A9}"/>
              </a:ext>
            </a:extLst>
          </p:cNvPr>
          <p:cNvPicPr>
            <a:picLocks noChangeAspect="1"/>
          </p:cNvPicPr>
          <p:nvPr/>
        </p:nvPicPr>
        <p:blipFill>
          <a:blip r:embed="rId5"/>
          <a:stretch>
            <a:fillRect/>
          </a:stretch>
        </p:blipFill>
        <p:spPr>
          <a:xfrm>
            <a:off x="1177686" y="1803028"/>
            <a:ext cx="828489" cy="438754"/>
          </a:xfrm>
          <a:prstGeom prst="rect">
            <a:avLst/>
          </a:prstGeom>
        </p:spPr>
      </p:pic>
      <p:pic>
        <p:nvPicPr>
          <p:cNvPr id="42" name="Picture 41" descr="A black letter on a black background&#10;&#10;AI-generated content may be incorrect.">
            <a:extLst>
              <a:ext uri="{FF2B5EF4-FFF2-40B4-BE49-F238E27FC236}">
                <a16:creationId xmlns:a16="http://schemas.microsoft.com/office/drawing/2014/main" id="{F540FEAD-57B8-00EA-06FD-23BEBC06C02B}"/>
              </a:ext>
            </a:extLst>
          </p:cNvPr>
          <p:cNvPicPr>
            <a:picLocks noChangeAspect="1"/>
          </p:cNvPicPr>
          <p:nvPr/>
        </p:nvPicPr>
        <p:blipFill>
          <a:blip r:embed="rId6"/>
          <a:stretch>
            <a:fillRect/>
          </a:stretch>
        </p:blipFill>
        <p:spPr>
          <a:xfrm>
            <a:off x="3464938" y="1859413"/>
            <a:ext cx="1217173" cy="368204"/>
          </a:xfrm>
          <a:prstGeom prst="rect">
            <a:avLst/>
          </a:prstGeom>
        </p:spPr>
      </p:pic>
      <p:pic>
        <p:nvPicPr>
          <p:cNvPr id="44" name="Picture 43" descr="A black background with a black square&#10;&#10;AI-generated content may be incorrect.">
            <a:extLst>
              <a:ext uri="{FF2B5EF4-FFF2-40B4-BE49-F238E27FC236}">
                <a16:creationId xmlns:a16="http://schemas.microsoft.com/office/drawing/2014/main" id="{ACA0002B-57E4-96B9-0997-57437407FA97}"/>
              </a:ext>
            </a:extLst>
          </p:cNvPr>
          <p:cNvPicPr>
            <a:picLocks noChangeAspect="1"/>
          </p:cNvPicPr>
          <p:nvPr/>
        </p:nvPicPr>
        <p:blipFill>
          <a:blip r:embed="rId7"/>
          <a:stretch>
            <a:fillRect/>
          </a:stretch>
        </p:blipFill>
        <p:spPr>
          <a:xfrm>
            <a:off x="791857" y="2416590"/>
            <a:ext cx="1600146" cy="220020"/>
          </a:xfrm>
          <a:prstGeom prst="rect">
            <a:avLst/>
          </a:prstGeom>
        </p:spPr>
      </p:pic>
      <p:pic>
        <p:nvPicPr>
          <p:cNvPr id="46" name="Picture 45" descr="A letter w in a black background&#10;&#10;AI-generated content may be incorrect.">
            <a:extLst>
              <a:ext uri="{FF2B5EF4-FFF2-40B4-BE49-F238E27FC236}">
                <a16:creationId xmlns:a16="http://schemas.microsoft.com/office/drawing/2014/main" id="{949E391F-4D39-B262-5BF0-8F61A9036AC8}"/>
              </a:ext>
            </a:extLst>
          </p:cNvPr>
          <p:cNvPicPr>
            <a:picLocks noChangeAspect="1"/>
          </p:cNvPicPr>
          <p:nvPr/>
        </p:nvPicPr>
        <p:blipFill>
          <a:blip r:embed="rId8"/>
          <a:stretch>
            <a:fillRect/>
          </a:stretch>
        </p:blipFill>
        <p:spPr>
          <a:xfrm>
            <a:off x="3388247" y="2437366"/>
            <a:ext cx="1259859" cy="193162"/>
          </a:xfrm>
          <a:prstGeom prst="rect">
            <a:avLst/>
          </a:prstGeom>
        </p:spPr>
      </p:pic>
      <p:pic>
        <p:nvPicPr>
          <p:cNvPr id="48" name="Picture 47" descr="A purple letters on a black background&#10;&#10;AI-generated content may be incorrect.">
            <a:extLst>
              <a:ext uri="{FF2B5EF4-FFF2-40B4-BE49-F238E27FC236}">
                <a16:creationId xmlns:a16="http://schemas.microsoft.com/office/drawing/2014/main" id="{1CF422DF-1A97-5B59-EE02-DB459EF7FD8E}"/>
              </a:ext>
            </a:extLst>
          </p:cNvPr>
          <p:cNvPicPr>
            <a:picLocks noChangeAspect="1"/>
          </p:cNvPicPr>
          <p:nvPr/>
        </p:nvPicPr>
        <p:blipFill>
          <a:blip r:embed="rId9"/>
          <a:stretch>
            <a:fillRect/>
          </a:stretch>
        </p:blipFill>
        <p:spPr>
          <a:xfrm>
            <a:off x="1003087" y="2922433"/>
            <a:ext cx="1177686" cy="266820"/>
          </a:xfrm>
          <a:prstGeom prst="rect">
            <a:avLst/>
          </a:prstGeom>
        </p:spPr>
      </p:pic>
      <p:pic>
        <p:nvPicPr>
          <p:cNvPr id="50" name="Picture 49" descr="A black background with a black square&#10;&#10;AI-generated content may be incorrect.">
            <a:extLst>
              <a:ext uri="{FF2B5EF4-FFF2-40B4-BE49-F238E27FC236}">
                <a16:creationId xmlns:a16="http://schemas.microsoft.com/office/drawing/2014/main" id="{6A9B7FA2-5717-6EC0-AEE1-04931553F312}"/>
              </a:ext>
            </a:extLst>
          </p:cNvPr>
          <p:cNvPicPr>
            <a:picLocks noChangeAspect="1"/>
          </p:cNvPicPr>
          <p:nvPr/>
        </p:nvPicPr>
        <p:blipFill>
          <a:blip r:embed="rId10"/>
          <a:stretch>
            <a:fillRect/>
          </a:stretch>
        </p:blipFill>
        <p:spPr>
          <a:xfrm>
            <a:off x="3388247" y="2897923"/>
            <a:ext cx="1189902" cy="375563"/>
          </a:xfrm>
          <a:prstGeom prst="rect">
            <a:avLst/>
          </a:prstGeom>
        </p:spPr>
      </p:pic>
      <p:pic>
        <p:nvPicPr>
          <p:cNvPr id="52" name="Picture 51" descr="A blue cloud with white text&#10;&#10;AI-generated content may be incorrect.">
            <a:extLst>
              <a:ext uri="{FF2B5EF4-FFF2-40B4-BE49-F238E27FC236}">
                <a16:creationId xmlns:a16="http://schemas.microsoft.com/office/drawing/2014/main" id="{80341C71-FE48-DC90-A5E1-0A7AF4555A18}"/>
              </a:ext>
            </a:extLst>
          </p:cNvPr>
          <p:cNvPicPr>
            <a:picLocks noChangeAspect="1"/>
          </p:cNvPicPr>
          <p:nvPr/>
        </p:nvPicPr>
        <p:blipFill>
          <a:blip r:embed="rId11"/>
          <a:stretch>
            <a:fillRect/>
          </a:stretch>
        </p:blipFill>
        <p:spPr>
          <a:xfrm>
            <a:off x="1177686" y="3336596"/>
            <a:ext cx="665584" cy="466689"/>
          </a:xfrm>
          <a:prstGeom prst="rect">
            <a:avLst/>
          </a:prstGeom>
        </p:spPr>
      </p:pic>
      <p:pic>
        <p:nvPicPr>
          <p:cNvPr id="54" name="Picture 53" descr="A black background with a black square&#10;&#10;AI-generated content may be incorrect.">
            <a:extLst>
              <a:ext uri="{FF2B5EF4-FFF2-40B4-BE49-F238E27FC236}">
                <a16:creationId xmlns:a16="http://schemas.microsoft.com/office/drawing/2014/main" id="{22D9098B-4D9C-61B3-E84E-20ECD98EAE7F}"/>
              </a:ext>
            </a:extLst>
          </p:cNvPr>
          <p:cNvPicPr>
            <a:picLocks noChangeAspect="1"/>
          </p:cNvPicPr>
          <p:nvPr/>
        </p:nvPicPr>
        <p:blipFill>
          <a:blip r:embed="rId12"/>
          <a:stretch>
            <a:fillRect/>
          </a:stretch>
        </p:blipFill>
        <p:spPr>
          <a:xfrm>
            <a:off x="3290253" y="3393460"/>
            <a:ext cx="1383727" cy="352959"/>
          </a:xfrm>
          <a:prstGeom prst="rect">
            <a:avLst/>
          </a:prstGeom>
        </p:spPr>
      </p:pic>
      <p:pic>
        <p:nvPicPr>
          <p:cNvPr id="56" name="Picture 55" descr="A black background with a black square&#10;&#10;AI-generated content may be incorrect.">
            <a:extLst>
              <a:ext uri="{FF2B5EF4-FFF2-40B4-BE49-F238E27FC236}">
                <a16:creationId xmlns:a16="http://schemas.microsoft.com/office/drawing/2014/main" id="{4F690BB1-1F10-8F6C-12AE-E93B5DA1FEDC}"/>
              </a:ext>
            </a:extLst>
          </p:cNvPr>
          <p:cNvPicPr>
            <a:picLocks noChangeAspect="1"/>
          </p:cNvPicPr>
          <p:nvPr/>
        </p:nvPicPr>
        <p:blipFill>
          <a:blip r:embed="rId13"/>
          <a:stretch>
            <a:fillRect/>
          </a:stretch>
        </p:blipFill>
        <p:spPr>
          <a:xfrm>
            <a:off x="803516" y="4283812"/>
            <a:ext cx="1588487" cy="498388"/>
          </a:xfrm>
          <a:prstGeom prst="rect">
            <a:avLst/>
          </a:prstGeom>
        </p:spPr>
      </p:pic>
      <p:sp>
        <p:nvSpPr>
          <p:cNvPr id="3" name="Rectangle 2">
            <a:extLst>
              <a:ext uri="{FF2B5EF4-FFF2-40B4-BE49-F238E27FC236}">
                <a16:creationId xmlns:a16="http://schemas.microsoft.com/office/drawing/2014/main" id="{728E5F69-4AE1-EC1D-FCE1-CB71DF120A39}"/>
              </a:ext>
            </a:extLst>
          </p:cNvPr>
          <p:cNvSpPr/>
          <p:nvPr/>
        </p:nvSpPr>
        <p:spPr>
          <a:xfrm>
            <a:off x="3346643" y="5265482"/>
            <a:ext cx="2453023" cy="6094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1400" b="1">
                <a:solidFill>
                  <a:srgbClr val="D8FBE5"/>
                </a:solidFill>
              </a:rPr>
              <a:t>Average Premium: 39.6%  </a:t>
            </a:r>
          </a:p>
        </p:txBody>
      </p:sp>
    </p:spTree>
    <p:extLst>
      <p:ext uri="{BB962C8B-B14F-4D97-AF65-F5344CB8AC3E}">
        <p14:creationId xmlns:p14="http://schemas.microsoft.com/office/powerpoint/2010/main" val="40104621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785156-EDEE-C5B8-D8C8-72727E37C91C}"/>
            </a:ext>
          </a:extLst>
        </p:cNvPr>
        <p:cNvGrpSpPr/>
        <p:nvPr/>
      </p:nvGrpSpPr>
      <p:grpSpPr>
        <a:xfrm>
          <a:off x="0" y="0"/>
          <a:ext cx="0" cy="0"/>
          <a:chOff x="0" y="0"/>
          <a:chExt cx="0" cy="0"/>
        </a:xfrm>
      </p:grpSpPr>
      <p:pic>
        <p:nvPicPr>
          <p:cNvPr id="6" name="Picture Placeholder 5" descr="A desk with green lights&#10;&#10;AI-generated content may be incorrect.">
            <a:extLst>
              <a:ext uri="{FF2B5EF4-FFF2-40B4-BE49-F238E27FC236}">
                <a16:creationId xmlns:a16="http://schemas.microsoft.com/office/drawing/2014/main" id="{99331477-224E-4448-2A05-48701288A6D7}"/>
              </a:ext>
            </a:extLst>
          </p:cNvPr>
          <p:cNvPicPr>
            <a:picLocks noGrp="1" noChangeAspect="1"/>
          </p:cNvPicPr>
          <p:nvPr>
            <p:ph type="pic" sz="quarter" idx="10"/>
          </p:nvPr>
        </p:nvPicPr>
        <p:blipFill>
          <a:blip r:embed="rId2"/>
          <a:srcRect l="12009" r="21325"/>
          <a:stretch/>
        </p:blipFill>
        <p:spPr>
          <a:xfrm>
            <a:off x="20" y="10"/>
            <a:ext cx="9143980" cy="6857990"/>
          </a:xfrm>
          <a:noFill/>
        </p:spPr>
      </p:pic>
      <p:sp>
        <p:nvSpPr>
          <p:cNvPr id="32" name="Text Placeholder 2">
            <a:extLst>
              <a:ext uri="{FF2B5EF4-FFF2-40B4-BE49-F238E27FC236}">
                <a16:creationId xmlns:a16="http://schemas.microsoft.com/office/drawing/2014/main" id="{6F68780F-CB36-94CF-A9E3-45B37E3E37B3}"/>
              </a:ext>
            </a:extLst>
          </p:cNvPr>
          <p:cNvSpPr>
            <a:spLocks noGrp="1"/>
          </p:cNvSpPr>
          <p:nvPr>
            <p:ph type="body" sz="quarter" idx="13"/>
          </p:nvPr>
        </p:nvSpPr>
        <p:spPr>
          <a:xfrm>
            <a:off x="0" y="5121275"/>
            <a:ext cx="9144000" cy="1736724"/>
          </a:xfrm>
        </p:spPr>
        <p:txBody>
          <a:bodyPr/>
          <a:lstStyle/>
          <a:p>
            <a:endParaRPr lang="en-US"/>
          </a:p>
        </p:txBody>
      </p:sp>
      <p:sp>
        <p:nvSpPr>
          <p:cNvPr id="4" name="Title 3">
            <a:extLst>
              <a:ext uri="{FF2B5EF4-FFF2-40B4-BE49-F238E27FC236}">
                <a16:creationId xmlns:a16="http://schemas.microsoft.com/office/drawing/2014/main" id="{41C6C8B4-D71F-40DF-F6A1-1A3A7320E290}"/>
              </a:ext>
            </a:extLst>
          </p:cNvPr>
          <p:cNvSpPr>
            <a:spLocks noGrp="1"/>
          </p:cNvSpPr>
          <p:nvPr>
            <p:ph type="ctrTitle"/>
          </p:nvPr>
        </p:nvSpPr>
        <p:spPr>
          <a:xfrm>
            <a:off x="250825" y="5339798"/>
            <a:ext cx="8642349" cy="810730"/>
          </a:xfrm>
        </p:spPr>
        <p:txBody>
          <a:bodyPr anchor="ctr">
            <a:normAutofit/>
          </a:bodyPr>
          <a:lstStyle/>
          <a:p>
            <a:pPr>
              <a:lnSpc>
                <a:spcPct val="90000"/>
              </a:lnSpc>
            </a:pPr>
            <a:r>
              <a:rPr lang="en-US" sz="5100"/>
              <a:t>Appendix</a:t>
            </a:r>
          </a:p>
        </p:txBody>
      </p:sp>
      <p:sp>
        <p:nvSpPr>
          <p:cNvPr id="34" name="Subtitle 4">
            <a:extLst>
              <a:ext uri="{FF2B5EF4-FFF2-40B4-BE49-F238E27FC236}">
                <a16:creationId xmlns:a16="http://schemas.microsoft.com/office/drawing/2014/main" id="{70B09606-9709-2872-8CDA-F67ABDE70410}"/>
              </a:ext>
            </a:extLst>
          </p:cNvPr>
          <p:cNvSpPr>
            <a:spLocks noGrp="1"/>
          </p:cNvSpPr>
          <p:nvPr>
            <p:ph type="subTitle" idx="1"/>
          </p:nvPr>
        </p:nvSpPr>
        <p:spPr>
          <a:xfrm>
            <a:off x="250827" y="6237292"/>
            <a:ext cx="8642348" cy="395287"/>
          </a:xfrm>
        </p:spPr>
        <p:txBody>
          <a:bodyPr/>
          <a:lstStyle/>
          <a:p>
            <a:endParaRPr lang="en-US"/>
          </a:p>
        </p:txBody>
      </p:sp>
      <p:sp>
        <p:nvSpPr>
          <p:cNvPr id="36" name="Content Placeholder 5">
            <a:extLst>
              <a:ext uri="{FF2B5EF4-FFF2-40B4-BE49-F238E27FC236}">
                <a16:creationId xmlns:a16="http://schemas.microsoft.com/office/drawing/2014/main" id="{6B57A06D-B4C8-C09A-BDC1-5270CEF1AD64}"/>
              </a:ext>
            </a:extLst>
          </p:cNvPr>
          <p:cNvSpPr>
            <a:spLocks noGrp="1"/>
          </p:cNvSpPr>
          <p:nvPr>
            <p:ph sz="quarter" idx="12"/>
          </p:nvPr>
        </p:nvSpPr>
        <p:spPr>
          <a:xfrm>
            <a:off x="395399" y="6165850"/>
            <a:ext cx="1614097" cy="71438"/>
          </a:xfrm>
        </p:spPr>
        <p:txBody>
          <a:bodyPr/>
          <a:lstStyle/>
          <a:p>
            <a:endParaRPr lang="en-US"/>
          </a:p>
        </p:txBody>
      </p:sp>
    </p:spTree>
    <p:extLst>
      <p:ext uri="{BB962C8B-B14F-4D97-AF65-F5344CB8AC3E}">
        <p14:creationId xmlns:p14="http://schemas.microsoft.com/office/powerpoint/2010/main" val="25452720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740AAE53-17B5-5B01-4A9D-DB73A4479027}"/>
              </a:ext>
            </a:extLst>
          </p:cNvPr>
          <p:cNvSpPr/>
          <p:nvPr/>
        </p:nvSpPr>
        <p:spPr>
          <a:xfrm>
            <a:off x="0" y="4338479"/>
            <a:ext cx="9070848" cy="1550519"/>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8" name="Rectangle 27">
            <a:extLst>
              <a:ext uri="{FF2B5EF4-FFF2-40B4-BE49-F238E27FC236}">
                <a16:creationId xmlns:a16="http://schemas.microsoft.com/office/drawing/2014/main" id="{AED55B1D-E79B-C6B2-6C43-7D7F251762D8}"/>
              </a:ext>
            </a:extLst>
          </p:cNvPr>
          <p:cNvSpPr/>
          <p:nvPr/>
        </p:nvSpPr>
        <p:spPr>
          <a:xfrm>
            <a:off x="0" y="2694212"/>
            <a:ext cx="9144000" cy="1550519"/>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7" name="Rectangle 26">
            <a:extLst>
              <a:ext uri="{FF2B5EF4-FFF2-40B4-BE49-F238E27FC236}">
                <a16:creationId xmlns:a16="http://schemas.microsoft.com/office/drawing/2014/main" id="{A1A084A3-6589-5EFA-E73B-035CAC14C10C}"/>
              </a:ext>
            </a:extLst>
          </p:cNvPr>
          <p:cNvSpPr/>
          <p:nvPr/>
        </p:nvSpPr>
        <p:spPr>
          <a:xfrm>
            <a:off x="0" y="1067644"/>
            <a:ext cx="9144000" cy="1550519"/>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 name="Text Placeholder 1">
            <a:extLst>
              <a:ext uri="{FF2B5EF4-FFF2-40B4-BE49-F238E27FC236}">
                <a16:creationId xmlns:a16="http://schemas.microsoft.com/office/drawing/2014/main" id="{915B47A2-E8C6-9C96-C96C-601DA40FE274}"/>
              </a:ext>
            </a:extLst>
          </p:cNvPr>
          <p:cNvSpPr>
            <a:spLocks noGrp="1"/>
          </p:cNvSpPr>
          <p:nvPr>
            <p:ph type="body" sz="quarter" idx="21"/>
          </p:nvPr>
        </p:nvSpPr>
        <p:spPr/>
        <p:txBody>
          <a:bodyPr/>
          <a:lstStyle/>
          <a:p>
            <a:r>
              <a:rPr lang="en-CA"/>
              <a:t>TFS Investment Group - TMTH Team </a:t>
            </a:r>
          </a:p>
          <a:p>
            <a:endParaRPr lang="en-CA"/>
          </a:p>
        </p:txBody>
      </p:sp>
      <p:sp>
        <p:nvSpPr>
          <p:cNvPr id="4" name="Title 3">
            <a:extLst>
              <a:ext uri="{FF2B5EF4-FFF2-40B4-BE49-F238E27FC236}">
                <a16:creationId xmlns:a16="http://schemas.microsoft.com/office/drawing/2014/main" id="{85FF5F6D-E4C8-9D97-A6AE-FF218DB293A5}"/>
              </a:ext>
            </a:extLst>
          </p:cNvPr>
          <p:cNvSpPr>
            <a:spLocks noGrp="1"/>
          </p:cNvSpPr>
          <p:nvPr>
            <p:ph type="title"/>
          </p:nvPr>
        </p:nvSpPr>
        <p:spPr/>
        <p:txBody>
          <a:bodyPr/>
          <a:lstStyle/>
          <a:p>
            <a:r>
              <a:rPr lang="en-CA"/>
              <a:t>Contributors</a:t>
            </a:r>
          </a:p>
        </p:txBody>
      </p:sp>
      <p:sp>
        <p:nvSpPr>
          <p:cNvPr id="9" name="Rectangle 8">
            <a:extLst>
              <a:ext uri="{FF2B5EF4-FFF2-40B4-BE49-F238E27FC236}">
                <a16:creationId xmlns:a16="http://schemas.microsoft.com/office/drawing/2014/main" id="{6CE83239-0BE0-BD0F-2290-792EA9B0F9BC}"/>
              </a:ext>
            </a:extLst>
          </p:cNvPr>
          <p:cNvSpPr/>
          <p:nvPr/>
        </p:nvSpPr>
        <p:spPr>
          <a:xfrm>
            <a:off x="138593" y="2416407"/>
            <a:ext cx="1696241" cy="203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900" b="1">
                <a:solidFill>
                  <a:schemeClr val="tx2"/>
                </a:solidFill>
              </a:rPr>
              <a:t>Corey Cao </a:t>
            </a:r>
          </a:p>
          <a:p>
            <a:pPr algn="ctr"/>
            <a:r>
              <a:rPr lang="en-CA" sz="900">
                <a:solidFill>
                  <a:schemeClr val="tx2"/>
                </a:solidFill>
              </a:rPr>
              <a:t>Portfolio Manager</a:t>
            </a:r>
          </a:p>
          <a:p>
            <a:pPr algn="ctr"/>
            <a:endParaRPr lang="en-CA" sz="900">
              <a:solidFill>
                <a:schemeClr val="tx2"/>
              </a:solidFill>
            </a:endParaRPr>
          </a:p>
        </p:txBody>
      </p:sp>
      <p:sp>
        <p:nvSpPr>
          <p:cNvPr id="10" name="Rectangle 9">
            <a:extLst>
              <a:ext uri="{FF2B5EF4-FFF2-40B4-BE49-F238E27FC236}">
                <a16:creationId xmlns:a16="http://schemas.microsoft.com/office/drawing/2014/main" id="{BB6CB9FD-B1A8-942E-9D77-E112009E4A94}"/>
              </a:ext>
            </a:extLst>
          </p:cNvPr>
          <p:cNvSpPr/>
          <p:nvPr/>
        </p:nvSpPr>
        <p:spPr>
          <a:xfrm>
            <a:off x="1972106" y="1151450"/>
            <a:ext cx="3216136" cy="2018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a:t>Experience</a:t>
            </a:r>
          </a:p>
        </p:txBody>
      </p:sp>
      <p:sp>
        <p:nvSpPr>
          <p:cNvPr id="11" name="Rectangle 10">
            <a:extLst>
              <a:ext uri="{FF2B5EF4-FFF2-40B4-BE49-F238E27FC236}">
                <a16:creationId xmlns:a16="http://schemas.microsoft.com/office/drawing/2014/main" id="{BBAD6737-51A5-465B-3E63-3438C364E435}"/>
              </a:ext>
            </a:extLst>
          </p:cNvPr>
          <p:cNvSpPr/>
          <p:nvPr/>
        </p:nvSpPr>
        <p:spPr>
          <a:xfrm>
            <a:off x="5481934" y="1150148"/>
            <a:ext cx="3216136" cy="2018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a:t>Achievements</a:t>
            </a:r>
          </a:p>
        </p:txBody>
      </p:sp>
      <p:sp>
        <p:nvSpPr>
          <p:cNvPr id="12" name="Rectangle 11">
            <a:extLst>
              <a:ext uri="{FF2B5EF4-FFF2-40B4-BE49-F238E27FC236}">
                <a16:creationId xmlns:a16="http://schemas.microsoft.com/office/drawing/2014/main" id="{AD3A6158-A6FB-7858-B98E-50119AAA694A}"/>
              </a:ext>
            </a:extLst>
          </p:cNvPr>
          <p:cNvSpPr/>
          <p:nvPr/>
        </p:nvSpPr>
        <p:spPr>
          <a:xfrm>
            <a:off x="1972106" y="1414458"/>
            <a:ext cx="3216136"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46" indent="-171446">
              <a:buClr>
                <a:schemeClr val="accent1"/>
              </a:buClr>
              <a:buFont typeface="Wingdings" pitchFamily="2" charset="2"/>
              <a:buChar char="§"/>
            </a:pPr>
            <a:r>
              <a:rPr lang="en-CA" sz="900" b="1">
                <a:solidFill>
                  <a:schemeClr val="tx1"/>
                </a:solidFill>
              </a:rPr>
              <a:t>University of Ottawa</a:t>
            </a:r>
            <a:r>
              <a:rPr lang="en-CA" sz="900">
                <a:solidFill>
                  <a:schemeClr val="tx1"/>
                </a:solidFill>
              </a:rPr>
              <a:t>: Undergrad | Finance 2026</a:t>
            </a:r>
          </a:p>
          <a:p>
            <a:pPr marL="171446" indent="-171446">
              <a:buClr>
                <a:schemeClr val="accent1"/>
              </a:buClr>
              <a:buFont typeface="Wingdings" pitchFamily="2" charset="2"/>
              <a:buChar char="§"/>
            </a:pPr>
            <a:r>
              <a:rPr lang="en-CA" sz="900" b="1">
                <a:solidFill>
                  <a:schemeClr val="tx1"/>
                </a:solidFill>
              </a:rPr>
              <a:t>TD Wealth: </a:t>
            </a:r>
            <a:r>
              <a:rPr lang="en-CA" sz="900">
                <a:solidFill>
                  <a:schemeClr val="tx1"/>
                </a:solidFill>
              </a:rPr>
              <a:t>Equities and Derivatives Trader</a:t>
            </a:r>
          </a:p>
          <a:p>
            <a:pPr marL="171446" indent="-171446">
              <a:buClr>
                <a:schemeClr val="accent1"/>
              </a:buClr>
              <a:buFont typeface="Wingdings" pitchFamily="2" charset="2"/>
              <a:buChar char="§"/>
            </a:pPr>
            <a:endParaRPr lang="en-CA" sz="900" b="1">
              <a:solidFill>
                <a:schemeClr val="tx1"/>
              </a:solidFill>
            </a:endParaRPr>
          </a:p>
        </p:txBody>
      </p:sp>
      <p:sp>
        <p:nvSpPr>
          <p:cNvPr id="13" name="Rectangle 12">
            <a:extLst>
              <a:ext uri="{FF2B5EF4-FFF2-40B4-BE49-F238E27FC236}">
                <a16:creationId xmlns:a16="http://schemas.microsoft.com/office/drawing/2014/main" id="{DCEFBDA3-129C-18D8-BA0B-19C576FA92C8}"/>
              </a:ext>
            </a:extLst>
          </p:cNvPr>
          <p:cNvSpPr/>
          <p:nvPr/>
        </p:nvSpPr>
        <p:spPr>
          <a:xfrm>
            <a:off x="5481934" y="1416368"/>
            <a:ext cx="3150734"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46" indent="-171446">
              <a:buClr>
                <a:schemeClr val="accent1"/>
              </a:buClr>
              <a:buFont typeface="Wingdings" pitchFamily="2" charset="2"/>
              <a:buChar char="§"/>
            </a:pPr>
            <a:r>
              <a:rPr lang="en-CA" sz="900">
                <a:solidFill>
                  <a:schemeClr val="tx1"/>
                </a:solidFill>
              </a:rPr>
              <a:t>TFSIG TMTH Portfolio Manager</a:t>
            </a:r>
          </a:p>
        </p:txBody>
      </p:sp>
      <p:sp>
        <p:nvSpPr>
          <p:cNvPr id="14" name="Rectangle 13">
            <a:extLst>
              <a:ext uri="{FF2B5EF4-FFF2-40B4-BE49-F238E27FC236}">
                <a16:creationId xmlns:a16="http://schemas.microsoft.com/office/drawing/2014/main" id="{8DE5196E-0870-A4F2-DC84-8C766DFE40DC}"/>
              </a:ext>
            </a:extLst>
          </p:cNvPr>
          <p:cNvSpPr/>
          <p:nvPr/>
        </p:nvSpPr>
        <p:spPr>
          <a:xfrm>
            <a:off x="138594" y="3933123"/>
            <a:ext cx="1696241" cy="203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900" b="1">
                <a:solidFill>
                  <a:schemeClr val="tx2"/>
                </a:solidFill>
              </a:rPr>
              <a:t>Thomas Giroux </a:t>
            </a:r>
          </a:p>
          <a:p>
            <a:pPr algn="ctr"/>
            <a:r>
              <a:rPr lang="en-CA" sz="900">
                <a:solidFill>
                  <a:schemeClr val="tx2"/>
                </a:solidFill>
              </a:rPr>
              <a:t>TMTH Senior Analyst </a:t>
            </a:r>
          </a:p>
        </p:txBody>
      </p:sp>
      <p:sp>
        <p:nvSpPr>
          <p:cNvPr id="15" name="Rectangle 14">
            <a:extLst>
              <a:ext uri="{FF2B5EF4-FFF2-40B4-BE49-F238E27FC236}">
                <a16:creationId xmlns:a16="http://schemas.microsoft.com/office/drawing/2014/main" id="{F754DAD9-6A40-F484-E9FA-63B5A361BD19}"/>
              </a:ext>
            </a:extLst>
          </p:cNvPr>
          <p:cNvSpPr/>
          <p:nvPr/>
        </p:nvSpPr>
        <p:spPr>
          <a:xfrm>
            <a:off x="1972106" y="2758637"/>
            <a:ext cx="3216136" cy="2018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a:t>Experience</a:t>
            </a:r>
          </a:p>
        </p:txBody>
      </p:sp>
      <p:sp>
        <p:nvSpPr>
          <p:cNvPr id="16" name="Rectangle 15">
            <a:extLst>
              <a:ext uri="{FF2B5EF4-FFF2-40B4-BE49-F238E27FC236}">
                <a16:creationId xmlns:a16="http://schemas.microsoft.com/office/drawing/2014/main" id="{6E915980-F795-9B06-3A3C-BD1EBD5A6A95}"/>
              </a:ext>
            </a:extLst>
          </p:cNvPr>
          <p:cNvSpPr/>
          <p:nvPr/>
        </p:nvSpPr>
        <p:spPr>
          <a:xfrm>
            <a:off x="5481934" y="2757335"/>
            <a:ext cx="3216136" cy="2018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a:t>Achievements</a:t>
            </a:r>
          </a:p>
        </p:txBody>
      </p:sp>
      <p:sp>
        <p:nvSpPr>
          <p:cNvPr id="17" name="Rectangle 16">
            <a:extLst>
              <a:ext uri="{FF2B5EF4-FFF2-40B4-BE49-F238E27FC236}">
                <a16:creationId xmlns:a16="http://schemas.microsoft.com/office/drawing/2014/main" id="{25A7D32A-801B-51B1-889B-70F9BE7677E2}"/>
              </a:ext>
            </a:extLst>
          </p:cNvPr>
          <p:cNvSpPr/>
          <p:nvPr/>
        </p:nvSpPr>
        <p:spPr>
          <a:xfrm>
            <a:off x="1972106" y="3021645"/>
            <a:ext cx="3216136"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chemeClr val="accent1"/>
              </a:buClr>
              <a:buFont typeface="Wingdings" panose="05000000000000000000" pitchFamily="2" charset="2"/>
              <a:buChar char="§"/>
            </a:pPr>
            <a:r>
              <a:rPr lang="en-CA" sz="900" b="1">
                <a:solidFill>
                  <a:schemeClr val="tx1"/>
                </a:solidFill>
              </a:rPr>
              <a:t>University of Ottawa</a:t>
            </a:r>
            <a:r>
              <a:rPr lang="en-CA" sz="900">
                <a:solidFill>
                  <a:schemeClr val="tx1"/>
                </a:solidFill>
              </a:rPr>
              <a:t>: Undergrad | Finance 2025</a:t>
            </a:r>
            <a:endParaRPr lang="en-CA" sz="900" b="1">
              <a:solidFill>
                <a:schemeClr val="tx1"/>
              </a:solidFill>
            </a:endParaRPr>
          </a:p>
          <a:p>
            <a:pPr marL="171450" indent="-171450">
              <a:buClr>
                <a:schemeClr val="accent1"/>
              </a:buClr>
              <a:buFont typeface="Wingdings" panose="05000000000000000000" pitchFamily="2" charset="2"/>
              <a:buChar char="§"/>
            </a:pPr>
            <a:r>
              <a:rPr lang="en-CA" sz="900" b="1">
                <a:solidFill>
                  <a:schemeClr val="tx1"/>
                </a:solidFill>
              </a:rPr>
              <a:t>IG Private Wealth: </a:t>
            </a:r>
            <a:r>
              <a:rPr lang="en-CA" sz="900">
                <a:solidFill>
                  <a:schemeClr val="tx1"/>
                </a:solidFill>
              </a:rPr>
              <a:t>Analyst</a:t>
            </a:r>
            <a:endParaRPr lang="en-CA" sz="900">
              <a:solidFill>
                <a:schemeClr val="tx1"/>
              </a:solidFill>
              <a:cs typeface="Arial"/>
            </a:endParaRPr>
          </a:p>
        </p:txBody>
      </p:sp>
      <p:sp>
        <p:nvSpPr>
          <p:cNvPr id="18" name="Rectangle 17">
            <a:extLst>
              <a:ext uri="{FF2B5EF4-FFF2-40B4-BE49-F238E27FC236}">
                <a16:creationId xmlns:a16="http://schemas.microsoft.com/office/drawing/2014/main" id="{2759D637-E8DB-EAB5-756C-DF97CA2B2BAC}"/>
              </a:ext>
            </a:extLst>
          </p:cNvPr>
          <p:cNvSpPr/>
          <p:nvPr/>
        </p:nvSpPr>
        <p:spPr>
          <a:xfrm>
            <a:off x="5481934" y="3023555"/>
            <a:ext cx="3150734"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0815" indent="-170815">
              <a:buClr>
                <a:schemeClr val="accent1"/>
              </a:buClr>
              <a:buFont typeface="Wingdings" pitchFamily="2" charset="2"/>
              <a:buChar char="§"/>
            </a:pPr>
            <a:r>
              <a:rPr lang="en-CA" sz="900">
                <a:solidFill>
                  <a:schemeClr val="tx1"/>
                </a:solidFill>
              </a:rPr>
              <a:t>TFSIG TMTH Senior Analyst</a:t>
            </a:r>
            <a:endParaRPr lang="en-US">
              <a:solidFill>
                <a:schemeClr val="tx1"/>
              </a:solidFill>
            </a:endParaRPr>
          </a:p>
          <a:p>
            <a:pPr marL="170815" indent="-170815">
              <a:buClr>
                <a:schemeClr val="accent1"/>
              </a:buClr>
              <a:buFont typeface="Wingdings" pitchFamily="2" charset="2"/>
              <a:buChar char="§"/>
            </a:pPr>
            <a:r>
              <a:rPr lang="en-CA" sz="900">
                <a:solidFill>
                  <a:schemeClr val="tx1"/>
                </a:solidFill>
              </a:rPr>
              <a:t>$TVA-B.TO restructuring, presented to Hugues Simard</a:t>
            </a:r>
          </a:p>
          <a:p>
            <a:pPr marL="170815" indent="-170815">
              <a:buClr>
                <a:schemeClr val="accent1"/>
              </a:buClr>
              <a:buFont typeface="Wingdings" pitchFamily="2" charset="2"/>
              <a:buChar char="§"/>
            </a:pPr>
            <a:r>
              <a:rPr lang="en-CA" sz="900">
                <a:solidFill>
                  <a:schemeClr val="tx1"/>
                </a:solidFill>
              </a:rPr>
              <a:t>$POW.TO x $GLXY.TO M&amp;A presented to Jeffrey Orr</a:t>
            </a:r>
            <a:endParaRPr lang="en-CA" sz="900">
              <a:solidFill>
                <a:schemeClr val="tx1"/>
              </a:solidFill>
              <a:cs typeface="Arial"/>
            </a:endParaRPr>
          </a:p>
          <a:p>
            <a:pPr marL="170815" indent="-170815">
              <a:buClr>
                <a:schemeClr val="accent1"/>
              </a:buClr>
              <a:buFont typeface="Wingdings" pitchFamily="2" charset="2"/>
              <a:buChar char="§"/>
            </a:pPr>
            <a:r>
              <a:rPr lang="en-CA" sz="900">
                <a:solidFill>
                  <a:schemeClr val="tx1"/>
                </a:solidFill>
              </a:rPr>
              <a:t>Analyses: https://</a:t>
            </a:r>
            <a:r>
              <a:rPr lang="en-CA" sz="900" err="1">
                <a:solidFill>
                  <a:schemeClr val="tx1"/>
                </a:solidFill>
              </a:rPr>
              <a:t>www.thomasgiroux.work</a:t>
            </a:r>
            <a:r>
              <a:rPr lang="en-CA" sz="900">
                <a:solidFill>
                  <a:schemeClr val="tx1"/>
                </a:solidFill>
              </a:rPr>
              <a:t> </a:t>
            </a:r>
            <a:endParaRPr lang="en-CA" sz="900">
              <a:solidFill>
                <a:schemeClr val="tx1"/>
              </a:solidFill>
              <a:cs typeface="Arial"/>
            </a:endParaRPr>
          </a:p>
        </p:txBody>
      </p:sp>
      <p:sp>
        <p:nvSpPr>
          <p:cNvPr id="19" name="Rectangle 18">
            <a:extLst>
              <a:ext uri="{FF2B5EF4-FFF2-40B4-BE49-F238E27FC236}">
                <a16:creationId xmlns:a16="http://schemas.microsoft.com/office/drawing/2014/main" id="{2704854C-D14D-CC27-8527-9C3D945D386A}"/>
              </a:ext>
            </a:extLst>
          </p:cNvPr>
          <p:cNvSpPr/>
          <p:nvPr/>
        </p:nvSpPr>
        <p:spPr>
          <a:xfrm>
            <a:off x="138594" y="5613119"/>
            <a:ext cx="1696241" cy="203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900" b="1">
                <a:solidFill>
                  <a:schemeClr val="tx2"/>
                </a:solidFill>
              </a:rPr>
              <a:t>Carlo Abi-Raad </a:t>
            </a:r>
          </a:p>
          <a:p>
            <a:pPr algn="ctr"/>
            <a:r>
              <a:rPr lang="en-CA" sz="900">
                <a:solidFill>
                  <a:schemeClr val="tx2"/>
                </a:solidFill>
              </a:rPr>
              <a:t>TMTH Junior Analyst</a:t>
            </a:r>
          </a:p>
        </p:txBody>
      </p:sp>
      <p:sp>
        <p:nvSpPr>
          <p:cNvPr id="20" name="Rectangle 19">
            <a:extLst>
              <a:ext uri="{FF2B5EF4-FFF2-40B4-BE49-F238E27FC236}">
                <a16:creationId xmlns:a16="http://schemas.microsoft.com/office/drawing/2014/main" id="{4304A548-C7E6-ADA6-F30E-69594FBC5232}"/>
              </a:ext>
            </a:extLst>
          </p:cNvPr>
          <p:cNvSpPr/>
          <p:nvPr/>
        </p:nvSpPr>
        <p:spPr>
          <a:xfrm>
            <a:off x="1972106" y="4438633"/>
            <a:ext cx="3216136" cy="2018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a:t>Experience</a:t>
            </a:r>
          </a:p>
        </p:txBody>
      </p:sp>
      <p:sp>
        <p:nvSpPr>
          <p:cNvPr id="21" name="Rectangle 20">
            <a:extLst>
              <a:ext uri="{FF2B5EF4-FFF2-40B4-BE49-F238E27FC236}">
                <a16:creationId xmlns:a16="http://schemas.microsoft.com/office/drawing/2014/main" id="{A7E600FC-36F7-B281-4BBD-F03F11D1A4F9}"/>
              </a:ext>
            </a:extLst>
          </p:cNvPr>
          <p:cNvSpPr/>
          <p:nvPr/>
        </p:nvSpPr>
        <p:spPr>
          <a:xfrm>
            <a:off x="5481934" y="4437331"/>
            <a:ext cx="3216136" cy="2018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a:t>Achievements</a:t>
            </a:r>
          </a:p>
        </p:txBody>
      </p:sp>
      <p:sp>
        <p:nvSpPr>
          <p:cNvPr id="22" name="Rectangle 21">
            <a:extLst>
              <a:ext uri="{FF2B5EF4-FFF2-40B4-BE49-F238E27FC236}">
                <a16:creationId xmlns:a16="http://schemas.microsoft.com/office/drawing/2014/main" id="{3A002684-B26A-3397-50C0-D3C485184040}"/>
              </a:ext>
            </a:extLst>
          </p:cNvPr>
          <p:cNvSpPr/>
          <p:nvPr/>
        </p:nvSpPr>
        <p:spPr>
          <a:xfrm>
            <a:off x="1972106" y="4701641"/>
            <a:ext cx="3216136"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46" indent="-171446">
              <a:buClr>
                <a:schemeClr val="accent1"/>
              </a:buClr>
              <a:buFont typeface="Wingdings" pitchFamily="2" charset="2"/>
              <a:buChar char="§"/>
            </a:pPr>
            <a:r>
              <a:rPr lang="en-CA" sz="900" b="1">
                <a:solidFill>
                  <a:schemeClr val="tx1"/>
                </a:solidFill>
              </a:rPr>
              <a:t>University of Ottawa </a:t>
            </a:r>
            <a:r>
              <a:rPr lang="en-CA" sz="900">
                <a:solidFill>
                  <a:schemeClr val="tx1"/>
                </a:solidFill>
              </a:rPr>
              <a:t>: Undergrad | Finance 2026</a:t>
            </a:r>
            <a:r>
              <a:rPr lang="en-CA" sz="900">
                <a:cs typeface="Arial"/>
              </a:rPr>
              <a:t>tt</a:t>
            </a:r>
          </a:p>
          <a:p>
            <a:pPr marL="171450" indent="-171450">
              <a:buClr>
                <a:schemeClr val="accent1"/>
              </a:buClr>
              <a:buFont typeface="Wingdings" panose="05000000000000000000" pitchFamily="2" charset="2"/>
              <a:buChar char="§"/>
            </a:pPr>
            <a:r>
              <a:rPr lang="en-CA" sz="900" b="1">
                <a:solidFill>
                  <a:schemeClr val="tx1"/>
                </a:solidFill>
              </a:rPr>
              <a:t>RBC Wealth Management: </a:t>
            </a:r>
            <a:r>
              <a:rPr lang="en-CA" sz="900">
                <a:solidFill>
                  <a:schemeClr val="tx1"/>
                </a:solidFill>
              </a:rPr>
              <a:t>Analyst</a:t>
            </a:r>
            <a:endParaRPr lang="en-CA" sz="900" b="1">
              <a:solidFill>
                <a:schemeClr val="tx1"/>
              </a:solidFill>
            </a:endParaRPr>
          </a:p>
          <a:p>
            <a:pPr marL="171450" indent="-171450">
              <a:buClr>
                <a:schemeClr val="accent1"/>
              </a:buClr>
              <a:buFont typeface="Wingdings" panose="05000000000000000000" pitchFamily="2" charset="2"/>
              <a:buChar char="§"/>
            </a:pPr>
            <a:r>
              <a:rPr lang="en-CA" sz="900" b="1">
                <a:solidFill>
                  <a:schemeClr val="tx1"/>
                </a:solidFill>
              </a:rPr>
              <a:t>Statistics Canada: </a:t>
            </a:r>
            <a:r>
              <a:rPr lang="en-CA" sz="900">
                <a:solidFill>
                  <a:schemeClr val="tx1"/>
                </a:solidFill>
              </a:rPr>
              <a:t>Financial Analyst</a:t>
            </a:r>
          </a:p>
          <a:p>
            <a:pPr marL="171450" indent="-171450">
              <a:buClr>
                <a:schemeClr val="accent1"/>
              </a:buClr>
              <a:buFont typeface="Wingdings" panose="05000000000000000000" pitchFamily="2" charset="2"/>
              <a:buChar char="§"/>
            </a:pPr>
            <a:r>
              <a:rPr lang="en-CA" sz="900" b="1">
                <a:solidFill>
                  <a:schemeClr val="tx1"/>
                </a:solidFill>
              </a:rPr>
              <a:t>Canada Revenue Agency: </a:t>
            </a:r>
            <a:r>
              <a:rPr lang="en-CA" sz="900">
                <a:solidFill>
                  <a:schemeClr val="tx1"/>
                </a:solidFill>
              </a:rPr>
              <a:t>Analyst</a:t>
            </a:r>
          </a:p>
        </p:txBody>
      </p:sp>
      <p:sp>
        <p:nvSpPr>
          <p:cNvPr id="23" name="Rectangle 22">
            <a:extLst>
              <a:ext uri="{FF2B5EF4-FFF2-40B4-BE49-F238E27FC236}">
                <a16:creationId xmlns:a16="http://schemas.microsoft.com/office/drawing/2014/main" id="{FB82E0CE-59FE-248B-1458-860656293F9C}"/>
              </a:ext>
            </a:extLst>
          </p:cNvPr>
          <p:cNvSpPr/>
          <p:nvPr/>
        </p:nvSpPr>
        <p:spPr>
          <a:xfrm>
            <a:off x="5481934" y="4703551"/>
            <a:ext cx="3150734"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46" indent="-171446">
              <a:buClr>
                <a:schemeClr val="accent1"/>
              </a:buClr>
              <a:buFont typeface="Wingdings" pitchFamily="2" charset="2"/>
              <a:buChar char="§"/>
            </a:pPr>
            <a:r>
              <a:rPr lang="en-CA" sz="900">
                <a:solidFill>
                  <a:schemeClr val="tx1"/>
                </a:solidFill>
              </a:rPr>
              <a:t>TFSIG TMTH Junior Analyst</a:t>
            </a:r>
          </a:p>
          <a:p>
            <a:pPr marL="171446" indent="-171446">
              <a:buClr>
                <a:schemeClr val="accent1"/>
              </a:buClr>
              <a:buFont typeface="Wingdings" pitchFamily="2" charset="2"/>
              <a:buChar char="§"/>
            </a:pPr>
            <a:r>
              <a:rPr lang="en-CA" sz="900">
                <a:solidFill>
                  <a:schemeClr val="tx1"/>
                </a:solidFill>
              </a:rPr>
              <a:t>Omnium Financier Corporate Finance Team</a:t>
            </a:r>
          </a:p>
          <a:p>
            <a:pPr marL="171446" indent="-171446">
              <a:buClr>
                <a:schemeClr val="accent1"/>
              </a:buClr>
              <a:buFont typeface="Wingdings" pitchFamily="2" charset="2"/>
              <a:buChar char="§"/>
            </a:pPr>
            <a:r>
              <a:rPr lang="en-CA" sz="900">
                <a:solidFill>
                  <a:schemeClr val="tx1"/>
                </a:solidFill>
              </a:rPr>
              <a:t>McGill Int’l Portfolio Challenge – Team uOttawa</a:t>
            </a:r>
          </a:p>
          <a:p>
            <a:pPr marL="171446" indent="-171446">
              <a:buClr>
                <a:schemeClr val="accent1"/>
              </a:buClr>
              <a:buFont typeface="Wingdings" pitchFamily="2" charset="2"/>
              <a:buChar char="§"/>
            </a:pPr>
            <a:r>
              <a:rPr lang="en-CA" sz="900">
                <a:solidFill>
                  <a:schemeClr val="tx1"/>
                </a:solidFill>
              </a:rPr>
              <a:t>Omnium Financier Market Finance Team </a:t>
            </a:r>
          </a:p>
          <a:p>
            <a:pPr marL="171446" indent="-171446">
              <a:buClr>
                <a:schemeClr val="accent1"/>
              </a:buClr>
              <a:buFont typeface="Wingdings" pitchFamily="2" charset="2"/>
              <a:buChar char="§"/>
            </a:pPr>
            <a:r>
              <a:rPr lang="en-CA" sz="900">
                <a:solidFill>
                  <a:schemeClr val="tx1"/>
                </a:solidFill>
              </a:rPr>
              <a:t>Huntsman Leadership Development Summit</a:t>
            </a:r>
          </a:p>
        </p:txBody>
      </p:sp>
      <p:pic>
        <p:nvPicPr>
          <p:cNvPr id="24" name="Picture 23" descr="A person in a suit and tie&#10;&#10;Description automatically generated">
            <a:extLst>
              <a:ext uri="{FF2B5EF4-FFF2-40B4-BE49-F238E27FC236}">
                <a16:creationId xmlns:a16="http://schemas.microsoft.com/office/drawing/2014/main" id="{8E70DA8C-BDF5-3D2F-C7F0-0D1F940D0FD0}"/>
              </a:ext>
            </a:extLst>
          </p:cNvPr>
          <p:cNvPicPr>
            <a:picLocks noChangeAspect="1"/>
          </p:cNvPicPr>
          <p:nvPr/>
        </p:nvPicPr>
        <p:blipFill rotWithShape="1">
          <a:blip r:embed="rId2">
            <a:extLst>
              <a:ext uri="{28A0092B-C50C-407E-A947-70E740481C1C}">
                <a14:useLocalDpi xmlns:a14="http://schemas.microsoft.com/office/drawing/2010/main" val="0"/>
              </a:ext>
            </a:extLst>
          </a:blip>
          <a:srcRect l="6102" t="10645" r="6146" b="36161"/>
          <a:stretch/>
        </p:blipFill>
        <p:spPr>
          <a:xfrm>
            <a:off x="525922" y="1229535"/>
            <a:ext cx="997904" cy="997904"/>
          </a:xfrm>
          <a:prstGeom prst="flowChartConnector">
            <a:avLst/>
          </a:prstGeom>
        </p:spPr>
      </p:pic>
      <p:pic>
        <p:nvPicPr>
          <p:cNvPr id="25" name="Picture 24" descr="A person in a suit and tie&#10;&#10;Description automatically generated">
            <a:extLst>
              <a:ext uri="{FF2B5EF4-FFF2-40B4-BE49-F238E27FC236}">
                <a16:creationId xmlns:a16="http://schemas.microsoft.com/office/drawing/2014/main" id="{16BE8E71-21F8-F4F3-00E7-E97D0D36D9BD}"/>
              </a:ext>
            </a:extLst>
          </p:cNvPr>
          <p:cNvPicPr>
            <a:picLocks noChangeAspect="1"/>
          </p:cNvPicPr>
          <p:nvPr/>
        </p:nvPicPr>
        <p:blipFill rotWithShape="1">
          <a:blip r:embed="rId3">
            <a:extLst>
              <a:ext uri="{28A0092B-C50C-407E-A947-70E740481C1C}">
                <a14:useLocalDpi xmlns:a14="http://schemas.microsoft.com/office/drawing/2010/main" val="0"/>
              </a:ext>
            </a:extLst>
          </a:blip>
          <a:srcRect l="5398" t="11953" r="5778" b="31360"/>
          <a:stretch/>
        </p:blipFill>
        <p:spPr>
          <a:xfrm>
            <a:off x="483556" y="2787960"/>
            <a:ext cx="1082636" cy="1082636"/>
          </a:xfrm>
          <a:prstGeom prst="flowChartConnector">
            <a:avLst/>
          </a:prstGeom>
        </p:spPr>
      </p:pic>
      <p:pic>
        <p:nvPicPr>
          <p:cNvPr id="26" name="Picture 25" descr="A person in a suit and tie&#10;&#10;Description automatically generated">
            <a:extLst>
              <a:ext uri="{FF2B5EF4-FFF2-40B4-BE49-F238E27FC236}">
                <a16:creationId xmlns:a16="http://schemas.microsoft.com/office/drawing/2014/main" id="{48710FDD-D9BE-EEAC-2CF4-4D3FDA7C7437}"/>
              </a:ext>
            </a:extLst>
          </p:cNvPr>
          <p:cNvPicPr>
            <a:picLocks noChangeAspect="1"/>
          </p:cNvPicPr>
          <p:nvPr/>
        </p:nvPicPr>
        <p:blipFill rotWithShape="1">
          <a:blip r:embed="rId4">
            <a:extLst>
              <a:ext uri="{28A0092B-C50C-407E-A947-70E740481C1C}">
                <a14:useLocalDpi xmlns:a14="http://schemas.microsoft.com/office/drawing/2010/main" val="0"/>
              </a:ext>
            </a:extLst>
          </a:blip>
          <a:srcRect l="3564" t="13403" r="3249" b="31058"/>
          <a:stretch/>
        </p:blipFill>
        <p:spPr>
          <a:xfrm>
            <a:off x="451788" y="4357665"/>
            <a:ext cx="1148415" cy="1148415"/>
          </a:xfrm>
          <a:prstGeom prst="flowChartConnector">
            <a:avLst/>
          </a:prstGeom>
        </p:spPr>
      </p:pic>
    </p:spTree>
    <p:extLst>
      <p:ext uri="{BB962C8B-B14F-4D97-AF65-F5344CB8AC3E}">
        <p14:creationId xmlns:p14="http://schemas.microsoft.com/office/powerpoint/2010/main" val="257553509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AFF281-FEAA-1584-659C-0E2FA9857FE8}"/>
            </a:ext>
          </a:extLst>
        </p:cNvPr>
        <p:cNvGrpSpPr/>
        <p:nvPr/>
      </p:nvGrpSpPr>
      <p:grpSpPr>
        <a:xfrm>
          <a:off x="0" y="0"/>
          <a:ext cx="0" cy="0"/>
          <a:chOff x="0" y="0"/>
          <a:chExt cx="0" cy="0"/>
        </a:xfrm>
      </p:grpSpPr>
      <p:sp>
        <p:nvSpPr>
          <p:cNvPr id="8" name="Text Placeholder 7">
            <a:extLst>
              <a:ext uri="{FF2B5EF4-FFF2-40B4-BE49-F238E27FC236}">
                <a16:creationId xmlns:a16="http://schemas.microsoft.com/office/drawing/2014/main" id="{D5DF784A-2362-4596-5069-881641CB709B}"/>
              </a:ext>
            </a:extLst>
          </p:cNvPr>
          <p:cNvSpPr>
            <a:spLocks noGrp="1"/>
          </p:cNvSpPr>
          <p:nvPr>
            <p:ph type="body" sz="quarter" idx="21"/>
          </p:nvPr>
        </p:nvSpPr>
        <p:spPr/>
        <p:txBody>
          <a:bodyPr/>
          <a:lstStyle/>
          <a:p>
            <a:r>
              <a:rPr lang="en-CA"/>
              <a:t>Underlying Inputs and Forecast Rationale</a:t>
            </a:r>
          </a:p>
        </p:txBody>
      </p:sp>
      <p:sp>
        <p:nvSpPr>
          <p:cNvPr id="5" name="Title 4">
            <a:extLst>
              <a:ext uri="{FF2B5EF4-FFF2-40B4-BE49-F238E27FC236}">
                <a16:creationId xmlns:a16="http://schemas.microsoft.com/office/drawing/2014/main" id="{A473B7AD-192E-18D1-5845-7983328B7C50}"/>
              </a:ext>
            </a:extLst>
          </p:cNvPr>
          <p:cNvSpPr>
            <a:spLocks noGrp="1"/>
          </p:cNvSpPr>
          <p:nvPr>
            <p:ph type="title"/>
          </p:nvPr>
        </p:nvSpPr>
        <p:spPr/>
        <p:txBody>
          <a:bodyPr/>
          <a:lstStyle/>
          <a:p>
            <a:r>
              <a:rPr lang="en-CA"/>
              <a:t>DCF - Key Assumptions </a:t>
            </a:r>
          </a:p>
        </p:txBody>
      </p:sp>
      <p:graphicFrame>
        <p:nvGraphicFramePr>
          <p:cNvPr id="4" name="Table 3">
            <a:extLst>
              <a:ext uri="{FF2B5EF4-FFF2-40B4-BE49-F238E27FC236}">
                <a16:creationId xmlns:a16="http://schemas.microsoft.com/office/drawing/2014/main" id="{15760B7E-F382-EE64-EB80-5E858E6BA063}"/>
              </a:ext>
            </a:extLst>
          </p:cNvPr>
          <p:cNvGraphicFramePr>
            <a:graphicFrameLocks noGrp="1"/>
          </p:cNvGraphicFramePr>
          <p:nvPr>
            <p:extLst>
              <p:ext uri="{D42A27DB-BD31-4B8C-83A1-F6EECF244321}">
                <p14:modId xmlns:p14="http://schemas.microsoft.com/office/powerpoint/2010/main" val="2495448915"/>
              </p:ext>
            </p:extLst>
          </p:nvPr>
        </p:nvGraphicFramePr>
        <p:xfrm>
          <a:off x="1760104" y="1214807"/>
          <a:ext cx="5479295" cy="2694162"/>
        </p:xfrm>
        <a:graphic>
          <a:graphicData uri="http://schemas.openxmlformats.org/drawingml/2006/table">
            <a:tbl>
              <a:tblPr/>
              <a:tblGrid>
                <a:gridCol w="2714457">
                  <a:extLst>
                    <a:ext uri="{9D8B030D-6E8A-4147-A177-3AD203B41FA5}">
                      <a16:colId xmlns:a16="http://schemas.microsoft.com/office/drawing/2014/main" val="917888950"/>
                    </a:ext>
                  </a:extLst>
                </a:gridCol>
                <a:gridCol w="960137">
                  <a:extLst>
                    <a:ext uri="{9D8B030D-6E8A-4147-A177-3AD203B41FA5}">
                      <a16:colId xmlns:a16="http://schemas.microsoft.com/office/drawing/2014/main" val="774140479"/>
                    </a:ext>
                  </a:extLst>
                </a:gridCol>
                <a:gridCol w="844564">
                  <a:extLst>
                    <a:ext uri="{9D8B030D-6E8A-4147-A177-3AD203B41FA5}">
                      <a16:colId xmlns:a16="http://schemas.microsoft.com/office/drawing/2014/main" val="2980531358"/>
                    </a:ext>
                  </a:extLst>
                </a:gridCol>
                <a:gridCol w="960137">
                  <a:extLst>
                    <a:ext uri="{9D8B030D-6E8A-4147-A177-3AD203B41FA5}">
                      <a16:colId xmlns:a16="http://schemas.microsoft.com/office/drawing/2014/main" val="1174381046"/>
                    </a:ext>
                  </a:extLst>
                </a:gridCol>
              </a:tblGrid>
              <a:tr h="238088">
                <a:tc gridSpan="4">
                  <a:txBody>
                    <a:bodyPr/>
                    <a:lstStyle/>
                    <a:p>
                      <a:pPr algn="ctr" fontAlgn="ctr"/>
                      <a:r>
                        <a:rPr lang="en-CA" sz="1200" b="1" i="0" u="none" strike="noStrike">
                          <a:solidFill>
                            <a:srgbClr val="FFFFFF"/>
                          </a:solidFill>
                          <a:effectLst/>
                          <a:latin typeface="+mn-lt"/>
                        </a:rPr>
                        <a:t>Assumptions</a:t>
                      </a:r>
                      <a:endParaRPr lang="en-CA" sz="1400" b="1" i="0" u="none" strike="noStrike">
                        <a:solidFill>
                          <a:srgbClr val="FFFFFF"/>
                        </a:solidFill>
                        <a:effectLst/>
                        <a:latin typeface="+mn-lt"/>
                      </a:endParaRPr>
                    </a:p>
                  </a:txBody>
                  <a:tcPr marL="0" marR="0" marT="0" marB="0" anchor="ctr" anchorCtr="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02C23"/>
                    </a:solidFill>
                  </a:tcPr>
                </a:tc>
                <a:tc hMerge="1">
                  <a:txBody>
                    <a:bodyPr/>
                    <a:lstStyle/>
                    <a:p>
                      <a:endParaRPr/>
                    </a:p>
                  </a:txBody>
                  <a:tcPr marL="0" marR="0" marT="0" marB="0" anchor="ctr" anchorCtr="1">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02C23"/>
                    </a:solidFill>
                  </a:tcPr>
                </a:tc>
                <a:tc hMerge="1">
                  <a:txBody>
                    <a:bodyPr/>
                    <a:lstStyle/>
                    <a:p>
                      <a:endParaRPr/>
                    </a:p>
                  </a:txBody>
                  <a:tcPr marL="0" marR="0" marT="0" marB="0" anchor="ctr" anchorCtr="1">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02C23"/>
                    </a:solidFill>
                  </a:tcPr>
                </a:tc>
                <a:tc hMerge="1">
                  <a:txBody>
                    <a:bodyPr/>
                    <a:lstStyle/>
                    <a:p>
                      <a:endParaRPr/>
                    </a:p>
                  </a:txBody>
                  <a:tcPr marL="0" marR="0" marT="0" marB="0" anchor="ctr" anchorCtr="1">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02C23"/>
                    </a:solidFill>
                  </a:tcPr>
                </a:tc>
                <a:extLst>
                  <a:ext uri="{0D108BD9-81ED-4DB2-BD59-A6C34878D82A}">
                    <a16:rowId xmlns:a16="http://schemas.microsoft.com/office/drawing/2014/main" val="1779093120"/>
                  </a:ext>
                </a:extLst>
              </a:tr>
              <a:tr h="576424">
                <a:tc>
                  <a:txBody>
                    <a:bodyPr/>
                    <a:lstStyle/>
                    <a:p>
                      <a:pPr algn="l" fontAlgn="ctr"/>
                      <a:r>
                        <a:rPr lang="en-CA" sz="1100" b="1" i="0" u="none" strike="noStrike">
                          <a:solidFill>
                            <a:schemeClr val="tx2"/>
                          </a:solidFill>
                          <a:effectLst/>
                          <a:latin typeface="+mn-lt"/>
                        </a:rPr>
                        <a:t> Key Metrics</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F7ED"/>
                    </a:solidFill>
                  </a:tcPr>
                </a:tc>
                <a:tc>
                  <a:txBody>
                    <a:bodyPr/>
                    <a:lstStyle/>
                    <a:p>
                      <a:pPr algn="ctr" fontAlgn="ctr"/>
                      <a:r>
                        <a:rPr lang="en-CA" sz="1100" b="1" i="0" u="none" strike="noStrike">
                          <a:solidFill>
                            <a:schemeClr val="tx2"/>
                          </a:solidFill>
                          <a:effectLst/>
                          <a:latin typeface="+mn-lt"/>
                        </a:rPr>
                        <a:t>Historical Average (5yr)</a:t>
                      </a: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F7ED"/>
                    </a:solidFill>
                  </a:tcPr>
                </a:tc>
                <a:tc>
                  <a:txBody>
                    <a:bodyPr/>
                    <a:lstStyle/>
                    <a:p>
                      <a:pPr algn="ctr" fontAlgn="ctr"/>
                      <a:r>
                        <a:rPr lang="en-CA" sz="1100" b="1" i="0" u="none" strike="noStrike">
                          <a:solidFill>
                            <a:schemeClr val="tx2"/>
                          </a:solidFill>
                          <a:effectLst/>
                          <a:latin typeface="+mn-lt"/>
                        </a:rPr>
                        <a:t>Projected Average (10yr)</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F7ED"/>
                    </a:solidFill>
                  </a:tcPr>
                </a:tc>
                <a:tc>
                  <a:txBody>
                    <a:bodyPr/>
                    <a:lstStyle/>
                    <a:p>
                      <a:pPr algn="ctr" fontAlgn="ctr"/>
                      <a:r>
                        <a:rPr lang="en-CA" sz="1100" b="1" i="0" u="none" strike="noStrike">
                          <a:solidFill>
                            <a:schemeClr val="tx2"/>
                          </a:solidFill>
                          <a:effectLst/>
                          <a:latin typeface="+mn-lt"/>
                        </a:rPr>
                        <a:t>Projected Average (5y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2985477797"/>
                  </a:ext>
                </a:extLst>
              </a:tr>
              <a:tr h="187965">
                <a:tc>
                  <a:txBody>
                    <a:bodyPr/>
                    <a:lstStyle/>
                    <a:p>
                      <a:pPr algn="l" fontAlgn="ctr"/>
                      <a:r>
                        <a:rPr lang="en-CA" sz="1100" b="1" i="0" u="none" strike="noStrike">
                          <a:solidFill>
                            <a:schemeClr val="tx2"/>
                          </a:solidFill>
                          <a:effectLst/>
                          <a:latin typeface="+mn-lt"/>
                        </a:rPr>
                        <a:t> Revenue</a:t>
                      </a:r>
                    </a:p>
                  </a:txBody>
                  <a:tcPr marL="0" marR="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BF7ED"/>
                    </a:solidFill>
                  </a:tcPr>
                </a:tc>
                <a:tc>
                  <a:txBody>
                    <a:bodyPr/>
                    <a:lstStyle/>
                    <a:p>
                      <a:pPr algn="ctr" fontAlgn="ctr"/>
                      <a:r>
                        <a:rPr lang="en-CA" sz="1100" b="0" i="0" u="none" strike="noStrike">
                          <a:solidFill>
                            <a:schemeClr val="tx2"/>
                          </a:solidFill>
                          <a:effectLst/>
                          <a:latin typeface="+mn-lt"/>
                        </a:rPr>
                        <a:t>38.96%</a:t>
                      </a:r>
                    </a:p>
                  </a:txBody>
                  <a:tcPr marL="0" marR="0" marT="0" marB="0" anchor="ct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BF7ED"/>
                    </a:solidFill>
                  </a:tcPr>
                </a:tc>
                <a:tc>
                  <a:txBody>
                    <a:bodyPr/>
                    <a:lstStyle/>
                    <a:p>
                      <a:pPr algn="ctr" fontAlgn="ctr"/>
                      <a:r>
                        <a:rPr lang="en-CA" sz="1100" b="0" i="0" u="none" strike="noStrike">
                          <a:solidFill>
                            <a:schemeClr val="tx2"/>
                          </a:solidFill>
                          <a:effectLst/>
                          <a:latin typeface="+mn-lt"/>
                        </a:rPr>
                        <a:t>21.61%</a:t>
                      </a: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BF7ED"/>
                    </a:solidFill>
                  </a:tcPr>
                </a:tc>
                <a:tc>
                  <a:txBody>
                    <a:bodyPr/>
                    <a:lstStyle/>
                    <a:p>
                      <a:pPr algn="ctr" fontAlgn="ctr"/>
                      <a:r>
                        <a:rPr lang="en-CA" sz="1100" b="0" i="0" u="none" strike="noStrike">
                          <a:solidFill>
                            <a:schemeClr val="tx2"/>
                          </a:solidFill>
                          <a:effectLst/>
                          <a:latin typeface="+mn-lt"/>
                        </a:rPr>
                        <a:t>28.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2120648957"/>
                  </a:ext>
                </a:extLst>
              </a:tr>
              <a:tr h="187965">
                <a:tc>
                  <a:txBody>
                    <a:bodyPr/>
                    <a:lstStyle/>
                    <a:p>
                      <a:pPr algn="l" fontAlgn="b"/>
                      <a:r>
                        <a:rPr lang="en-CA" sz="1100" b="1" i="0" u="none" strike="noStrike">
                          <a:solidFill>
                            <a:schemeClr val="tx2"/>
                          </a:solidFill>
                          <a:effectLst/>
                          <a:latin typeface="+mn-lt"/>
                        </a:rPr>
                        <a:t> COGS</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34.96%</a:t>
                      </a:r>
                    </a:p>
                  </a:txBody>
                  <a:tcPr marL="0" marR="0" marT="0" marB="0" anchor="b">
                    <a:lnL>
                      <a:noFill/>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23.15%</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23.30%</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172726121"/>
                  </a:ext>
                </a:extLst>
              </a:tr>
              <a:tr h="187965">
                <a:tc>
                  <a:txBody>
                    <a:bodyPr/>
                    <a:lstStyle/>
                    <a:p>
                      <a:pPr algn="l" fontAlgn="b"/>
                      <a:r>
                        <a:rPr lang="en-CA" sz="1100" b="1" i="0" u="none" strike="noStrike">
                          <a:solidFill>
                            <a:schemeClr val="tx2"/>
                          </a:solidFill>
                          <a:effectLst/>
                          <a:latin typeface="+mn-lt"/>
                        </a:rPr>
                        <a:t> Gross Margin</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65.04%</a:t>
                      </a:r>
                    </a:p>
                  </a:txBody>
                  <a:tcPr marL="0" marR="0" marT="0" marB="0" anchor="b">
                    <a:lnL>
                      <a:noFill/>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77.95%</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79.4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986926226"/>
                  </a:ext>
                </a:extLst>
              </a:tr>
              <a:tr h="187965">
                <a:tc>
                  <a:txBody>
                    <a:bodyPr/>
                    <a:lstStyle/>
                    <a:p>
                      <a:pPr algn="l" fontAlgn="b"/>
                      <a:r>
                        <a:rPr lang="en-CA" sz="1100" b="1" i="0" u="none" strike="noStrike">
                          <a:solidFill>
                            <a:schemeClr val="tx2"/>
                          </a:solidFill>
                          <a:effectLst/>
                          <a:latin typeface="+mn-lt"/>
                        </a:rPr>
                        <a:t> SG&amp;A</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38.03%</a:t>
                      </a:r>
                    </a:p>
                  </a:txBody>
                  <a:tcPr marL="0" marR="0" marT="0" marB="0" anchor="b">
                    <a:lnL>
                      <a:noFill/>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16.41%</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17.2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2978093742"/>
                  </a:ext>
                </a:extLst>
              </a:tr>
              <a:tr h="187965">
                <a:tc>
                  <a:txBody>
                    <a:bodyPr/>
                    <a:lstStyle/>
                    <a:p>
                      <a:pPr algn="l" fontAlgn="b"/>
                      <a:r>
                        <a:rPr lang="en-CA" sz="1100" b="1" i="0" u="none" strike="noStrike">
                          <a:solidFill>
                            <a:schemeClr val="tx2"/>
                          </a:solidFill>
                          <a:effectLst/>
                          <a:latin typeface="+mn-lt"/>
                        </a:rPr>
                        <a:t> EBITDA Margin</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24.66%</a:t>
                      </a:r>
                    </a:p>
                  </a:txBody>
                  <a:tcPr marL="0" marR="0" marT="0" marB="0" anchor="b">
                    <a:lnL>
                      <a:noFill/>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60.30%</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60.54%</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2648352492"/>
                  </a:ext>
                </a:extLst>
              </a:tr>
              <a:tr h="187965">
                <a:tc>
                  <a:txBody>
                    <a:bodyPr/>
                    <a:lstStyle/>
                    <a:p>
                      <a:pPr algn="l" fontAlgn="b"/>
                      <a:r>
                        <a:rPr lang="en-CA" sz="1100" b="1" i="0" u="none" strike="noStrike">
                          <a:solidFill>
                            <a:schemeClr val="tx2"/>
                          </a:solidFill>
                          <a:effectLst/>
                          <a:latin typeface="+mn-lt"/>
                        </a:rPr>
                        <a:t> EBIT Margin</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8.88%</a:t>
                      </a:r>
                    </a:p>
                  </a:txBody>
                  <a:tcPr marL="0" marR="0" marT="0" marB="0" anchor="b">
                    <a:lnL>
                      <a:noFill/>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55.67%</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54.7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1729595573"/>
                  </a:ext>
                </a:extLst>
              </a:tr>
              <a:tr h="187965">
                <a:tc>
                  <a:txBody>
                    <a:bodyPr/>
                    <a:lstStyle/>
                    <a:p>
                      <a:pPr algn="l" fontAlgn="b"/>
                      <a:r>
                        <a:rPr lang="en-CA" sz="1100" b="1" i="0" u="none" strike="noStrike">
                          <a:solidFill>
                            <a:schemeClr val="tx2"/>
                          </a:solidFill>
                          <a:effectLst/>
                          <a:latin typeface="+mn-lt"/>
                        </a:rPr>
                        <a:t> CapEX</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0.15%</a:t>
                      </a:r>
                    </a:p>
                  </a:txBody>
                  <a:tcPr marL="0" marR="0" marT="0" marB="0" anchor="b">
                    <a:lnL>
                      <a:noFill/>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0.12%</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0.14%</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3892429604"/>
                  </a:ext>
                </a:extLst>
              </a:tr>
              <a:tr h="187965">
                <a:tc>
                  <a:txBody>
                    <a:bodyPr/>
                    <a:lstStyle/>
                    <a:p>
                      <a:pPr algn="l" fontAlgn="b"/>
                      <a:r>
                        <a:rPr lang="en-CA" sz="1100" b="1" i="0" u="none" strike="noStrike">
                          <a:solidFill>
                            <a:schemeClr val="tx2"/>
                          </a:solidFill>
                          <a:effectLst/>
                          <a:latin typeface="+mn-lt"/>
                        </a:rPr>
                        <a:t> Tax Rate</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7.14%</a:t>
                      </a:r>
                    </a:p>
                  </a:txBody>
                  <a:tcPr marL="0" marR="0" marT="0" marB="0" anchor="b">
                    <a:lnL>
                      <a:noFill/>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27.98%</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27.9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2582301509"/>
                  </a:ext>
                </a:extLst>
              </a:tr>
              <a:tr h="187965">
                <a:tc>
                  <a:txBody>
                    <a:bodyPr/>
                    <a:lstStyle/>
                    <a:p>
                      <a:pPr algn="l" fontAlgn="b"/>
                      <a:r>
                        <a:rPr lang="en-CA" sz="1100" b="1" i="0" u="none" strike="noStrike">
                          <a:solidFill>
                            <a:schemeClr val="tx2"/>
                          </a:solidFill>
                          <a:effectLst/>
                          <a:latin typeface="+mn-lt"/>
                        </a:rPr>
                        <a:t> D&amp;A</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1.13%</a:t>
                      </a:r>
                    </a:p>
                  </a:txBody>
                  <a:tcPr marL="0" marR="0" marT="0" marB="0" anchor="b">
                    <a:lnL>
                      <a:noFill/>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0.78%</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0.92%</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1593375588"/>
                  </a:ext>
                </a:extLst>
              </a:tr>
              <a:tr h="187965">
                <a:tc>
                  <a:txBody>
                    <a:bodyPr/>
                    <a:lstStyle/>
                    <a:p>
                      <a:pPr algn="l" fontAlgn="b"/>
                      <a:r>
                        <a:rPr lang="en-CA" sz="1100" b="1" i="0" u="none" strike="noStrike">
                          <a:solidFill>
                            <a:schemeClr val="tx2"/>
                          </a:solidFill>
                          <a:effectLst/>
                          <a:latin typeface="+mn-lt"/>
                        </a:rPr>
                        <a:t> NWC</a:t>
                      </a:r>
                    </a:p>
                  </a:txBody>
                  <a:tcPr marL="0" marR="0"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0.49%</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0.37%</a:t>
                      </a:r>
                    </a:p>
                  </a:txBody>
                  <a:tcPr marL="0" marR="0" marT="0" marB="0" anchor="b">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BF7ED"/>
                    </a:solidFill>
                  </a:tcPr>
                </a:tc>
                <a:tc>
                  <a:txBody>
                    <a:bodyPr/>
                    <a:lstStyle/>
                    <a:p>
                      <a:pPr algn="ctr" fontAlgn="b"/>
                      <a:r>
                        <a:rPr lang="en-CA" sz="1100" b="0" i="0" u="none" strike="noStrike">
                          <a:solidFill>
                            <a:schemeClr val="tx2"/>
                          </a:solidFill>
                          <a:effectLst/>
                          <a:latin typeface="+mn-lt"/>
                        </a:rPr>
                        <a:t>0.5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4190694254"/>
                  </a:ext>
                </a:extLst>
              </a:tr>
            </a:tbl>
          </a:graphicData>
        </a:graphic>
      </p:graphicFrame>
      <p:graphicFrame>
        <p:nvGraphicFramePr>
          <p:cNvPr id="6" name="Table 5">
            <a:extLst>
              <a:ext uri="{FF2B5EF4-FFF2-40B4-BE49-F238E27FC236}">
                <a16:creationId xmlns:a16="http://schemas.microsoft.com/office/drawing/2014/main" id="{0E2F5715-B9DD-735F-B05F-89D7634A141E}"/>
              </a:ext>
            </a:extLst>
          </p:cNvPr>
          <p:cNvGraphicFramePr>
            <a:graphicFrameLocks noGrp="1"/>
          </p:cNvGraphicFramePr>
          <p:nvPr>
            <p:extLst>
              <p:ext uri="{D42A27DB-BD31-4B8C-83A1-F6EECF244321}">
                <p14:modId xmlns:p14="http://schemas.microsoft.com/office/powerpoint/2010/main" val="1642228874"/>
              </p:ext>
            </p:extLst>
          </p:nvPr>
        </p:nvGraphicFramePr>
        <p:xfrm>
          <a:off x="1760104" y="4220443"/>
          <a:ext cx="5479294" cy="1631950"/>
        </p:xfrm>
        <a:graphic>
          <a:graphicData uri="http://schemas.openxmlformats.org/drawingml/2006/table">
            <a:tbl>
              <a:tblPr/>
              <a:tblGrid>
                <a:gridCol w="1187352">
                  <a:extLst>
                    <a:ext uri="{9D8B030D-6E8A-4147-A177-3AD203B41FA5}">
                      <a16:colId xmlns:a16="http://schemas.microsoft.com/office/drawing/2014/main" val="3427049555"/>
                    </a:ext>
                  </a:extLst>
                </a:gridCol>
                <a:gridCol w="1399820">
                  <a:extLst>
                    <a:ext uri="{9D8B030D-6E8A-4147-A177-3AD203B41FA5}">
                      <a16:colId xmlns:a16="http://schemas.microsoft.com/office/drawing/2014/main" val="3557990781"/>
                    </a:ext>
                  </a:extLst>
                </a:gridCol>
                <a:gridCol w="1462876">
                  <a:extLst>
                    <a:ext uri="{9D8B030D-6E8A-4147-A177-3AD203B41FA5}">
                      <a16:colId xmlns:a16="http://schemas.microsoft.com/office/drawing/2014/main" val="3701839964"/>
                    </a:ext>
                  </a:extLst>
                </a:gridCol>
                <a:gridCol w="1429246">
                  <a:extLst>
                    <a:ext uri="{9D8B030D-6E8A-4147-A177-3AD203B41FA5}">
                      <a16:colId xmlns:a16="http://schemas.microsoft.com/office/drawing/2014/main" val="2164872885"/>
                    </a:ext>
                  </a:extLst>
                </a:gridCol>
              </a:tblGrid>
              <a:tr h="241300">
                <a:tc gridSpan="4">
                  <a:txBody>
                    <a:bodyPr/>
                    <a:lstStyle/>
                    <a:p>
                      <a:pPr algn="ctr" fontAlgn="ctr"/>
                      <a:r>
                        <a:rPr lang="en-CA" sz="1200" b="1" i="0" u="none" strike="noStrike">
                          <a:solidFill>
                            <a:srgbClr val="FFFFFF"/>
                          </a:solidFill>
                          <a:effectLst/>
                          <a:latin typeface="+mn-lt"/>
                        </a:rPr>
                        <a:t> Assumption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02C23"/>
                    </a:solidFill>
                  </a:tcPr>
                </a:tc>
                <a:tc hMerge="1">
                  <a:txBody>
                    <a:bodyPr/>
                    <a:lstStyle/>
                    <a:p>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02C23"/>
                    </a:solidFill>
                  </a:tcPr>
                </a:tc>
                <a:tc hMerge="1">
                  <a:txBody>
                    <a:bodyPr/>
                    <a:lstStyle/>
                    <a:p>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02C23"/>
                    </a:solidFill>
                  </a:tcPr>
                </a:tc>
                <a:tc hMerge="1">
                  <a:txBody>
                    <a:bodyPr/>
                    <a:lstStyle/>
                    <a:p>
                      <a:endParaRP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02C23"/>
                    </a:solidFill>
                  </a:tcPr>
                </a:tc>
                <a:extLst>
                  <a:ext uri="{0D108BD9-81ED-4DB2-BD59-A6C34878D82A}">
                    <a16:rowId xmlns:a16="http://schemas.microsoft.com/office/drawing/2014/main" val="2580002577"/>
                  </a:ext>
                </a:extLst>
              </a:tr>
              <a:tr h="209550">
                <a:tc>
                  <a:txBody>
                    <a:bodyPr/>
                    <a:lstStyle/>
                    <a:p>
                      <a:pPr algn="l" fontAlgn="ctr"/>
                      <a:r>
                        <a:rPr lang="en-CA" sz="1100" b="1" i="0" u="none" strike="noStrike">
                          <a:solidFill>
                            <a:schemeClr val="tx2"/>
                          </a:solidFill>
                          <a:effectLst/>
                          <a:latin typeface="+mn-lt"/>
                        </a:rPr>
                        <a:t> Key Metrics</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F7ED"/>
                    </a:solidFill>
                  </a:tcPr>
                </a:tc>
                <a:tc>
                  <a:txBody>
                    <a:bodyPr/>
                    <a:lstStyle/>
                    <a:p>
                      <a:pPr algn="l" fontAlgn="ctr"/>
                      <a:r>
                        <a:rPr lang="en-CA" sz="1100" b="0" i="0" u="none" strike="noStrike">
                          <a:solidFill>
                            <a:schemeClr val="tx2"/>
                          </a:solidFill>
                          <a:effectLst/>
                          <a:latin typeface="+mn-lt"/>
                        </a:rPr>
                        <a:t> </a:t>
                      </a: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F7ED"/>
                    </a:solidFill>
                  </a:tcPr>
                </a:tc>
                <a:tc>
                  <a:txBody>
                    <a:bodyPr/>
                    <a:lstStyle/>
                    <a:p>
                      <a:pPr algn="l" fontAlgn="ctr"/>
                      <a:r>
                        <a:rPr lang="en-CA" sz="1100" b="0" i="0" u="none" strike="noStrike">
                          <a:solidFill>
                            <a:schemeClr val="tx2"/>
                          </a:solidFill>
                          <a:effectLst/>
                          <a:latin typeface="+mn-lt"/>
                        </a:rPr>
                        <a:t> </a:t>
                      </a: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F7ED"/>
                    </a:solidFill>
                  </a:tcPr>
                </a:tc>
                <a:tc>
                  <a:txBody>
                    <a:bodyPr/>
                    <a:lstStyle/>
                    <a:p>
                      <a:pPr algn="ctr" fontAlgn="ctr"/>
                      <a:r>
                        <a:rPr lang="en-CA" sz="1100" b="1" i="0" u="none" strike="noStrike">
                          <a:solidFill>
                            <a:schemeClr val="tx2"/>
                          </a:solidFill>
                          <a:effectLst/>
                          <a:latin typeface="+mn-lt"/>
                        </a:rPr>
                        <a:t>Value</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433066020"/>
                  </a:ext>
                </a:extLst>
              </a:tr>
              <a:tr h="219075">
                <a:tc gridSpan="2">
                  <a:txBody>
                    <a:bodyPr/>
                    <a:lstStyle/>
                    <a:p>
                      <a:pPr algn="l" fontAlgn="ctr"/>
                      <a:r>
                        <a:rPr lang="en-CA" sz="1100" b="1" i="0" u="none" strike="noStrike">
                          <a:solidFill>
                            <a:schemeClr val="tx2"/>
                          </a:solidFill>
                          <a:effectLst/>
                          <a:latin typeface="+mn-lt"/>
                        </a:rPr>
                        <a:t> Terminal Growth Rate</a:t>
                      </a:r>
                    </a:p>
                  </a:txBody>
                  <a:tcPr marL="0" marR="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BF7ED"/>
                    </a:solidFill>
                  </a:tcPr>
                </a:tc>
                <a:tc hMerge="1">
                  <a:txBody>
                    <a:bodyPr/>
                    <a:lstStyle/>
                    <a:p>
                      <a:endParaRPr lang="en-US"/>
                    </a:p>
                  </a:txBody>
                  <a:tcPr/>
                </a:tc>
                <a:tc>
                  <a:txBody>
                    <a:bodyPr/>
                    <a:lstStyle/>
                    <a:p>
                      <a:pPr algn="l" fontAlgn="b"/>
                      <a:endParaRPr lang="en-CA" sz="1100" b="0" i="0" u="none" strike="noStrike">
                        <a:solidFill>
                          <a:schemeClr val="tx2"/>
                        </a:solidFill>
                        <a:effectLst/>
                        <a:latin typeface="+mn-lt"/>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BF7ED"/>
                    </a:solidFill>
                  </a:tcPr>
                </a:tc>
                <a:tc>
                  <a:txBody>
                    <a:bodyPr/>
                    <a:lstStyle/>
                    <a:p>
                      <a:pPr algn="ctr" fontAlgn="ctr"/>
                      <a:r>
                        <a:rPr lang="en-CA" sz="1100" b="0" i="0" u="none" strike="noStrike">
                          <a:solidFill>
                            <a:schemeClr val="tx2"/>
                          </a:solidFill>
                          <a:effectLst/>
                          <a:latin typeface="+mn-lt"/>
                        </a:rPr>
                        <a:t>4.00%</a:t>
                      </a: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66405686"/>
                  </a:ext>
                </a:extLst>
              </a:tr>
              <a:tr h="228600">
                <a:tc gridSpan="3">
                  <a:txBody>
                    <a:bodyPr/>
                    <a:lstStyle/>
                    <a:p>
                      <a:pPr algn="l" fontAlgn="ctr"/>
                      <a:r>
                        <a:rPr lang="en-CA" sz="1100" b="1" i="0" u="none" strike="noStrike">
                          <a:solidFill>
                            <a:schemeClr val="tx2"/>
                          </a:solidFill>
                          <a:effectLst/>
                          <a:latin typeface="+mn-lt"/>
                        </a:rPr>
                        <a:t> US GDP LT Growth Rate (1948-2024)</a:t>
                      </a: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BF7ED"/>
                    </a:solidFill>
                  </a:tcPr>
                </a:tc>
                <a:tc hMerge="1">
                  <a:txBody>
                    <a:bodyPr/>
                    <a:lstStyle/>
                    <a:p>
                      <a:endParaRPr lang="en-US"/>
                    </a:p>
                  </a:txBody>
                  <a:tcPr/>
                </a:tc>
                <a:tc hMerge="1">
                  <a:txBody>
                    <a:bodyPr/>
                    <a:lstStyle/>
                    <a:p>
                      <a:endParaRPr lang="en-US"/>
                    </a:p>
                  </a:txBody>
                  <a:tcPr/>
                </a:tc>
                <a:tc>
                  <a:txBody>
                    <a:bodyPr/>
                    <a:lstStyle/>
                    <a:p>
                      <a:pPr algn="ctr" fontAlgn="ctr"/>
                      <a:r>
                        <a:rPr lang="en-CA" sz="1100" b="0" i="0" u="none" strike="noStrike">
                          <a:solidFill>
                            <a:schemeClr val="tx2"/>
                          </a:solidFill>
                          <a:effectLst/>
                          <a:latin typeface="+mn-lt"/>
                        </a:rPr>
                        <a:t>3.20%</a:t>
                      </a: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1506271198"/>
                  </a:ext>
                </a:extLst>
              </a:tr>
              <a:tr h="190500">
                <a:tc>
                  <a:txBody>
                    <a:bodyPr/>
                    <a:lstStyle/>
                    <a:p>
                      <a:pPr algn="l" fontAlgn="ctr"/>
                      <a:r>
                        <a:rPr lang="en-CA" sz="1100" b="1" i="0" u="none" strike="noStrike">
                          <a:solidFill>
                            <a:schemeClr val="tx2"/>
                          </a:solidFill>
                          <a:effectLst/>
                          <a:latin typeface="+mn-lt"/>
                        </a:rPr>
                        <a:t> TV WACC</a:t>
                      </a: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BF7ED"/>
                    </a:solidFill>
                  </a:tcPr>
                </a:tc>
                <a:tc>
                  <a:txBody>
                    <a:bodyPr/>
                    <a:lstStyle/>
                    <a:p>
                      <a:pPr algn="l" fontAlgn="b"/>
                      <a:endParaRPr lang="en-CA" sz="1100" b="0" i="0" u="none" strike="noStrike">
                        <a:solidFill>
                          <a:schemeClr val="tx2"/>
                        </a:solidFill>
                        <a:effectLst/>
                        <a:latin typeface="+mn-lt"/>
                      </a:endParaRPr>
                    </a:p>
                  </a:txBody>
                  <a:tcPr marL="0" marR="0" marT="0" marB="0" anchor="b">
                    <a:lnL>
                      <a:noFill/>
                    </a:lnL>
                    <a:lnR>
                      <a:noFill/>
                    </a:lnR>
                    <a:lnT>
                      <a:noFill/>
                    </a:lnT>
                    <a:lnB>
                      <a:noFill/>
                    </a:lnB>
                    <a:lnTlToBr w="12700" cmpd="sng">
                      <a:noFill/>
                      <a:prstDash val="solid"/>
                    </a:lnTlToBr>
                    <a:lnBlToTr w="12700" cmpd="sng">
                      <a:noFill/>
                      <a:prstDash val="solid"/>
                    </a:lnBlToTr>
                    <a:solidFill>
                      <a:srgbClr val="FBF7ED"/>
                    </a:solidFill>
                  </a:tcPr>
                </a:tc>
                <a:tc>
                  <a:txBody>
                    <a:bodyPr/>
                    <a:lstStyle/>
                    <a:p>
                      <a:pPr algn="l" fontAlgn="b"/>
                      <a:endParaRPr lang="en-CA" sz="1100" b="0" i="0" u="none" strike="noStrike">
                        <a:solidFill>
                          <a:schemeClr val="tx2"/>
                        </a:solidFill>
                        <a:effectLst/>
                        <a:latin typeface="+mn-lt"/>
                      </a:endParaRPr>
                    </a:p>
                  </a:txBody>
                  <a:tcPr marL="0" marR="0" marT="0" marB="0" anchor="b">
                    <a:lnL>
                      <a:noFill/>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ctr"/>
                      <a:r>
                        <a:rPr lang="en-CA" sz="1100" b="0" i="0" u="none" strike="noStrike">
                          <a:solidFill>
                            <a:schemeClr val="tx2"/>
                          </a:solidFill>
                          <a:effectLst/>
                          <a:latin typeface="+mn-lt"/>
                        </a:rPr>
                        <a:t>13.19%</a:t>
                      </a: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840935910"/>
                  </a:ext>
                </a:extLst>
              </a:tr>
              <a:tr h="180975">
                <a:tc gridSpan="2">
                  <a:txBody>
                    <a:bodyPr/>
                    <a:lstStyle/>
                    <a:p>
                      <a:pPr algn="l" fontAlgn="ctr"/>
                      <a:r>
                        <a:rPr lang="en-CA" sz="1100" b="1" i="0" u="none" strike="noStrike">
                          <a:solidFill>
                            <a:schemeClr val="tx2"/>
                          </a:solidFill>
                          <a:effectLst/>
                          <a:latin typeface="+mn-lt"/>
                        </a:rPr>
                        <a:t> EV/EBITDA Multiple</a:t>
                      </a: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BF7ED"/>
                    </a:solidFill>
                  </a:tcPr>
                </a:tc>
                <a:tc hMerge="1">
                  <a:txBody>
                    <a:bodyPr/>
                    <a:lstStyle/>
                    <a:p>
                      <a:endParaRPr lang="en-US"/>
                    </a:p>
                  </a:txBody>
                  <a:tcPr/>
                </a:tc>
                <a:tc>
                  <a:txBody>
                    <a:bodyPr/>
                    <a:lstStyle/>
                    <a:p>
                      <a:pPr algn="l" fontAlgn="b"/>
                      <a:endParaRPr lang="en-CA" sz="1100" b="0" i="0" u="none" strike="noStrike">
                        <a:solidFill>
                          <a:schemeClr val="tx2"/>
                        </a:solidFill>
                        <a:effectLst/>
                        <a:latin typeface="+mn-lt"/>
                      </a:endParaRPr>
                    </a:p>
                  </a:txBody>
                  <a:tcPr marL="0" marR="0" marT="0" marB="0" anchor="b">
                    <a:lnL>
                      <a:noFill/>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ctr"/>
                      <a:r>
                        <a:rPr lang="en-CA" sz="1100" b="0" i="0" u="none" strike="noStrike">
                          <a:solidFill>
                            <a:schemeClr val="tx2"/>
                          </a:solidFill>
                          <a:effectLst/>
                          <a:latin typeface="+mn-lt"/>
                        </a:rPr>
                        <a:t>14.9x</a:t>
                      </a: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485038539"/>
                  </a:ext>
                </a:extLst>
              </a:tr>
              <a:tr h="180975">
                <a:tc gridSpan="2">
                  <a:txBody>
                    <a:bodyPr/>
                    <a:lstStyle/>
                    <a:p>
                      <a:pPr algn="l" fontAlgn="ctr"/>
                      <a:r>
                        <a:rPr lang="en-CA" sz="1100" b="1" i="0" u="none" strike="noStrike">
                          <a:solidFill>
                            <a:schemeClr val="tx2"/>
                          </a:solidFill>
                          <a:effectLst/>
                          <a:latin typeface="+mn-lt"/>
                        </a:rPr>
                        <a:t> Terminal Year EBITDA</a:t>
                      </a: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BF7ED"/>
                    </a:solidFill>
                  </a:tcPr>
                </a:tc>
                <a:tc hMerge="1">
                  <a:txBody>
                    <a:bodyPr/>
                    <a:lstStyle/>
                    <a:p>
                      <a:endParaRPr lang="en-US"/>
                    </a:p>
                  </a:txBody>
                  <a:tcPr/>
                </a:tc>
                <a:tc>
                  <a:txBody>
                    <a:bodyPr/>
                    <a:lstStyle/>
                    <a:p>
                      <a:pPr algn="l" fontAlgn="b"/>
                      <a:endParaRPr lang="en-CA" sz="1100" b="0" i="0" u="none" strike="noStrike">
                        <a:solidFill>
                          <a:schemeClr val="tx2"/>
                        </a:solidFill>
                        <a:effectLst/>
                        <a:latin typeface="+mn-lt"/>
                      </a:endParaRPr>
                    </a:p>
                  </a:txBody>
                  <a:tcPr marL="0" marR="0" marT="0" marB="0" anchor="b">
                    <a:lnL>
                      <a:noFill/>
                    </a:lnL>
                    <a:lnR>
                      <a:noFill/>
                    </a:lnR>
                    <a:lnT>
                      <a:noFill/>
                    </a:lnT>
                    <a:lnB>
                      <a:noFill/>
                    </a:lnB>
                    <a:lnTlToBr w="12700" cmpd="sng">
                      <a:noFill/>
                      <a:prstDash val="solid"/>
                    </a:lnTlToBr>
                    <a:lnBlToTr w="12700" cmpd="sng">
                      <a:noFill/>
                      <a:prstDash val="solid"/>
                    </a:lnBlToTr>
                    <a:solidFill>
                      <a:srgbClr val="FBF7ED"/>
                    </a:solidFill>
                  </a:tcPr>
                </a:tc>
                <a:tc>
                  <a:txBody>
                    <a:bodyPr/>
                    <a:lstStyle/>
                    <a:p>
                      <a:pPr algn="ctr" fontAlgn="ctr"/>
                      <a:r>
                        <a:rPr lang="en-CA" sz="1100" b="0" i="0" u="none" strike="noStrike">
                          <a:solidFill>
                            <a:schemeClr val="tx2"/>
                          </a:solidFill>
                          <a:effectLst/>
                          <a:latin typeface="+mn-lt"/>
                        </a:rPr>
                        <a:t>17,144.26 </a:t>
                      </a: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589698129"/>
                  </a:ext>
                </a:extLst>
              </a:tr>
              <a:tr h="180975">
                <a:tc gridSpan="2">
                  <a:txBody>
                    <a:bodyPr/>
                    <a:lstStyle/>
                    <a:p>
                      <a:pPr algn="l" fontAlgn="ctr"/>
                      <a:r>
                        <a:rPr lang="en-CA" sz="1100" b="1" i="0" u="none" strike="noStrike">
                          <a:solidFill>
                            <a:schemeClr val="tx2"/>
                          </a:solidFill>
                          <a:effectLst/>
                          <a:latin typeface="+mn-lt"/>
                        </a:rPr>
                        <a:t> Dilluted Shares Outstanding</a:t>
                      </a:r>
                    </a:p>
                  </a:txBody>
                  <a:tcPr marL="0" marR="0" marT="0" marB="0" anchor="ct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BF7ED"/>
                    </a:solidFill>
                  </a:tcPr>
                </a:tc>
                <a:tc hMerge="1">
                  <a:txBody>
                    <a:bodyPr/>
                    <a:lstStyle/>
                    <a:p>
                      <a:endParaRPr lang="en-US"/>
                    </a:p>
                  </a:txBody>
                  <a:tcPr/>
                </a:tc>
                <a:tc>
                  <a:txBody>
                    <a:bodyPr/>
                    <a:lstStyle/>
                    <a:p>
                      <a:pPr algn="l" fontAlgn="b"/>
                      <a:r>
                        <a:rPr lang="en-CA" sz="1100" b="0" i="0" u="none" strike="noStrike">
                          <a:solidFill>
                            <a:schemeClr val="tx2"/>
                          </a:solidFill>
                          <a:effectLst/>
                          <a:latin typeface="+mn-lt"/>
                        </a:rPr>
                        <a:t> </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BF7ED"/>
                    </a:solidFill>
                  </a:tcPr>
                </a:tc>
                <a:tc>
                  <a:txBody>
                    <a:bodyPr/>
                    <a:lstStyle/>
                    <a:p>
                      <a:pPr algn="ctr" fontAlgn="ctr"/>
                      <a:r>
                        <a:rPr lang="en-CA" sz="1100" b="0" i="0" u="none" strike="noStrike">
                          <a:solidFill>
                            <a:schemeClr val="tx2"/>
                          </a:solidFill>
                          <a:effectLst/>
                          <a:latin typeface="+mn-lt"/>
                        </a:rPr>
                        <a:t>343.84</a:t>
                      </a:r>
                    </a:p>
                  </a:txBody>
                  <a:tcPr marL="0" marR="0" marT="0" marB="0" anchor="ct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BF7ED"/>
                    </a:solidFill>
                  </a:tcPr>
                </a:tc>
                <a:extLst>
                  <a:ext uri="{0D108BD9-81ED-4DB2-BD59-A6C34878D82A}">
                    <a16:rowId xmlns:a16="http://schemas.microsoft.com/office/drawing/2014/main" val="3719581288"/>
                  </a:ext>
                </a:extLst>
              </a:tr>
            </a:tbl>
          </a:graphicData>
        </a:graphic>
      </p:graphicFrame>
    </p:spTree>
    <p:extLst>
      <p:ext uri="{BB962C8B-B14F-4D97-AF65-F5344CB8AC3E}">
        <p14:creationId xmlns:p14="http://schemas.microsoft.com/office/powerpoint/2010/main" val="2775590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62F81-6FF6-40FB-41C4-2FE7E009D093}"/>
            </a:ext>
          </a:extLst>
        </p:cNvPr>
        <p:cNvGrpSpPr/>
        <p:nvPr/>
      </p:nvGrpSpPr>
      <p:grpSpPr>
        <a:xfrm>
          <a:off x="0" y="0"/>
          <a:ext cx="0" cy="0"/>
          <a:chOff x="0" y="0"/>
          <a:chExt cx="0" cy="0"/>
        </a:xfrm>
      </p:grpSpPr>
      <p:sp>
        <p:nvSpPr>
          <p:cNvPr id="8" name="Text Placeholder 7">
            <a:extLst>
              <a:ext uri="{FF2B5EF4-FFF2-40B4-BE49-F238E27FC236}">
                <a16:creationId xmlns:a16="http://schemas.microsoft.com/office/drawing/2014/main" id="{0A22C6E6-660B-8007-1A90-0DC3C763A338}"/>
              </a:ext>
            </a:extLst>
          </p:cNvPr>
          <p:cNvSpPr>
            <a:spLocks noGrp="1"/>
          </p:cNvSpPr>
          <p:nvPr>
            <p:ph type="body" sz="quarter" idx="21"/>
          </p:nvPr>
        </p:nvSpPr>
        <p:spPr/>
        <p:txBody>
          <a:bodyPr/>
          <a:lstStyle/>
          <a:p>
            <a:r>
              <a:rPr lang="en-CA"/>
              <a:t>Unlocking Intrinsic Value</a:t>
            </a:r>
          </a:p>
        </p:txBody>
      </p:sp>
      <p:sp>
        <p:nvSpPr>
          <p:cNvPr id="5" name="Title 4">
            <a:extLst>
              <a:ext uri="{FF2B5EF4-FFF2-40B4-BE49-F238E27FC236}">
                <a16:creationId xmlns:a16="http://schemas.microsoft.com/office/drawing/2014/main" id="{56392033-8A48-6A1E-E5B9-E9B71A629ECB}"/>
              </a:ext>
            </a:extLst>
          </p:cNvPr>
          <p:cNvSpPr>
            <a:spLocks noGrp="1"/>
          </p:cNvSpPr>
          <p:nvPr>
            <p:ph type="title"/>
          </p:nvPr>
        </p:nvSpPr>
        <p:spPr/>
        <p:txBody>
          <a:bodyPr/>
          <a:lstStyle/>
          <a:p>
            <a:r>
              <a:rPr lang="en-CA"/>
              <a:t>WACC Calculation   </a:t>
            </a:r>
          </a:p>
        </p:txBody>
      </p:sp>
      <p:grpSp>
        <p:nvGrpSpPr>
          <p:cNvPr id="4" name="Group 3">
            <a:extLst>
              <a:ext uri="{FF2B5EF4-FFF2-40B4-BE49-F238E27FC236}">
                <a16:creationId xmlns:a16="http://schemas.microsoft.com/office/drawing/2014/main" id="{0CD23ABA-7A66-58B3-F735-7091E3E5B9A5}"/>
              </a:ext>
            </a:extLst>
          </p:cNvPr>
          <p:cNvGrpSpPr/>
          <p:nvPr/>
        </p:nvGrpSpPr>
        <p:grpSpPr>
          <a:xfrm>
            <a:off x="90004" y="1476155"/>
            <a:ext cx="8815483" cy="3905689"/>
            <a:chOff x="90005" y="1357664"/>
            <a:chExt cx="8815483" cy="3905689"/>
          </a:xfrm>
        </p:grpSpPr>
        <p:sp>
          <p:nvSpPr>
            <p:cNvPr id="25" name="Rectangle 24">
              <a:extLst>
                <a:ext uri="{FF2B5EF4-FFF2-40B4-BE49-F238E27FC236}">
                  <a16:creationId xmlns:a16="http://schemas.microsoft.com/office/drawing/2014/main" id="{47734745-AF40-F0B8-2369-16C19272F75C}"/>
                </a:ext>
              </a:extLst>
            </p:cNvPr>
            <p:cNvSpPr/>
            <p:nvPr/>
          </p:nvSpPr>
          <p:spPr>
            <a:xfrm>
              <a:off x="6746303" y="1357664"/>
              <a:ext cx="2122246" cy="3905689"/>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7" name="TextBox 6">
              <a:extLst>
                <a:ext uri="{FF2B5EF4-FFF2-40B4-BE49-F238E27FC236}">
                  <a16:creationId xmlns:a16="http://schemas.microsoft.com/office/drawing/2014/main" id="{9AB2CA99-AEBB-40E0-2100-33F1D8E4AE70}"/>
                </a:ext>
              </a:extLst>
            </p:cNvPr>
            <p:cNvSpPr txBox="1"/>
            <p:nvPr/>
          </p:nvSpPr>
          <p:spPr>
            <a:xfrm>
              <a:off x="250826" y="1558894"/>
              <a:ext cx="2783980" cy="307777"/>
            </a:xfrm>
            <a:prstGeom prst="rect">
              <a:avLst/>
            </a:prstGeom>
            <a:noFill/>
          </p:spPr>
          <p:txBody>
            <a:bodyPr wrap="square" rtlCol="0">
              <a:spAutoFit/>
            </a:bodyPr>
            <a:lstStyle/>
            <a:p>
              <a:pPr algn="ctr"/>
              <a:r>
                <a:rPr lang="en-US" sz="1400" b="1">
                  <a:solidFill>
                    <a:schemeClr val="tx2"/>
                  </a:solidFill>
                </a:rPr>
                <a:t>Capital Structure Weights</a:t>
              </a:r>
              <a:endParaRPr lang="en-CA" sz="1400" b="1">
                <a:solidFill>
                  <a:schemeClr val="tx2"/>
                </a:solidFill>
              </a:endParaRPr>
            </a:p>
          </p:txBody>
        </p:sp>
        <p:sp>
          <p:nvSpPr>
            <p:cNvPr id="9" name="TextBox 8">
              <a:extLst>
                <a:ext uri="{FF2B5EF4-FFF2-40B4-BE49-F238E27FC236}">
                  <a16:creationId xmlns:a16="http://schemas.microsoft.com/office/drawing/2014/main" id="{D4053C9D-EC3B-6A06-A9EA-A36CF47B996E}"/>
                </a:ext>
              </a:extLst>
            </p:cNvPr>
            <p:cNvSpPr txBox="1"/>
            <p:nvPr/>
          </p:nvSpPr>
          <p:spPr>
            <a:xfrm>
              <a:off x="3507191" y="1558894"/>
              <a:ext cx="2482262" cy="307777"/>
            </a:xfrm>
            <a:prstGeom prst="rect">
              <a:avLst/>
            </a:prstGeom>
            <a:noFill/>
          </p:spPr>
          <p:txBody>
            <a:bodyPr wrap="square" rtlCol="0">
              <a:spAutoFit/>
            </a:bodyPr>
            <a:lstStyle/>
            <a:p>
              <a:pPr algn="ctr"/>
              <a:r>
                <a:rPr lang="en-US" sz="1400" b="1">
                  <a:solidFill>
                    <a:schemeClr val="tx2"/>
                  </a:solidFill>
                </a:rPr>
                <a:t>Costs of Capital</a:t>
              </a:r>
              <a:endParaRPr lang="en-CA" sz="1400" b="1">
                <a:solidFill>
                  <a:schemeClr val="tx2"/>
                </a:solidFill>
              </a:endParaRPr>
            </a:p>
          </p:txBody>
        </p:sp>
        <p:sp>
          <p:nvSpPr>
            <p:cNvPr id="15" name="TextBox 14">
              <a:extLst>
                <a:ext uri="{FF2B5EF4-FFF2-40B4-BE49-F238E27FC236}">
                  <a16:creationId xmlns:a16="http://schemas.microsoft.com/office/drawing/2014/main" id="{01526B00-6F17-D299-86EA-DC5C29ECDDD2}"/>
                </a:ext>
              </a:extLst>
            </p:cNvPr>
            <p:cNvSpPr txBox="1"/>
            <p:nvPr/>
          </p:nvSpPr>
          <p:spPr>
            <a:xfrm>
              <a:off x="6770931" y="1637580"/>
              <a:ext cx="2122245" cy="307777"/>
            </a:xfrm>
            <a:prstGeom prst="rect">
              <a:avLst/>
            </a:prstGeom>
            <a:noFill/>
          </p:spPr>
          <p:txBody>
            <a:bodyPr wrap="square" rtlCol="0">
              <a:spAutoFit/>
            </a:bodyPr>
            <a:lstStyle/>
            <a:p>
              <a:pPr algn="ctr"/>
              <a:r>
                <a:rPr lang="en-US" sz="1400" b="1">
                  <a:solidFill>
                    <a:schemeClr val="tx2"/>
                  </a:solidFill>
                </a:rPr>
                <a:t>WACC</a:t>
              </a:r>
              <a:endParaRPr lang="en-CA" sz="1400" b="1">
                <a:solidFill>
                  <a:schemeClr val="tx2"/>
                </a:solidFill>
              </a:endParaRPr>
            </a:p>
          </p:txBody>
        </p:sp>
        <p:graphicFrame>
          <p:nvGraphicFramePr>
            <p:cNvPr id="16" name="Chart 15">
              <a:extLst>
                <a:ext uri="{FF2B5EF4-FFF2-40B4-BE49-F238E27FC236}">
                  <a16:creationId xmlns:a16="http://schemas.microsoft.com/office/drawing/2014/main" id="{1A02EF9D-1944-1404-718B-9EC1C12EA5BE}"/>
                </a:ext>
              </a:extLst>
            </p:cNvPr>
            <p:cNvGraphicFramePr/>
            <p:nvPr/>
          </p:nvGraphicFramePr>
          <p:xfrm>
            <a:off x="90005" y="2241825"/>
            <a:ext cx="2944800" cy="2765594"/>
          </p:xfrm>
          <a:graphic>
            <a:graphicData uri="http://schemas.openxmlformats.org/drawingml/2006/chart">
              <c:chart xmlns:c="http://schemas.openxmlformats.org/drawingml/2006/chart" xmlns:r="http://schemas.openxmlformats.org/officeDocument/2006/relationships" r:id="rId2"/>
            </a:graphicData>
          </a:graphic>
        </p:graphicFrame>
        <p:sp>
          <p:nvSpPr>
            <p:cNvPr id="17" name="Rectangle 16">
              <a:extLst>
                <a:ext uri="{FF2B5EF4-FFF2-40B4-BE49-F238E27FC236}">
                  <a16:creationId xmlns:a16="http://schemas.microsoft.com/office/drawing/2014/main" id="{3E95AF6C-30BE-2718-0518-D6D7FDBBAF41}"/>
                </a:ext>
              </a:extLst>
            </p:cNvPr>
            <p:cNvSpPr/>
            <p:nvPr/>
          </p:nvSpPr>
          <p:spPr>
            <a:xfrm>
              <a:off x="2764676" y="3310509"/>
              <a:ext cx="742515" cy="7078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4000" b="1">
                  <a:solidFill>
                    <a:schemeClr val="accent2"/>
                  </a:solidFill>
                </a:rPr>
                <a:t>X</a:t>
              </a:r>
            </a:p>
          </p:txBody>
        </p:sp>
        <p:graphicFrame>
          <p:nvGraphicFramePr>
            <p:cNvPr id="18" name="Chart 17">
              <a:extLst>
                <a:ext uri="{FF2B5EF4-FFF2-40B4-BE49-F238E27FC236}">
                  <a16:creationId xmlns:a16="http://schemas.microsoft.com/office/drawing/2014/main" id="{A01502F0-F19F-9D44-B70A-9BDAA51DC426}"/>
                </a:ext>
              </a:extLst>
            </p:cNvPr>
            <p:cNvGraphicFramePr/>
            <p:nvPr>
              <p:extLst>
                <p:ext uri="{D42A27DB-BD31-4B8C-83A1-F6EECF244321}">
                  <p14:modId xmlns:p14="http://schemas.microsoft.com/office/powerpoint/2010/main" val="1403184684"/>
                </p:ext>
              </p:extLst>
            </p:nvPr>
          </p:nvGraphicFramePr>
          <p:xfrm>
            <a:off x="3257979" y="2177799"/>
            <a:ext cx="2817365" cy="2893645"/>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9ACDABC7-5521-0781-B29B-60723A172D1E}"/>
                </a:ext>
              </a:extLst>
            </p:cNvPr>
            <p:cNvSpPr txBox="1"/>
            <p:nvPr/>
          </p:nvSpPr>
          <p:spPr>
            <a:xfrm>
              <a:off x="6758615" y="3310508"/>
              <a:ext cx="2146873" cy="707886"/>
            </a:xfrm>
            <a:prstGeom prst="rect">
              <a:avLst/>
            </a:prstGeom>
            <a:noFill/>
          </p:spPr>
          <p:txBody>
            <a:bodyPr wrap="square" rtlCol="0">
              <a:spAutoFit/>
            </a:bodyPr>
            <a:lstStyle/>
            <a:p>
              <a:pPr algn="ctr"/>
              <a:r>
                <a:rPr lang="en-US" sz="4000" b="1">
                  <a:solidFill>
                    <a:schemeClr val="tx2"/>
                  </a:solidFill>
                </a:rPr>
                <a:t>13.92%</a:t>
              </a:r>
              <a:endParaRPr lang="en-CA" sz="4000" b="1">
                <a:solidFill>
                  <a:schemeClr val="tx2"/>
                </a:solidFill>
              </a:endParaRPr>
            </a:p>
          </p:txBody>
        </p:sp>
        <p:sp>
          <p:nvSpPr>
            <p:cNvPr id="20" name="Isosceles Triangle 10">
              <a:extLst>
                <a:ext uri="{FF2B5EF4-FFF2-40B4-BE49-F238E27FC236}">
                  <a16:creationId xmlns:a16="http://schemas.microsoft.com/office/drawing/2014/main" id="{12DAE51C-6086-A9F4-C7A6-B32E56AD1324}"/>
                </a:ext>
              </a:extLst>
            </p:cNvPr>
            <p:cNvSpPr/>
            <p:nvPr/>
          </p:nvSpPr>
          <p:spPr>
            <a:xfrm rot="5400000">
              <a:off x="6074801" y="3497397"/>
              <a:ext cx="548229" cy="334107"/>
            </a:xfrm>
            <a:prstGeom prst="triangle">
              <a:avLst>
                <a:gd name="adj" fmla="val 49392"/>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38585656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DCC5ED-2D29-1615-C71C-C1C41C4F7907}"/>
            </a:ext>
          </a:extLst>
        </p:cNvPr>
        <p:cNvGrpSpPr/>
        <p:nvPr/>
      </p:nvGrpSpPr>
      <p:grpSpPr>
        <a:xfrm>
          <a:off x="0" y="0"/>
          <a:ext cx="0" cy="0"/>
          <a:chOff x="0" y="0"/>
          <a:chExt cx="0" cy="0"/>
        </a:xfrm>
      </p:grpSpPr>
      <p:sp>
        <p:nvSpPr>
          <p:cNvPr id="8" name="Text Placeholder 7">
            <a:extLst>
              <a:ext uri="{FF2B5EF4-FFF2-40B4-BE49-F238E27FC236}">
                <a16:creationId xmlns:a16="http://schemas.microsoft.com/office/drawing/2014/main" id="{68CE7CC8-9EFB-8325-7476-FA328AF2AF75}"/>
              </a:ext>
            </a:extLst>
          </p:cNvPr>
          <p:cNvSpPr>
            <a:spLocks noGrp="1"/>
          </p:cNvSpPr>
          <p:nvPr>
            <p:ph type="body" sz="quarter" idx="21"/>
          </p:nvPr>
        </p:nvSpPr>
        <p:spPr/>
        <p:txBody>
          <a:bodyPr/>
          <a:lstStyle/>
          <a:p>
            <a:r>
              <a:rPr lang="en-CA"/>
              <a:t>Long-Term Value Creation</a:t>
            </a:r>
          </a:p>
        </p:txBody>
      </p:sp>
      <p:sp>
        <p:nvSpPr>
          <p:cNvPr id="5" name="Title 4">
            <a:extLst>
              <a:ext uri="{FF2B5EF4-FFF2-40B4-BE49-F238E27FC236}">
                <a16:creationId xmlns:a16="http://schemas.microsoft.com/office/drawing/2014/main" id="{DCF739FF-5D14-8243-5192-FACFC1E93559}"/>
              </a:ext>
            </a:extLst>
          </p:cNvPr>
          <p:cNvSpPr>
            <a:spLocks noGrp="1"/>
          </p:cNvSpPr>
          <p:nvPr>
            <p:ph type="title"/>
          </p:nvPr>
        </p:nvSpPr>
        <p:spPr/>
        <p:txBody>
          <a:bodyPr/>
          <a:lstStyle/>
          <a:p>
            <a:r>
              <a:rPr lang="en-CA"/>
              <a:t>WACC Calculation (for TV)  </a:t>
            </a:r>
          </a:p>
        </p:txBody>
      </p:sp>
      <p:grpSp>
        <p:nvGrpSpPr>
          <p:cNvPr id="4" name="Group 3">
            <a:extLst>
              <a:ext uri="{FF2B5EF4-FFF2-40B4-BE49-F238E27FC236}">
                <a16:creationId xmlns:a16="http://schemas.microsoft.com/office/drawing/2014/main" id="{71233B37-8B7C-67AC-399C-0B5B9DD9235A}"/>
              </a:ext>
            </a:extLst>
          </p:cNvPr>
          <p:cNvGrpSpPr/>
          <p:nvPr/>
        </p:nvGrpSpPr>
        <p:grpSpPr>
          <a:xfrm>
            <a:off x="90004" y="1476155"/>
            <a:ext cx="8815483" cy="3905689"/>
            <a:chOff x="90005" y="1357664"/>
            <a:chExt cx="8815483" cy="3905689"/>
          </a:xfrm>
        </p:grpSpPr>
        <p:sp>
          <p:nvSpPr>
            <p:cNvPr id="25" name="Rectangle 24">
              <a:extLst>
                <a:ext uri="{FF2B5EF4-FFF2-40B4-BE49-F238E27FC236}">
                  <a16:creationId xmlns:a16="http://schemas.microsoft.com/office/drawing/2014/main" id="{3E8E8630-494C-111F-3104-D8E07A883EF9}"/>
                </a:ext>
              </a:extLst>
            </p:cNvPr>
            <p:cNvSpPr/>
            <p:nvPr/>
          </p:nvSpPr>
          <p:spPr>
            <a:xfrm>
              <a:off x="6746303" y="1357664"/>
              <a:ext cx="2122246" cy="3905689"/>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7" name="TextBox 6">
              <a:extLst>
                <a:ext uri="{FF2B5EF4-FFF2-40B4-BE49-F238E27FC236}">
                  <a16:creationId xmlns:a16="http://schemas.microsoft.com/office/drawing/2014/main" id="{0FD2EB78-C867-95B1-2CEB-B8D1A1AA4BCD}"/>
                </a:ext>
              </a:extLst>
            </p:cNvPr>
            <p:cNvSpPr txBox="1"/>
            <p:nvPr/>
          </p:nvSpPr>
          <p:spPr>
            <a:xfrm>
              <a:off x="250826" y="1558894"/>
              <a:ext cx="2783980" cy="307777"/>
            </a:xfrm>
            <a:prstGeom prst="rect">
              <a:avLst/>
            </a:prstGeom>
            <a:noFill/>
          </p:spPr>
          <p:txBody>
            <a:bodyPr wrap="square" rtlCol="0">
              <a:spAutoFit/>
            </a:bodyPr>
            <a:lstStyle/>
            <a:p>
              <a:pPr algn="ctr"/>
              <a:r>
                <a:rPr lang="en-US" sz="1400" b="1">
                  <a:solidFill>
                    <a:schemeClr val="tx2"/>
                  </a:solidFill>
                </a:rPr>
                <a:t>Capital Structure Weights</a:t>
              </a:r>
              <a:endParaRPr lang="en-CA" sz="1400" b="1">
                <a:solidFill>
                  <a:schemeClr val="tx2"/>
                </a:solidFill>
              </a:endParaRPr>
            </a:p>
          </p:txBody>
        </p:sp>
        <p:sp>
          <p:nvSpPr>
            <p:cNvPr id="9" name="TextBox 8">
              <a:extLst>
                <a:ext uri="{FF2B5EF4-FFF2-40B4-BE49-F238E27FC236}">
                  <a16:creationId xmlns:a16="http://schemas.microsoft.com/office/drawing/2014/main" id="{FB0B7B8C-8AB8-DB65-7949-C7393D4E7804}"/>
                </a:ext>
              </a:extLst>
            </p:cNvPr>
            <p:cNvSpPr txBox="1"/>
            <p:nvPr/>
          </p:nvSpPr>
          <p:spPr>
            <a:xfrm>
              <a:off x="3507191" y="1558894"/>
              <a:ext cx="2482262" cy="307777"/>
            </a:xfrm>
            <a:prstGeom prst="rect">
              <a:avLst/>
            </a:prstGeom>
            <a:noFill/>
          </p:spPr>
          <p:txBody>
            <a:bodyPr wrap="square" rtlCol="0">
              <a:spAutoFit/>
            </a:bodyPr>
            <a:lstStyle/>
            <a:p>
              <a:pPr algn="ctr"/>
              <a:r>
                <a:rPr lang="en-US" sz="1400" b="1">
                  <a:solidFill>
                    <a:schemeClr val="tx2"/>
                  </a:solidFill>
                </a:rPr>
                <a:t>Costs of Capital</a:t>
              </a:r>
              <a:endParaRPr lang="en-CA" sz="1400" b="1">
                <a:solidFill>
                  <a:schemeClr val="tx2"/>
                </a:solidFill>
              </a:endParaRPr>
            </a:p>
          </p:txBody>
        </p:sp>
        <p:sp>
          <p:nvSpPr>
            <p:cNvPr id="15" name="TextBox 14">
              <a:extLst>
                <a:ext uri="{FF2B5EF4-FFF2-40B4-BE49-F238E27FC236}">
                  <a16:creationId xmlns:a16="http://schemas.microsoft.com/office/drawing/2014/main" id="{13428C1C-C0C3-74DF-062C-E56FE0DDC056}"/>
                </a:ext>
              </a:extLst>
            </p:cNvPr>
            <p:cNvSpPr txBox="1"/>
            <p:nvPr/>
          </p:nvSpPr>
          <p:spPr>
            <a:xfrm>
              <a:off x="6770931" y="1637580"/>
              <a:ext cx="2122245" cy="307777"/>
            </a:xfrm>
            <a:prstGeom prst="rect">
              <a:avLst/>
            </a:prstGeom>
            <a:noFill/>
          </p:spPr>
          <p:txBody>
            <a:bodyPr wrap="square" rtlCol="0">
              <a:spAutoFit/>
            </a:bodyPr>
            <a:lstStyle/>
            <a:p>
              <a:pPr algn="ctr"/>
              <a:r>
                <a:rPr lang="en-US" sz="1400" b="1">
                  <a:solidFill>
                    <a:schemeClr val="tx2"/>
                  </a:solidFill>
                </a:rPr>
                <a:t>TV WACC</a:t>
              </a:r>
              <a:endParaRPr lang="en-CA" sz="1400" b="1">
                <a:solidFill>
                  <a:schemeClr val="tx2"/>
                </a:solidFill>
              </a:endParaRPr>
            </a:p>
          </p:txBody>
        </p:sp>
        <p:graphicFrame>
          <p:nvGraphicFramePr>
            <p:cNvPr id="16" name="Chart 15">
              <a:extLst>
                <a:ext uri="{FF2B5EF4-FFF2-40B4-BE49-F238E27FC236}">
                  <a16:creationId xmlns:a16="http://schemas.microsoft.com/office/drawing/2014/main" id="{F489E969-2B7A-4EB6-1E66-31A5B280CDD4}"/>
                </a:ext>
              </a:extLst>
            </p:cNvPr>
            <p:cNvGraphicFramePr/>
            <p:nvPr>
              <p:extLst>
                <p:ext uri="{D42A27DB-BD31-4B8C-83A1-F6EECF244321}">
                  <p14:modId xmlns:p14="http://schemas.microsoft.com/office/powerpoint/2010/main" val="3224368740"/>
                </p:ext>
              </p:extLst>
            </p:nvPr>
          </p:nvGraphicFramePr>
          <p:xfrm>
            <a:off x="90005" y="2241825"/>
            <a:ext cx="2944800" cy="2765594"/>
          </p:xfrm>
          <a:graphic>
            <a:graphicData uri="http://schemas.openxmlformats.org/drawingml/2006/chart">
              <c:chart xmlns:c="http://schemas.openxmlformats.org/drawingml/2006/chart" xmlns:r="http://schemas.openxmlformats.org/officeDocument/2006/relationships" r:id="rId2"/>
            </a:graphicData>
          </a:graphic>
        </p:graphicFrame>
        <p:sp>
          <p:nvSpPr>
            <p:cNvPr id="17" name="Rectangle 16">
              <a:extLst>
                <a:ext uri="{FF2B5EF4-FFF2-40B4-BE49-F238E27FC236}">
                  <a16:creationId xmlns:a16="http://schemas.microsoft.com/office/drawing/2014/main" id="{D5B9DF22-96AC-CF56-A0DA-8D8C079ECF54}"/>
                </a:ext>
              </a:extLst>
            </p:cNvPr>
            <p:cNvSpPr/>
            <p:nvPr/>
          </p:nvSpPr>
          <p:spPr>
            <a:xfrm>
              <a:off x="2764676" y="3310507"/>
              <a:ext cx="742515" cy="7078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4000" b="1">
                  <a:solidFill>
                    <a:schemeClr val="accent2"/>
                  </a:solidFill>
                </a:rPr>
                <a:t>X</a:t>
              </a:r>
            </a:p>
          </p:txBody>
        </p:sp>
        <p:graphicFrame>
          <p:nvGraphicFramePr>
            <p:cNvPr id="18" name="Chart 17">
              <a:extLst>
                <a:ext uri="{FF2B5EF4-FFF2-40B4-BE49-F238E27FC236}">
                  <a16:creationId xmlns:a16="http://schemas.microsoft.com/office/drawing/2014/main" id="{56E3D54E-E751-78E0-CEDD-E048FD756073}"/>
                </a:ext>
              </a:extLst>
            </p:cNvPr>
            <p:cNvGraphicFramePr/>
            <p:nvPr>
              <p:extLst>
                <p:ext uri="{D42A27DB-BD31-4B8C-83A1-F6EECF244321}">
                  <p14:modId xmlns:p14="http://schemas.microsoft.com/office/powerpoint/2010/main" val="4149983376"/>
                </p:ext>
              </p:extLst>
            </p:nvPr>
          </p:nvGraphicFramePr>
          <p:xfrm>
            <a:off x="3257979" y="2177799"/>
            <a:ext cx="2817365" cy="2893645"/>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C7F56107-E675-443C-E027-356671C64DE5}"/>
                </a:ext>
              </a:extLst>
            </p:cNvPr>
            <p:cNvSpPr txBox="1"/>
            <p:nvPr/>
          </p:nvSpPr>
          <p:spPr>
            <a:xfrm>
              <a:off x="6758615" y="3310508"/>
              <a:ext cx="2146873" cy="707886"/>
            </a:xfrm>
            <a:prstGeom prst="rect">
              <a:avLst/>
            </a:prstGeom>
            <a:noFill/>
          </p:spPr>
          <p:txBody>
            <a:bodyPr wrap="square" rtlCol="0">
              <a:spAutoFit/>
            </a:bodyPr>
            <a:lstStyle/>
            <a:p>
              <a:pPr algn="ctr"/>
              <a:r>
                <a:rPr lang="en-US" sz="4000" b="1">
                  <a:solidFill>
                    <a:schemeClr val="tx2"/>
                  </a:solidFill>
                </a:rPr>
                <a:t>13.19%</a:t>
              </a:r>
              <a:endParaRPr lang="en-CA" sz="4000" b="1">
                <a:solidFill>
                  <a:schemeClr val="tx2"/>
                </a:solidFill>
              </a:endParaRPr>
            </a:p>
          </p:txBody>
        </p:sp>
        <p:sp>
          <p:nvSpPr>
            <p:cNvPr id="20" name="Isosceles Triangle 10">
              <a:extLst>
                <a:ext uri="{FF2B5EF4-FFF2-40B4-BE49-F238E27FC236}">
                  <a16:creationId xmlns:a16="http://schemas.microsoft.com/office/drawing/2014/main" id="{235B7C5E-48A6-CD75-6E4C-E0576D647715}"/>
                </a:ext>
              </a:extLst>
            </p:cNvPr>
            <p:cNvSpPr/>
            <p:nvPr/>
          </p:nvSpPr>
          <p:spPr>
            <a:xfrm rot="5400000">
              <a:off x="6074801" y="3497397"/>
              <a:ext cx="548229" cy="334107"/>
            </a:xfrm>
            <a:prstGeom prst="triangle">
              <a:avLst>
                <a:gd name="adj" fmla="val 49392"/>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34314545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3397A3-BF51-AD5B-0762-794648624B3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8D341EE-5E7D-E7DD-BFCE-FDDD57410BF4}"/>
              </a:ext>
            </a:extLst>
          </p:cNvPr>
          <p:cNvSpPr>
            <a:spLocks noGrp="1"/>
          </p:cNvSpPr>
          <p:nvPr>
            <p:ph type="title"/>
          </p:nvPr>
        </p:nvSpPr>
        <p:spPr/>
        <p:txBody>
          <a:bodyPr/>
          <a:lstStyle/>
          <a:p>
            <a:r>
              <a:rPr lang="en-CA"/>
              <a:t>10 Year TV/EV Calculation</a:t>
            </a:r>
          </a:p>
        </p:txBody>
      </p:sp>
      <p:graphicFrame>
        <p:nvGraphicFramePr>
          <p:cNvPr id="4" name="Table 3">
            <a:extLst>
              <a:ext uri="{FF2B5EF4-FFF2-40B4-BE49-F238E27FC236}">
                <a16:creationId xmlns:a16="http://schemas.microsoft.com/office/drawing/2014/main" id="{7061D29F-7D63-52C4-8617-6CBB8DDC7C0F}"/>
              </a:ext>
            </a:extLst>
          </p:cNvPr>
          <p:cNvGraphicFramePr>
            <a:graphicFrameLocks noGrp="1"/>
          </p:cNvGraphicFramePr>
          <p:nvPr>
            <p:extLst>
              <p:ext uri="{D42A27DB-BD31-4B8C-83A1-F6EECF244321}">
                <p14:modId xmlns:p14="http://schemas.microsoft.com/office/powerpoint/2010/main" val="4249695665"/>
              </p:ext>
            </p:extLst>
          </p:nvPr>
        </p:nvGraphicFramePr>
        <p:xfrm>
          <a:off x="4796517" y="952499"/>
          <a:ext cx="3937000" cy="2271278"/>
        </p:xfrm>
        <a:graphic>
          <a:graphicData uri="http://schemas.openxmlformats.org/drawingml/2006/table">
            <a:tbl>
              <a:tblPr/>
              <a:tblGrid>
                <a:gridCol w="1028700">
                  <a:extLst>
                    <a:ext uri="{9D8B030D-6E8A-4147-A177-3AD203B41FA5}">
                      <a16:colId xmlns:a16="http://schemas.microsoft.com/office/drawing/2014/main" val="702936531"/>
                    </a:ext>
                  </a:extLst>
                </a:gridCol>
                <a:gridCol w="965200">
                  <a:extLst>
                    <a:ext uri="{9D8B030D-6E8A-4147-A177-3AD203B41FA5}">
                      <a16:colId xmlns:a16="http://schemas.microsoft.com/office/drawing/2014/main" val="3901449109"/>
                    </a:ext>
                  </a:extLst>
                </a:gridCol>
                <a:gridCol w="952500">
                  <a:extLst>
                    <a:ext uri="{9D8B030D-6E8A-4147-A177-3AD203B41FA5}">
                      <a16:colId xmlns:a16="http://schemas.microsoft.com/office/drawing/2014/main" val="776770378"/>
                    </a:ext>
                  </a:extLst>
                </a:gridCol>
                <a:gridCol w="990600">
                  <a:extLst>
                    <a:ext uri="{9D8B030D-6E8A-4147-A177-3AD203B41FA5}">
                      <a16:colId xmlns:a16="http://schemas.microsoft.com/office/drawing/2014/main" val="300766215"/>
                    </a:ext>
                  </a:extLst>
                </a:gridCol>
              </a:tblGrid>
              <a:tr h="199103">
                <a:tc gridSpan="3">
                  <a:txBody>
                    <a:bodyPr/>
                    <a:lstStyle/>
                    <a:p>
                      <a:pPr algn="l" fontAlgn="ctr"/>
                      <a:r>
                        <a:rPr lang="en-CA" sz="1100" b="1" i="0" u="none" strike="noStrike">
                          <a:solidFill>
                            <a:srgbClr val="000000"/>
                          </a:solidFill>
                          <a:effectLst/>
                          <a:latin typeface="Arial"/>
                        </a:rPr>
                        <a:t> Perpetual Growth Rate Method</a:t>
                      </a:r>
                    </a:p>
                  </a:txBody>
                  <a:tcPr marL="0" marR="0" marT="0" marB="0" anchor="ctr">
                    <a:lnL w="0" cap="flat" cmpd="sng" algn="ctr">
                      <a:noFill/>
                      <a:prstDash val="solid"/>
                      <a:round/>
                      <a:headEnd type="none" w="med" len="med"/>
                      <a:tailEnd type="none" w="med" len="med"/>
                    </a:lnL>
                    <a:lnR w="9525" cap="flat" cmpd="sng" algn="ctr">
                      <a:noFill/>
                      <a:prstDash val="solid"/>
                      <a:round/>
                      <a:headEnd type="none" w="med" len="med"/>
                      <a:tailEnd type="none" w="med" len="med"/>
                    </a:lnR>
                    <a:lnT w="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hMerge="1">
                  <a:txBody>
                    <a:bodyPr/>
                    <a:lstStyle/>
                    <a:p>
                      <a:endParaRPr lang="en-US"/>
                    </a:p>
                  </a:txBody>
                  <a:tcPr/>
                </a:tc>
                <a:tc hMerge="1">
                  <a:txBody>
                    <a:bodyPr/>
                    <a:lstStyle/>
                    <a:p>
                      <a:endParaRPr lang="en-US"/>
                    </a:p>
                  </a:txBody>
                  <a:tcPr/>
                </a:tc>
                <a:tc>
                  <a:txBody>
                    <a:bodyPr/>
                    <a:lstStyle/>
                    <a:p>
                      <a:pPr algn="r" fontAlgn="ctr"/>
                      <a:r>
                        <a:rPr lang="en-CA" sz="1100" b="1" i="0" u="none" strike="noStrike">
                          <a:solidFill>
                            <a:srgbClr val="000000"/>
                          </a:solidFill>
                          <a:effectLst/>
                          <a:latin typeface="Arial"/>
                        </a:rPr>
                        <a:t>4.00% </a:t>
                      </a:r>
                    </a:p>
                  </a:txBody>
                  <a:tcPr marL="0" marR="0" marT="0" marB="0" anchor="ctr">
                    <a:lnL w="9525"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557937708"/>
                  </a:ext>
                </a:extLst>
              </a:tr>
              <a:tr h="250482">
                <a:tc>
                  <a:txBody>
                    <a:bodyPr/>
                    <a:lstStyle/>
                    <a:p>
                      <a:pPr algn="l" fontAlgn="ctr"/>
                      <a:r>
                        <a:rPr lang="en-CA" sz="1100" b="0" i="0" u="none" strike="noStrike">
                          <a:solidFill>
                            <a:srgbClr val="000000"/>
                          </a:solidFill>
                          <a:effectLst/>
                          <a:latin typeface="Arial"/>
                        </a:rPr>
                        <a:t> Growth Rate</a:t>
                      </a:r>
                    </a:p>
                  </a:txBody>
                  <a:tcPr marL="0" marR="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tc>
                  <a:txBody>
                    <a:bodyPr/>
                    <a:lstStyle/>
                    <a:p>
                      <a:pPr algn="r" fontAlgn="ctr"/>
                      <a:r>
                        <a:rPr lang="en-US" sz="1100" b="0" i="0" u="none" strike="noStrike">
                          <a:solidFill>
                            <a:srgbClr val="000000"/>
                          </a:solidFill>
                          <a:effectLst/>
                          <a:latin typeface="Arial"/>
                        </a:rPr>
                        <a:t>4.00%</a:t>
                      </a: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3416422676"/>
                  </a:ext>
                </a:extLst>
              </a:tr>
              <a:tr h="204941">
                <a:tc gridSpan="2">
                  <a:txBody>
                    <a:bodyPr/>
                    <a:lstStyle/>
                    <a:p>
                      <a:pPr algn="l" fontAlgn="ctr"/>
                      <a:r>
                        <a:rPr lang="en-CA" sz="1100" b="0" i="1" u="none" strike="noStrike">
                          <a:solidFill>
                            <a:srgbClr val="000000"/>
                          </a:solidFill>
                          <a:effectLst/>
                          <a:latin typeface="Arial"/>
                        </a:rPr>
                        <a:t> US GDP LT Growth Rate</a:t>
                      </a: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DF7ED"/>
                    </a:solidFill>
                  </a:tcPr>
                </a:tc>
                <a:tc hMerge="1">
                  <a:txBody>
                    <a:bodyPr/>
                    <a:lstStyle/>
                    <a:p>
                      <a:endParaRPr lang="en-US"/>
                    </a:p>
                  </a:txBody>
                  <a:tcPr/>
                </a:tc>
                <a:tc>
                  <a:txBody>
                    <a:bodyPr/>
                    <a:lstStyle/>
                    <a:p>
                      <a:pPr algn="l" fontAlgn="ctr"/>
                      <a:endParaRPr lang="en-CA" sz="1100" b="0" i="1"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r" fontAlgn="ctr"/>
                      <a:r>
                        <a:rPr lang="en-US" sz="1100" b="0" i="0" u="none" strike="noStrike">
                          <a:solidFill>
                            <a:srgbClr val="000000"/>
                          </a:solidFill>
                          <a:effectLst/>
                          <a:latin typeface="Arial"/>
                        </a:rPr>
                        <a:t>3.20%</a:t>
                      </a: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609677948"/>
                  </a:ext>
                </a:extLst>
              </a:tr>
              <a:tr h="193554">
                <a:tc>
                  <a:txBody>
                    <a:bodyPr/>
                    <a:lstStyle/>
                    <a:p>
                      <a:pPr algn="l" fontAlgn="ctr"/>
                      <a:r>
                        <a:rPr lang="en-CA" sz="1100" b="0" i="0" u="none" strike="noStrike">
                          <a:solidFill>
                            <a:srgbClr val="000000"/>
                          </a:solidFill>
                          <a:effectLst/>
                          <a:latin typeface="Arial"/>
                        </a:rPr>
                        <a:t> TV WACC</a:t>
                      </a: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DF7ED"/>
                    </a:solidFill>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r" fontAlgn="ctr"/>
                      <a:r>
                        <a:rPr lang="en-US" sz="1100" b="0" i="0" u="none" strike="noStrike">
                          <a:solidFill>
                            <a:srgbClr val="000000"/>
                          </a:solidFill>
                          <a:effectLst/>
                          <a:latin typeface="Arial"/>
                        </a:rPr>
                        <a:t>13.19%</a:t>
                      </a: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3631173438"/>
                  </a:ext>
                </a:extLst>
              </a:tr>
              <a:tr h="193554">
                <a:tc gridSpan="2">
                  <a:txBody>
                    <a:bodyPr/>
                    <a:lstStyle/>
                    <a:p>
                      <a:pPr algn="l" fontAlgn="ctr"/>
                      <a:r>
                        <a:rPr lang="en-CA" sz="1100" b="0" i="0" u="none" strike="noStrike">
                          <a:solidFill>
                            <a:srgbClr val="000000"/>
                          </a:solidFill>
                          <a:effectLst/>
                          <a:latin typeface="Arial"/>
                        </a:rPr>
                        <a:t> 5yr FCFF * (1+g)</a:t>
                      </a:r>
                    </a:p>
                  </a:txBody>
                  <a:tcPr marL="0" marR="0" marT="0" marB="0" anchor="ctr">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hMerge="1">
                  <a:txBody>
                    <a:bodyPr/>
                    <a:lstStyle/>
                    <a:p>
                      <a:endParaRPr lang="en-US"/>
                    </a:p>
                  </a:txBody>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a:txBody>
                    <a:bodyPr/>
                    <a:lstStyle/>
                    <a:p>
                      <a:pPr algn="r" fontAlgn="ctr"/>
                      <a:r>
                        <a:rPr lang="en-US" sz="1100" b="0" i="0" u="none" strike="noStrike">
                          <a:solidFill>
                            <a:srgbClr val="000000"/>
                          </a:solidFill>
                          <a:effectLst/>
                          <a:latin typeface="Arial"/>
                        </a:rPr>
                        <a:t>        13,155.99 </a:t>
                      </a:r>
                    </a:p>
                  </a:txBody>
                  <a:tcPr marL="0" marR="0" marT="0" marB="0" anchor="ctr">
                    <a:lnL>
                      <a:noFill/>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2956287361"/>
                  </a:ext>
                </a:extLst>
              </a:tr>
              <a:tr h="193554">
                <a:tc>
                  <a:txBody>
                    <a:bodyPr/>
                    <a:lstStyle/>
                    <a:p>
                      <a:pPr algn="l" fontAlgn="ctr"/>
                      <a:r>
                        <a:rPr lang="en-CA" sz="1100" b="0" i="0" u="none" strike="noStrike">
                          <a:solidFill>
                            <a:srgbClr val="000000"/>
                          </a:solidFill>
                          <a:effectLst/>
                          <a:latin typeface="Arial"/>
                        </a:rPr>
                        <a:t> Terminal Value</a:t>
                      </a:r>
                    </a:p>
                  </a:txBody>
                  <a:tcPr marL="0" marR="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tc>
                  <a:txBody>
                    <a:bodyPr/>
                    <a:lstStyle/>
                    <a:p>
                      <a:pPr algn="r" fontAlgn="ctr"/>
                      <a:r>
                        <a:rPr lang="en-US" sz="1100" b="0" i="0" u="none" strike="noStrike">
                          <a:solidFill>
                            <a:srgbClr val="000000"/>
                          </a:solidFill>
                          <a:effectLst/>
                          <a:latin typeface="Arial"/>
                        </a:rPr>
                        <a:t>      143,232.16 </a:t>
                      </a: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3024457775"/>
                  </a:ext>
                </a:extLst>
              </a:tr>
              <a:tr h="204941">
                <a:tc gridSpan="2">
                  <a:txBody>
                    <a:bodyPr/>
                    <a:lstStyle/>
                    <a:p>
                      <a:pPr algn="l" fontAlgn="ctr"/>
                      <a:r>
                        <a:rPr lang="en-CA" sz="1100" b="1" i="0" u="none" strike="noStrike">
                          <a:solidFill>
                            <a:srgbClr val="000000"/>
                          </a:solidFill>
                          <a:effectLst/>
                          <a:latin typeface="Arial"/>
                        </a:rPr>
                        <a:t> PV of Terminal Value</a:t>
                      </a: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DF7ED"/>
                    </a:solidFill>
                  </a:tcPr>
                </a:tc>
                <a:tc hMerge="1">
                  <a:txBody>
                    <a:bodyPr/>
                    <a:lstStyle/>
                    <a:p>
                      <a:endParaRPr lang="en-US"/>
                    </a:p>
                  </a:txBody>
                  <a:tcPr/>
                </a:tc>
                <a:tc>
                  <a:txBody>
                    <a:bodyPr/>
                    <a:lstStyle/>
                    <a:p>
                      <a:pPr algn="l" fontAlgn="ctr"/>
                      <a:endParaRPr lang="en-CA" sz="1100" b="1" i="0"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r" fontAlgn="ctr"/>
                      <a:r>
                        <a:rPr lang="en-US" sz="1100" b="1" i="0" u="none" strike="noStrike">
                          <a:solidFill>
                            <a:srgbClr val="000000"/>
                          </a:solidFill>
                          <a:effectLst/>
                          <a:latin typeface="Arial"/>
                        </a:rPr>
                        <a:t>        41,531.96 </a:t>
                      </a: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1184945342"/>
                  </a:ext>
                </a:extLst>
              </a:tr>
              <a:tr h="204941">
                <a:tc>
                  <a:txBody>
                    <a:bodyPr/>
                    <a:lstStyle/>
                    <a:p>
                      <a:pPr algn="l" fontAlgn="ctr"/>
                      <a:r>
                        <a:rPr lang="en-CA" sz="1100" b="0" i="0" u="none" strike="noStrike">
                          <a:solidFill>
                            <a:srgbClr val="000000"/>
                          </a:solidFill>
                          <a:effectLst/>
                          <a:latin typeface="Arial"/>
                        </a:rPr>
                        <a:t> % of EV</a:t>
                      </a: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DF7ED"/>
                    </a:solidFill>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r" fontAlgn="ctr"/>
                      <a:r>
                        <a:rPr lang="en-US" sz="1100" b="0" i="0" u="none" strike="noStrike">
                          <a:solidFill>
                            <a:srgbClr val="000000"/>
                          </a:solidFill>
                          <a:effectLst/>
                          <a:latin typeface="Arial"/>
                        </a:rPr>
                        <a:t>51.34%</a:t>
                      </a: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1904468366"/>
                  </a:ext>
                </a:extLst>
              </a:tr>
              <a:tr h="204941">
                <a:tc>
                  <a:txBody>
                    <a:bodyPr/>
                    <a:lstStyle/>
                    <a:p>
                      <a:pPr algn="l" fontAlgn="ctr"/>
                      <a:r>
                        <a:rPr lang="en-CA" sz="1100" b="1" i="0" u="none" strike="noStrike">
                          <a:solidFill>
                            <a:srgbClr val="000000"/>
                          </a:solidFill>
                          <a:effectLst/>
                          <a:latin typeface="Arial"/>
                        </a:rPr>
                        <a:t> PV of FCFF</a:t>
                      </a: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DF7ED"/>
                    </a:solidFill>
                  </a:tcPr>
                </a:tc>
                <a:tc>
                  <a:txBody>
                    <a:bodyPr/>
                    <a:lstStyle/>
                    <a:p>
                      <a:pPr algn="l" fontAlgn="ctr"/>
                      <a:endParaRPr lang="en-CA" sz="1100" b="1" i="0"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l" fontAlgn="ctr"/>
                      <a:endParaRPr lang="en-CA" sz="1100" b="1" i="0"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r" fontAlgn="ctr"/>
                      <a:r>
                        <a:rPr lang="en-US" sz="1100" b="1" i="0" u="none" strike="noStrike">
                          <a:solidFill>
                            <a:srgbClr val="000000"/>
                          </a:solidFill>
                          <a:effectLst/>
                          <a:latin typeface="Arial"/>
                        </a:rPr>
                        <a:t>        39,356.58 </a:t>
                      </a: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3971587752"/>
                  </a:ext>
                </a:extLst>
              </a:tr>
              <a:tr h="204941">
                <a:tc>
                  <a:txBody>
                    <a:bodyPr/>
                    <a:lstStyle/>
                    <a:p>
                      <a:pPr algn="l" fontAlgn="ctr"/>
                      <a:r>
                        <a:rPr lang="en-CA" sz="1100" b="0" i="0" u="none" strike="noStrike">
                          <a:solidFill>
                            <a:srgbClr val="000000"/>
                          </a:solidFill>
                          <a:effectLst/>
                          <a:latin typeface="Arial"/>
                        </a:rPr>
                        <a:t> % of EV</a:t>
                      </a:r>
                    </a:p>
                  </a:txBody>
                  <a:tcPr marL="0" marR="0" marT="0" marB="0" anchor="ctr">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a:txBody>
                    <a:bodyPr/>
                    <a:lstStyle/>
                    <a:p>
                      <a:pPr algn="r" fontAlgn="ctr"/>
                      <a:r>
                        <a:rPr lang="en-US" sz="1100" b="0" i="0" u="none" strike="noStrike">
                          <a:solidFill>
                            <a:srgbClr val="000000"/>
                          </a:solidFill>
                          <a:effectLst/>
                          <a:latin typeface="Arial"/>
                        </a:rPr>
                        <a:t>48.66%</a:t>
                      </a:r>
                    </a:p>
                  </a:txBody>
                  <a:tcPr marL="0" marR="0" marT="0" marB="0" anchor="ctr">
                    <a:lnL>
                      <a:noFill/>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3767495057"/>
                  </a:ext>
                </a:extLst>
              </a:tr>
              <a:tr h="216326">
                <a:tc gridSpan="2">
                  <a:txBody>
                    <a:bodyPr/>
                    <a:lstStyle/>
                    <a:p>
                      <a:pPr algn="l" fontAlgn="ctr"/>
                      <a:r>
                        <a:rPr lang="en-CA" sz="1100" b="1" i="0" u="none" strike="noStrike">
                          <a:solidFill>
                            <a:srgbClr val="000000"/>
                          </a:solidFill>
                          <a:effectLst/>
                          <a:latin typeface="Arial"/>
                        </a:rPr>
                        <a:t> Enterprise Value </a:t>
                      </a:r>
                    </a:p>
                  </a:txBody>
                  <a:tcPr marL="0" marR="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8FAE5"/>
                    </a:solidFill>
                  </a:tcPr>
                </a:tc>
                <a:tc hMerge="1">
                  <a:txBody>
                    <a:bodyPr/>
                    <a:lstStyle/>
                    <a:p>
                      <a:endParaRPr lang="en-US"/>
                    </a:p>
                  </a:txBody>
                  <a:tcPr/>
                </a:tc>
                <a:tc>
                  <a:txBody>
                    <a:bodyPr/>
                    <a:lstStyle/>
                    <a:p>
                      <a:pPr algn="l" fontAlgn="ctr"/>
                      <a:endParaRPr lang="en-CA" sz="1100" b="1" i="0" u="none" strike="noStrike">
                        <a:solidFill>
                          <a:srgbClr val="000000"/>
                        </a:solidFill>
                        <a:effectLst/>
                        <a:latin typeface="Arial"/>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8FAE5"/>
                    </a:solidFill>
                  </a:tcPr>
                </a:tc>
                <a:tc>
                  <a:txBody>
                    <a:bodyPr/>
                    <a:lstStyle/>
                    <a:p>
                      <a:pPr algn="r" fontAlgn="ctr"/>
                      <a:r>
                        <a:rPr lang="en-US" sz="1100" b="1" i="0" u="none" strike="noStrike">
                          <a:solidFill>
                            <a:srgbClr val="000000"/>
                          </a:solidFill>
                          <a:effectLst/>
                          <a:latin typeface="Arial"/>
                        </a:rPr>
                        <a:t>        80,888.55 </a:t>
                      </a: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8FAE5"/>
                    </a:solidFill>
                  </a:tcPr>
                </a:tc>
                <a:extLst>
                  <a:ext uri="{0D108BD9-81ED-4DB2-BD59-A6C34878D82A}">
                    <a16:rowId xmlns:a16="http://schemas.microsoft.com/office/drawing/2014/main" val="3183990910"/>
                  </a:ext>
                </a:extLst>
              </a:tr>
            </a:tbl>
          </a:graphicData>
        </a:graphic>
      </p:graphicFrame>
      <p:graphicFrame>
        <p:nvGraphicFramePr>
          <p:cNvPr id="7" name="Table 6">
            <a:extLst>
              <a:ext uri="{FF2B5EF4-FFF2-40B4-BE49-F238E27FC236}">
                <a16:creationId xmlns:a16="http://schemas.microsoft.com/office/drawing/2014/main" id="{922A4CD0-CBF3-B4BC-3AC0-D65C5936DF5B}"/>
              </a:ext>
            </a:extLst>
          </p:cNvPr>
          <p:cNvGraphicFramePr>
            <a:graphicFrameLocks noGrp="1"/>
          </p:cNvGraphicFramePr>
          <p:nvPr>
            <p:extLst>
              <p:ext uri="{D42A27DB-BD31-4B8C-83A1-F6EECF244321}">
                <p14:modId xmlns:p14="http://schemas.microsoft.com/office/powerpoint/2010/main" val="1548041453"/>
              </p:ext>
            </p:extLst>
          </p:nvPr>
        </p:nvGraphicFramePr>
        <p:xfrm>
          <a:off x="410357" y="3826202"/>
          <a:ext cx="3937000" cy="2222101"/>
        </p:xfrm>
        <a:graphic>
          <a:graphicData uri="http://schemas.openxmlformats.org/drawingml/2006/table">
            <a:tbl>
              <a:tblPr/>
              <a:tblGrid>
                <a:gridCol w="1028700">
                  <a:extLst>
                    <a:ext uri="{9D8B030D-6E8A-4147-A177-3AD203B41FA5}">
                      <a16:colId xmlns:a16="http://schemas.microsoft.com/office/drawing/2014/main" val="2626999894"/>
                    </a:ext>
                  </a:extLst>
                </a:gridCol>
                <a:gridCol w="965200">
                  <a:extLst>
                    <a:ext uri="{9D8B030D-6E8A-4147-A177-3AD203B41FA5}">
                      <a16:colId xmlns:a16="http://schemas.microsoft.com/office/drawing/2014/main" val="279185194"/>
                    </a:ext>
                  </a:extLst>
                </a:gridCol>
                <a:gridCol w="952500">
                  <a:extLst>
                    <a:ext uri="{9D8B030D-6E8A-4147-A177-3AD203B41FA5}">
                      <a16:colId xmlns:a16="http://schemas.microsoft.com/office/drawing/2014/main" val="3531855265"/>
                    </a:ext>
                  </a:extLst>
                </a:gridCol>
                <a:gridCol w="990600">
                  <a:extLst>
                    <a:ext uri="{9D8B030D-6E8A-4147-A177-3AD203B41FA5}">
                      <a16:colId xmlns:a16="http://schemas.microsoft.com/office/drawing/2014/main" val="4148726063"/>
                    </a:ext>
                  </a:extLst>
                </a:gridCol>
              </a:tblGrid>
              <a:tr h="262389">
                <a:tc gridSpan="2">
                  <a:txBody>
                    <a:bodyPr/>
                    <a:lstStyle/>
                    <a:p>
                      <a:pPr algn="l" fontAlgn="ctr"/>
                      <a:r>
                        <a:rPr lang="en-CA" sz="1100" b="1" i="0" u="none" strike="noStrike">
                          <a:solidFill>
                            <a:srgbClr val="000000"/>
                          </a:solidFill>
                          <a:effectLst/>
                          <a:latin typeface="Arial"/>
                        </a:rPr>
                        <a:t> EBITDA Exit Multiple Method</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hMerge="1">
                  <a:txBody>
                    <a:bodyPr/>
                    <a:lstStyle/>
                    <a:p>
                      <a:endParaRPr lang="en-US"/>
                    </a:p>
                  </a:txBody>
                  <a:tcPr/>
                </a:tc>
                <a:tc>
                  <a:txBody>
                    <a:bodyPr/>
                    <a:lstStyle/>
                    <a:p>
                      <a:pPr algn="l" fontAlgn="ctr"/>
                      <a:endParaRPr lang="en-CA" sz="1100" b="1" i="0" u="none" strike="noStrike">
                        <a:solidFill>
                          <a:srgbClr val="000000"/>
                        </a:solidFill>
                        <a:effectLst/>
                        <a:latin typeface="Arial"/>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a:txBody>
                    <a:bodyPr/>
                    <a:lstStyle/>
                    <a:p>
                      <a:pPr algn="r" fontAlgn="ctr"/>
                      <a:r>
                        <a:rPr lang="en-CA" sz="1100" b="1" i="0" u="none" strike="noStrike">
                          <a:solidFill>
                            <a:srgbClr val="000000"/>
                          </a:solidFill>
                          <a:effectLst/>
                          <a:latin typeface="Arial"/>
                        </a:rPr>
                        <a:t>14.9x</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147150953"/>
                  </a:ext>
                </a:extLst>
              </a:tr>
              <a:tr h="245989">
                <a:tc gridSpan="2">
                  <a:txBody>
                    <a:bodyPr/>
                    <a:lstStyle/>
                    <a:p>
                      <a:pPr algn="l" fontAlgn="ctr"/>
                      <a:r>
                        <a:rPr lang="en-CA" sz="1100" b="0" i="0" u="none" strike="noStrike">
                          <a:solidFill>
                            <a:srgbClr val="000000"/>
                          </a:solidFill>
                          <a:effectLst/>
                          <a:latin typeface="Arial"/>
                        </a:rPr>
                        <a:t> EV/EBITDA Multiple</a:t>
                      </a:r>
                    </a:p>
                  </a:txBody>
                  <a:tcPr marL="0" marR="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tc hMerge="1">
                  <a:txBody>
                    <a:bodyPr/>
                    <a:lstStyle/>
                    <a:p>
                      <a:endParaRPr lang="en-US"/>
                    </a:p>
                  </a:txBody>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tc>
                  <a:txBody>
                    <a:bodyPr/>
                    <a:lstStyle/>
                    <a:p>
                      <a:pPr algn="r" fontAlgn="ctr"/>
                      <a:r>
                        <a:rPr lang="en-US" sz="1100" b="0" i="0" u="none" strike="noStrike">
                          <a:solidFill>
                            <a:srgbClr val="000000"/>
                          </a:solidFill>
                          <a:effectLst/>
                          <a:latin typeface="Arial"/>
                        </a:rPr>
                        <a:t>14.90</a:t>
                      </a: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551828624"/>
                  </a:ext>
                </a:extLst>
              </a:tr>
              <a:tr h="245989">
                <a:tc gridSpan="2">
                  <a:txBody>
                    <a:bodyPr/>
                    <a:lstStyle/>
                    <a:p>
                      <a:pPr algn="l" fontAlgn="ctr"/>
                      <a:r>
                        <a:rPr lang="en-CA" sz="1100" b="0" i="0" u="none" strike="noStrike">
                          <a:solidFill>
                            <a:srgbClr val="000000"/>
                          </a:solidFill>
                          <a:effectLst/>
                          <a:latin typeface="Arial"/>
                        </a:rPr>
                        <a:t> Terminal Year EBITDA</a:t>
                      </a:r>
                    </a:p>
                  </a:txBody>
                  <a:tcPr marL="0" marR="0" marT="0" marB="0" anchor="ctr">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hMerge="1">
                  <a:txBody>
                    <a:bodyPr/>
                    <a:lstStyle/>
                    <a:p>
                      <a:endParaRPr lang="en-US"/>
                    </a:p>
                  </a:txBody>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a:txBody>
                    <a:bodyPr/>
                    <a:lstStyle/>
                    <a:p>
                      <a:pPr algn="r" fontAlgn="ctr"/>
                      <a:r>
                        <a:rPr lang="en-US" sz="1100" b="0" i="0" u="none" strike="noStrike">
                          <a:solidFill>
                            <a:srgbClr val="000000"/>
                          </a:solidFill>
                          <a:effectLst/>
                          <a:latin typeface="Arial"/>
                        </a:rPr>
                        <a:t>        17,144.26 </a:t>
                      </a:r>
                    </a:p>
                  </a:txBody>
                  <a:tcPr marL="0" marR="0" marT="0" marB="0" anchor="ctr">
                    <a:lnL>
                      <a:noFill/>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2009740939"/>
                  </a:ext>
                </a:extLst>
              </a:tr>
              <a:tr h="245989">
                <a:tc>
                  <a:txBody>
                    <a:bodyPr/>
                    <a:lstStyle/>
                    <a:p>
                      <a:pPr algn="l" fontAlgn="ctr"/>
                      <a:r>
                        <a:rPr lang="en-CA" sz="1100" b="0" i="0" u="none" strike="noStrike">
                          <a:solidFill>
                            <a:srgbClr val="000000"/>
                          </a:solidFill>
                          <a:effectLst/>
                          <a:latin typeface="Arial"/>
                        </a:rPr>
                        <a:t> Terminal Value</a:t>
                      </a:r>
                    </a:p>
                  </a:txBody>
                  <a:tcPr marL="0" marR="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tc>
                  <a:txBody>
                    <a:bodyPr/>
                    <a:lstStyle/>
                    <a:p>
                      <a:pPr algn="r" fontAlgn="ctr"/>
                      <a:r>
                        <a:rPr lang="en-US" sz="1100" b="0" i="0" u="none" strike="noStrike">
                          <a:solidFill>
                            <a:srgbClr val="000000"/>
                          </a:solidFill>
                          <a:effectLst/>
                          <a:latin typeface="Arial"/>
                        </a:rPr>
                        <a:t>      255,449.54 </a:t>
                      </a: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3492455590"/>
                  </a:ext>
                </a:extLst>
              </a:tr>
              <a:tr h="233689">
                <a:tc gridSpan="2">
                  <a:txBody>
                    <a:bodyPr/>
                    <a:lstStyle/>
                    <a:p>
                      <a:pPr algn="l" fontAlgn="ctr"/>
                      <a:r>
                        <a:rPr lang="en-CA" sz="1100" b="1" i="0" u="none" strike="noStrike">
                          <a:solidFill>
                            <a:srgbClr val="000000"/>
                          </a:solidFill>
                          <a:effectLst/>
                          <a:latin typeface="Arial"/>
                        </a:rPr>
                        <a:t> PV of Terminal Value</a:t>
                      </a: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DF7ED"/>
                    </a:solidFill>
                  </a:tcPr>
                </a:tc>
                <a:tc hMerge="1">
                  <a:txBody>
                    <a:bodyPr/>
                    <a:lstStyle/>
                    <a:p>
                      <a:endParaRPr lang="en-US"/>
                    </a:p>
                  </a:txBody>
                  <a:tcPr/>
                </a:tc>
                <a:tc>
                  <a:txBody>
                    <a:bodyPr/>
                    <a:lstStyle/>
                    <a:p>
                      <a:pPr algn="l" fontAlgn="ctr"/>
                      <a:endParaRPr lang="en-CA" sz="1100" b="1" i="0"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r" fontAlgn="ctr"/>
                      <a:r>
                        <a:rPr lang="en-US" sz="1100" b="1" i="0" u="none" strike="noStrike">
                          <a:solidFill>
                            <a:srgbClr val="000000"/>
                          </a:solidFill>
                          <a:effectLst/>
                          <a:latin typeface="Arial"/>
                        </a:rPr>
                        <a:t>        74,070.80 </a:t>
                      </a: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2404381691"/>
                  </a:ext>
                </a:extLst>
              </a:tr>
              <a:tr h="233689">
                <a:tc>
                  <a:txBody>
                    <a:bodyPr/>
                    <a:lstStyle/>
                    <a:p>
                      <a:pPr algn="l" fontAlgn="ctr"/>
                      <a:r>
                        <a:rPr lang="en-CA" sz="1100" b="0" i="0" u="none" strike="noStrike">
                          <a:solidFill>
                            <a:srgbClr val="000000"/>
                          </a:solidFill>
                          <a:effectLst/>
                          <a:latin typeface="Arial"/>
                        </a:rPr>
                        <a:t> % of EV</a:t>
                      </a: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DF7ED"/>
                    </a:solidFill>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r" fontAlgn="ctr"/>
                      <a:r>
                        <a:rPr lang="en-US" sz="1100" b="0" i="0" u="none" strike="noStrike">
                          <a:solidFill>
                            <a:srgbClr val="000000"/>
                          </a:solidFill>
                          <a:effectLst/>
                          <a:latin typeface="Arial"/>
                        </a:rPr>
                        <a:t>65.30%</a:t>
                      </a: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2236207549"/>
                  </a:ext>
                </a:extLst>
              </a:tr>
              <a:tr h="245989">
                <a:tc>
                  <a:txBody>
                    <a:bodyPr/>
                    <a:lstStyle/>
                    <a:p>
                      <a:pPr algn="l" fontAlgn="ctr"/>
                      <a:r>
                        <a:rPr lang="en-CA" sz="1100" b="1" i="0" u="none" strike="noStrike">
                          <a:solidFill>
                            <a:srgbClr val="000000"/>
                          </a:solidFill>
                          <a:effectLst/>
                          <a:latin typeface="Arial"/>
                        </a:rPr>
                        <a:t> PV of FCFF</a:t>
                      </a: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DF7ED"/>
                    </a:solidFill>
                  </a:tcPr>
                </a:tc>
                <a:tc>
                  <a:txBody>
                    <a:bodyPr/>
                    <a:lstStyle/>
                    <a:p>
                      <a:pPr algn="l" fontAlgn="ctr"/>
                      <a:endParaRPr lang="en-CA" sz="1100" b="1" i="0"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l" fontAlgn="ctr"/>
                      <a:endParaRPr lang="en-CA" sz="1100" b="1" i="0"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r" fontAlgn="ctr"/>
                      <a:r>
                        <a:rPr lang="en-US" sz="1100" b="1" i="0" u="none" strike="noStrike">
                          <a:solidFill>
                            <a:srgbClr val="000000"/>
                          </a:solidFill>
                          <a:effectLst/>
                          <a:latin typeface="Arial"/>
                        </a:rPr>
                        <a:t>        39,356.58 </a:t>
                      </a: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665927923"/>
                  </a:ext>
                </a:extLst>
              </a:tr>
              <a:tr h="245989">
                <a:tc>
                  <a:txBody>
                    <a:bodyPr/>
                    <a:lstStyle/>
                    <a:p>
                      <a:pPr algn="l" fontAlgn="ctr"/>
                      <a:r>
                        <a:rPr lang="en-CA" sz="1100" b="0" i="0" u="none" strike="noStrike">
                          <a:solidFill>
                            <a:srgbClr val="000000"/>
                          </a:solidFill>
                          <a:effectLst/>
                          <a:latin typeface="Arial"/>
                        </a:rPr>
                        <a:t> % of EV</a:t>
                      </a:r>
                    </a:p>
                  </a:txBody>
                  <a:tcPr marL="0" marR="0" marT="0" marB="0" anchor="ctr">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a:txBody>
                    <a:bodyPr/>
                    <a:lstStyle/>
                    <a:p>
                      <a:pPr algn="l" fontAlgn="ctr"/>
                      <a:endParaRPr lang="en-CA" sz="1100" b="0" i="0" u="none" strike="noStrike">
                        <a:solidFill>
                          <a:srgbClr val="000000"/>
                        </a:solidFill>
                        <a:effectLst/>
                        <a:latin typeface="Arial"/>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a:txBody>
                    <a:bodyPr/>
                    <a:lstStyle/>
                    <a:p>
                      <a:pPr algn="r" fontAlgn="ctr"/>
                      <a:r>
                        <a:rPr lang="en-US" sz="1100" b="0" i="0" u="none" strike="noStrike">
                          <a:solidFill>
                            <a:srgbClr val="000000"/>
                          </a:solidFill>
                          <a:effectLst/>
                          <a:latin typeface="Arial"/>
                        </a:rPr>
                        <a:t>34.70%</a:t>
                      </a:r>
                    </a:p>
                  </a:txBody>
                  <a:tcPr marL="0" marR="0" marT="0" marB="0" anchor="ctr">
                    <a:lnL>
                      <a:noFill/>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1298159748"/>
                  </a:ext>
                </a:extLst>
              </a:tr>
              <a:tr h="262389">
                <a:tc gridSpan="2">
                  <a:txBody>
                    <a:bodyPr/>
                    <a:lstStyle/>
                    <a:p>
                      <a:pPr algn="l" fontAlgn="ctr"/>
                      <a:r>
                        <a:rPr lang="en-CA" sz="1100" b="1" i="0" u="none" strike="noStrike">
                          <a:solidFill>
                            <a:srgbClr val="000000"/>
                          </a:solidFill>
                          <a:effectLst/>
                          <a:latin typeface="Arial"/>
                        </a:rPr>
                        <a:t> Enterprise Value </a:t>
                      </a:r>
                    </a:p>
                  </a:txBody>
                  <a:tcPr marL="0" marR="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8FAE5"/>
                    </a:solidFill>
                  </a:tcPr>
                </a:tc>
                <a:tc hMerge="1">
                  <a:txBody>
                    <a:bodyPr/>
                    <a:lstStyle/>
                    <a:p>
                      <a:endParaRPr lang="en-US"/>
                    </a:p>
                  </a:txBody>
                  <a:tcPr/>
                </a:tc>
                <a:tc>
                  <a:txBody>
                    <a:bodyPr/>
                    <a:lstStyle/>
                    <a:p>
                      <a:pPr algn="l" fontAlgn="ctr"/>
                      <a:endParaRPr lang="en-CA" sz="1100" b="1" i="0" u="none" strike="noStrike">
                        <a:solidFill>
                          <a:srgbClr val="000000"/>
                        </a:solidFill>
                        <a:effectLst/>
                        <a:latin typeface="Arial"/>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8FAE5"/>
                    </a:solidFill>
                  </a:tcPr>
                </a:tc>
                <a:tc>
                  <a:txBody>
                    <a:bodyPr/>
                    <a:lstStyle/>
                    <a:p>
                      <a:pPr algn="r" fontAlgn="ctr"/>
                      <a:r>
                        <a:rPr lang="en-US" sz="1100" b="1" i="0" u="none" strike="noStrike">
                          <a:solidFill>
                            <a:srgbClr val="000000"/>
                          </a:solidFill>
                          <a:effectLst/>
                          <a:latin typeface="Arial"/>
                        </a:rPr>
                        <a:t>      113,427.39 </a:t>
                      </a: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8FAE5"/>
                    </a:solidFill>
                  </a:tcPr>
                </a:tc>
                <a:extLst>
                  <a:ext uri="{0D108BD9-81ED-4DB2-BD59-A6C34878D82A}">
                    <a16:rowId xmlns:a16="http://schemas.microsoft.com/office/drawing/2014/main" val="3557527591"/>
                  </a:ext>
                </a:extLst>
              </a:tr>
            </a:tbl>
          </a:graphicData>
        </a:graphic>
      </p:graphicFrame>
      <p:graphicFrame>
        <p:nvGraphicFramePr>
          <p:cNvPr id="9" name="Table 8">
            <a:extLst>
              <a:ext uri="{FF2B5EF4-FFF2-40B4-BE49-F238E27FC236}">
                <a16:creationId xmlns:a16="http://schemas.microsoft.com/office/drawing/2014/main" id="{F4569315-059B-41F8-8F00-60280CD2D7BB}"/>
              </a:ext>
            </a:extLst>
          </p:cNvPr>
          <p:cNvGraphicFramePr>
            <a:graphicFrameLocks noGrp="1"/>
          </p:cNvGraphicFramePr>
          <p:nvPr>
            <p:extLst>
              <p:ext uri="{D42A27DB-BD31-4B8C-83A1-F6EECF244321}">
                <p14:modId xmlns:p14="http://schemas.microsoft.com/office/powerpoint/2010/main" val="4284431682"/>
              </p:ext>
            </p:extLst>
          </p:nvPr>
        </p:nvGraphicFramePr>
        <p:xfrm>
          <a:off x="4796645" y="3826202"/>
          <a:ext cx="3937000" cy="2222101"/>
        </p:xfrm>
        <a:graphic>
          <a:graphicData uri="http://schemas.openxmlformats.org/drawingml/2006/table">
            <a:tbl>
              <a:tblPr/>
              <a:tblGrid>
                <a:gridCol w="1028700">
                  <a:extLst>
                    <a:ext uri="{9D8B030D-6E8A-4147-A177-3AD203B41FA5}">
                      <a16:colId xmlns:a16="http://schemas.microsoft.com/office/drawing/2014/main" val="2626999894"/>
                    </a:ext>
                  </a:extLst>
                </a:gridCol>
                <a:gridCol w="965200">
                  <a:extLst>
                    <a:ext uri="{9D8B030D-6E8A-4147-A177-3AD203B41FA5}">
                      <a16:colId xmlns:a16="http://schemas.microsoft.com/office/drawing/2014/main" val="279185194"/>
                    </a:ext>
                  </a:extLst>
                </a:gridCol>
                <a:gridCol w="952500">
                  <a:extLst>
                    <a:ext uri="{9D8B030D-6E8A-4147-A177-3AD203B41FA5}">
                      <a16:colId xmlns:a16="http://schemas.microsoft.com/office/drawing/2014/main" val="3531855265"/>
                    </a:ext>
                  </a:extLst>
                </a:gridCol>
                <a:gridCol w="990600">
                  <a:extLst>
                    <a:ext uri="{9D8B030D-6E8A-4147-A177-3AD203B41FA5}">
                      <a16:colId xmlns:a16="http://schemas.microsoft.com/office/drawing/2014/main" val="4148726063"/>
                    </a:ext>
                  </a:extLst>
                </a:gridCol>
              </a:tblGrid>
              <a:tr h="262389">
                <a:tc gridSpan="3">
                  <a:txBody>
                    <a:bodyPr/>
                    <a:lstStyle/>
                    <a:p>
                      <a:pPr algn="l" fontAlgn="ctr"/>
                      <a:r>
                        <a:rPr lang="en-US" sz="1100" b="1" i="0" u="none" strike="noStrike">
                          <a:solidFill>
                            <a:srgbClr val="000000"/>
                          </a:solidFill>
                          <a:effectLst/>
                          <a:latin typeface="Arial"/>
                        </a:rPr>
                        <a:t>Revenue Exit Multiple Method</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hMerge="1">
                  <a:txBody>
                    <a:bodyPr/>
                    <a:lstStyle/>
                    <a:p>
                      <a:endParaRPr lang="en-US"/>
                    </a:p>
                  </a:txBody>
                  <a:tcPr/>
                </a:tc>
                <a:tc hMerge="1">
                  <a:txBody>
                    <a:bodyPr/>
                    <a:lstStyle/>
                    <a:p>
                      <a:endParaRPr lang="en-US"/>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en-US" sz="1100" b="1" i="0" u="none" strike="noStrike">
                          <a:solidFill>
                            <a:srgbClr val="000000"/>
                          </a:solidFill>
                          <a:effectLst/>
                          <a:latin typeface="Arial"/>
                        </a:rPr>
                        <a:t>6.7x</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147150953"/>
                  </a:ext>
                </a:extLst>
              </a:tr>
              <a:tr h="245989">
                <a:tc gridSpan="2">
                  <a:txBody>
                    <a:bodyPr/>
                    <a:lstStyle/>
                    <a:p>
                      <a:pPr algn="l" fontAlgn="ctr"/>
                      <a:r>
                        <a:rPr lang="en-US" sz="1100" b="0" i="0" u="none" strike="noStrike">
                          <a:solidFill>
                            <a:srgbClr val="000000"/>
                          </a:solidFill>
                          <a:effectLst/>
                          <a:latin typeface="Arial"/>
                        </a:rPr>
                        <a:t>EV/Revenue Multiple</a:t>
                      </a:r>
                    </a:p>
                  </a:txBody>
                  <a:tcPr marL="0" marR="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tc hMerge="1">
                  <a:txBody>
                    <a:bodyPr/>
                    <a:lstStyle/>
                    <a:p>
                      <a:endParaRPr lang="en-US"/>
                    </a:p>
                  </a:txBody>
                  <a:tcPr/>
                </a:tc>
                <a:tc>
                  <a:txBody>
                    <a:bodyPr/>
                    <a:lstStyle/>
                    <a:p>
                      <a:pPr algn="l" fontAlgn="ctr"/>
                      <a:endParaRPr lang="en-US" sz="1100" b="0" i="0" u="none" strike="noStrike">
                        <a:solidFill>
                          <a:srgbClr val="000000"/>
                        </a:solidFill>
                        <a:effectLst/>
                        <a:latin typeface="Arial"/>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tc>
                  <a:txBody>
                    <a:bodyPr/>
                    <a:lstStyle/>
                    <a:p>
                      <a:pPr algn="r" fontAlgn="ctr"/>
                      <a:r>
                        <a:rPr lang="en-US" sz="1100" b="0" i="0" u="none" strike="noStrike">
                          <a:solidFill>
                            <a:srgbClr val="000000"/>
                          </a:solidFill>
                          <a:effectLst/>
                          <a:latin typeface="Arial"/>
                        </a:rPr>
                        <a:t>6.70</a:t>
                      </a: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551828624"/>
                  </a:ext>
                </a:extLst>
              </a:tr>
              <a:tr h="245989">
                <a:tc gridSpan="2">
                  <a:txBody>
                    <a:bodyPr/>
                    <a:lstStyle/>
                    <a:p>
                      <a:pPr algn="l" fontAlgn="ctr"/>
                      <a:r>
                        <a:rPr lang="en-US" sz="1100" b="0" i="0" u="none" strike="noStrike">
                          <a:solidFill>
                            <a:srgbClr val="000000"/>
                          </a:solidFill>
                          <a:effectLst/>
                          <a:latin typeface="Arial"/>
                        </a:rPr>
                        <a:t>Terminal Year Revenue</a:t>
                      </a:r>
                    </a:p>
                  </a:txBody>
                  <a:tcPr marL="0" marR="0" marT="0" marB="0" anchor="ctr">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hMerge="1">
                  <a:txBody>
                    <a:bodyPr/>
                    <a:lstStyle/>
                    <a:p>
                      <a:endParaRPr lang="en-US"/>
                    </a:p>
                  </a:txBody>
                  <a:tcPr/>
                </a:tc>
                <a:tc>
                  <a:txBody>
                    <a:bodyPr/>
                    <a:lstStyle/>
                    <a:p>
                      <a:pPr algn="l" fontAlgn="ctr"/>
                      <a:endParaRPr lang="en-US" sz="1100" b="0" i="0" u="none" strike="noStrike">
                        <a:solidFill>
                          <a:srgbClr val="000000"/>
                        </a:solidFill>
                        <a:effectLst/>
                        <a:latin typeface="Arial"/>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a:txBody>
                    <a:bodyPr/>
                    <a:lstStyle/>
                    <a:p>
                      <a:pPr algn="r" fontAlgn="ctr"/>
                      <a:r>
                        <a:rPr lang="en-US" sz="1100" b="0" i="0" u="none" strike="noStrike">
                          <a:solidFill>
                            <a:srgbClr val="000000"/>
                          </a:solidFill>
                          <a:effectLst/>
                          <a:latin typeface="Arial"/>
                        </a:rPr>
                        <a:t>        32,369.97 </a:t>
                      </a:r>
                    </a:p>
                  </a:txBody>
                  <a:tcPr marL="0" marR="0" marT="0" marB="0" anchor="ctr">
                    <a:lnL>
                      <a:noFill/>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2009740939"/>
                  </a:ext>
                </a:extLst>
              </a:tr>
              <a:tr h="245989">
                <a:tc>
                  <a:txBody>
                    <a:bodyPr/>
                    <a:lstStyle/>
                    <a:p>
                      <a:pPr algn="l" fontAlgn="ctr"/>
                      <a:r>
                        <a:rPr lang="en-US" sz="1100" b="0" i="0" u="none" strike="noStrike">
                          <a:solidFill>
                            <a:srgbClr val="000000"/>
                          </a:solidFill>
                          <a:effectLst/>
                          <a:latin typeface="Arial"/>
                        </a:rPr>
                        <a:t>Terminal Value</a:t>
                      </a:r>
                    </a:p>
                  </a:txBody>
                  <a:tcPr marL="0" marR="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tc>
                  <a:txBody>
                    <a:bodyPr/>
                    <a:lstStyle/>
                    <a:p>
                      <a:pPr algn="l" fontAlgn="ctr"/>
                      <a:endParaRPr lang="en-US" sz="1100" b="0" i="0" u="none" strike="noStrike">
                        <a:solidFill>
                          <a:srgbClr val="000000"/>
                        </a:solidFill>
                        <a:effectLst/>
                        <a:latin typeface="Arial"/>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tc>
                  <a:txBody>
                    <a:bodyPr/>
                    <a:lstStyle/>
                    <a:p>
                      <a:pPr algn="l" fontAlgn="ctr"/>
                      <a:endParaRPr lang="en-US" sz="1100" b="0" i="0" u="none" strike="noStrike">
                        <a:solidFill>
                          <a:srgbClr val="000000"/>
                        </a:solidFill>
                        <a:effectLst/>
                        <a:latin typeface="Arial"/>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tc>
                  <a:txBody>
                    <a:bodyPr/>
                    <a:lstStyle/>
                    <a:p>
                      <a:pPr algn="r" fontAlgn="ctr"/>
                      <a:r>
                        <a:rPr lang="en-US" sz="1100" b="0" i="0" u="none" strike="noStrike">
                          <a:solidFill>
                            <a:srgbClr val="000000"/>
                          </a:solidFill>
                          <a:effectLst/>
                          <a:latin typeface="Arial"/>
                        </a:rPr>
                        <a:t>      216,878.79 </a:t>
                      </a: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3492455590"/>
                  </a:ext>
                </a:extLst>
              </a:tr>
              <a:tr h="233689">
                <a:tc gridSpan="2">
                  <a:txBody>
                    <a:bodyPr/>
                    <a:lstStyle/>
                    <a:p>
                      <a:pPr algn="l" fontAlgn="ctr"/>
                      <a:r>
                        <a:rPr lang="en-US" sz="1100" b="1" i="0" u="none" strike="noStrike">
                          <a:solidFill>
                            <a:srgbClr val="000000"/>
                          </a:solidFill>
                          <a:effectLst/>
                          <a:latin typeface="Arial"/>
                        </a:rPr>
                        <a:t>PV of Terminal Value</a:t>
                      </a: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DF7ED"/>
                    </a:solidFill>
                  </a:tcPr>
                </a:tc>
                <a:tc hMerge="1">
                  <a:txBody>
                    <a:bodyPr/>
                    <a:lstStyle/>
                    <a:p>
                      <a:endParaRPr lang="en-US"/>
                    </a:p>
                  </a:txBody>
                  <a:tcPr/>
                </a:tc>
                <a:tc>
                  <a:txBody>
                    <a:bodyPr/>
                    <a:lstStyle/>
                    <a:p>
                      <a:pPr algn="l" fontAlgn="ctr"/>
                      <a:endParaRPr lang="en-US" sz="1100" b="1" i="0"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r" fontAlgn="ctr"/>
                      <a:r>
                        <a:rPr lang="en-US" sz="1100" b="1" i="0" u="none" strike="noStrike">
                          <a:solidFill>
                            <a:srgbClr val="000000"/>
                          </a:solidFill>
                          <a:effectLst/>
                          <a:latin typeface="Arial"/>
                        </a:rPr>
                        <a:t>        62,886.73 </a:t>
                      </a: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2404381691"/>
                  </a:ext>
                </a:extLst>
              </a:tr>
              <a:tr h="233689">
                <a:tc>
                  <a:txBody>
                    <a:bodyPr/>
                    <a:lstStyle/>
                    <a:p>
                      <a:pPr algn="l" fontAlgn="ctr"/>
                      <a:r>
                        <a:rPr lang="en-US" sz="1100" b="0" i="0" u="none" strike="noStrike">
                          <a:solidFill>
                            <a:srgbClr val="000000"/>
                          </a:solidFill>
                          <a:effectLst/>
                          <a:latin typeface="Arial"/>
                        </a:rPr>
                        <a:t>% of EV</a:t>
                      </a: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DF7ED"/>
                    </a:solidFill>
                  </a:tcPr>
                </a:tc>
                <a:tc>
                  <a:txBody>
                    <a:bodyPr/>
                    <a:lstStyle/>
                    <a:p>
                      <a:pPr algn="l" fontAlgn="ctr"/>
                      <a:endParaRPr lang="en-US" sz="1100" b="0" i="0"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l" fontAlgn="ctr"/>
                      <a:endParaRPr lang="en-US" sz="1100" b="0" i="0"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r" fontAlgn="ctr"/>
                      <a:r>
                        <a:rPr lang="en-US" sz="1100" b="0" i="0" u="none" strike="noStrike">
                          <a:solidFill>
                            <a:srgbClr val="000000"/>
                          </a:solidFill>
                          <a:effectLst/>
                          <a:latin typeface="Arial"/>
                        </a:rPr>
                        <a:t>60.23%</a:t>
                      </a: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2236207549"/>
                  </a:ext>
                </a:extLst>
              </a:tr>
              <a:tr h="245989">
                <a:tc>
                  <a:txBody>
                    <a:bodyPr/>
                    <a:lstStyle/>
                    <a:p>
                      <a:pPr algn="l" fontAlgn="ctr"/>
                      <a:r>
                        <a:rPr lang="en-US" sz="1100" b="1" i="0" u="none" strike="noStrike">
                          <a:solidFill>
                            <a:srgbClr val="000000"/>
                          </a:solidFill>
                          <a:effectLst/>
                          <a:latin typeface="Arial"/>
                        </a:rPr>
                        <a:t>PV of FCFF</a:t>
                      </a: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DF7ED"/>
                    </a:solidFill>
                  </a:tcPr>
                </a:tc>
                <a:tc>
                  <a:txBody>
                    <a:bodyPr/>
                    <a:lstStyle/>
                    <a:p>
                      <a:pPr algn="l" fontAlgn="ctr"/>
                      <a:endParaRPr lang="en-US" sz="1100" b="1" i="0"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l" fontAlgn="ctr"/>
                      <a:endParaRPr lang="en-US" sz="1100" b="1" i="0" u="none" strike="noStrike">
                        <a:solidFill>
                          <a:srgbClr val="000000"/>
                        </a:solidFill>
                        <a:effectLst/>
                        <a:latin typeface="Arial"/>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DF7ED"/>
                    </a:solidFill>
                  </a:tcPr>
                </a:tc>
                <a:tc>
                  <a:txBody>
                    <a:bodyPr/>
                    <a:lstStyle/>
                    <a:p>
                      <a:pPr algn="r" fontAlgn="ctr"/>
                      <a:r>
                        <a:rPr lang="en-US" sz="1100" b="1" i="0" u="none" strike="noStrike">
                          <a:solidFill>
                            <a:srgbClr val="000000"/>
                          </a:solidFill>
                          <a:effectLst/>
                          <a:latin typeface="Arial"/>
                        </a:rPr>
                        <a:t>        41,531.96 </a:t>
                      </a: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665927923"/>
                  </a:ext>
                </a:extLst>
              </a:tr>
              <a:tr h="245989">
                <a:tc>
                  <a:txBody>
                    <a:bodyPr/>
                    <a:lstStyle/>
                    <a:p>
                      <a:pPr algn="l" fontAlgn="ctr"/>
                      <a:r>
                        <a:rPr lang="en-US" sz="1100" b="0" i="0" u="none" strike="noStrike">
                          <a:solidFill>
                            <a:srgbClr val="000000"/>
                          </a:solidFill>
                          <a:effectLst/>
                          <a:latin typeface="Arial"/>
                        </a:rPr>
                        <a:t>% of EV</a:t>
                      </a:r>
                    </a:p>
                  </a:txBody>
                  <a:tcPr marL="0" marR="0" marT="0" marB="0" anchor="ctr">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a:txBody>
                    <a:bodyPr/>
                    <a:lstStyle/>
                    <a:p>
                      <a:pPr algn="l" fontAlgn="ctr"/>
                      <a:endParaRPr lang="en-US" sz="1100" b="0" i="0" u="none" strike="noStrike">
                        <a:solidFill>
                          <a:srgbClr val="000000"/>
                        </a:solidFill>
                        <a:effectLst/>
                        <a:latin typeface="Arial"/>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a:txBody>
                    <a:bodyPr/>
                    <a:lstStyle/>
                    <a:p>
                      <a:pPr algn="l" fontAlgn="ctr"/>
                      <a:endParaRPr lang="en-US" sz="1100" b="0" i="0" u="none" strike="noStrike">
                        <a:solidFill>
                          <a:srgbClr val="000000"/>
                        </a:solidFill>
                        <a:effectLst/>
                        <a:latin typeface="Arial"/>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a:txBody>
                    <a:bodyPr/>
                    <a:lstStyle/>
                    <a:p>
                      <a:pPr algn="r" fontAlgn="ctr"/>
                      <a:r>
                        <a:rPr lang="en-US" sz="1100" b="0" i="0" u="none" strike="noStrike">
                          <a:solidFill>
                            <a:srgbClr val="000000"/>
                          </a:solidFill>
                          <a:effectLst/>
                          <a:latin typeface="Arial"/>
                        </a:rPr>
                        <a:t>39.77%</a:t>
                      </a:r>
                    </a:p>
                  </a:txBody>
                  <a:tcPr marL="0" marR="0" marT="0" marB="0" anchor="ctr">
                    <a:lnL>
                      <a:noFill/>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1298159748"/>
                  </a:ext>
                </a:extLst>
              </a:tr>
              <a:tr h="262389">
                <a:tc gridSpan="2">
                  <a:txBody>
                    <a:bodyPr/>
                    <a:lstStyle/>
                    <a:p>
                      <a:pPr algn="l" fontAlgn="ctr"/>
                      <a:r>
                        <a:rPr lang="en-US" sz="1100" b="1" i="0" u="none" strike="noStrike">
                          <a:solidFill>
                            <a:srgbClr val="000000"/>
                          </a:solidFill>
                          <a:effectLst/>
                          <a:latin typeface="Arial"/>
                        </a:rPr>
                        <a:t>Enterprise Value </a:t>
                      </a:r>
                    </a:p>
                  </a:txBody>
                  <a:tcPr marL="0" marR="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8FAE5"/>
                    </a:solidFill>
                  </a:tcPr>
                </a:tc>
                <a:tc hMerge="1">
                  <a:txBody>
                    <a:bodyPr/>
                    <a:lstStyle/>
                    <a:p>
                      <a:endParaRPr lang="en-US"/>
                    </a:p>
                  </a:txBody>
                  <a:tcPr/>
                </a:tc>
                <a:tc>
                  <a:txBody>
                    <a:bodyPr/>
                    <a:lstStyle/>
                    <a:p>
                      <a:pPr algn="l" fontAlgn="ctr"/>
                      <a:endParaRPr lang="en-US" sz="1100" b="1" i="0" u="none" strike="noStrike">
                        <a:solidFill>
                          <a:srgbClr val="000000"/>
                        </a:solidFill>
                        <a:effectLst/>
                        <a:latin typeface="Arial"/>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8FAE5"/>
                    </a:solidFill>
                  </a:tcPr>
                </a:tc>
                <a:tc>
                  <a:txBody>
                    <a:bodyPr/>
                    <a:lstStyle/>
                    <a:p>
                      <a:pPr algn="r" fontAlgn="ctr"/>
                      <a:r>
                        <a:rPr lang="en-US" sz="1100" b="1" i="0" u="none" strike="noStrike">
                          <a:solidFill>
                            <a:srgbClr val="000000"/>
                          </a:solidFill>
                          <a:effectLst/>
                          <a:latin typeface="Arial"/>
                        </a:rPr>
                        <a:t>      104,418.69 </a:t>
                      </a: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8FAE5"/>
                    </a:solidFill>
                  </a:tcPr>
                </a:tc>
                <a:extLst>
                  <a:ext uri="{0D108BD9-81ED-4DB2-BD59-A6C34878D82A}">
                    <a16:rowId xmlns:a16="http://schemas.microsoft.com/office/drawing/2014/main" val="3557527591"/>
                  </a:ext>
                </a:extLst>
              </a:tr>
            </a:tbl>
          </a:graphicData>
        </a:graphic>
      </p:graphicFrame>
      <p:graphicFrame>
        <p:nvGraphicFramePr>
          <p:cNvPr id="2" name="Table 1">
            <a:extLst>
              <a:ext uri="{FF2B5EF4-FFF2-40B4-BE49-F238E27FC236}">
                <a16:creationId xmlns:a16="http://schemas.microsoft.com/office/drawing/2014/main" id="{7C62835C-1156-4618-B89A-1C555DCB6340}"/>
              </a:ext>
            </a:extLst>
          </p:cNvPr>
          <p:cNvGraphicFramePr>
            <a:graphicFrameLocks noGrp="1"/>
          </p:cNvGraphicFramePr>
          <p:nvPr>
            <p:extLst>
              <p:ext uri="{D42A27DB-BD31-4B8C-83A1-F6EECF244321}">
                <p14:modId xmlns:p14="http://schemas.microsoft.com/office/powerpoint/2010/main" val="3025491577"/>
              </p:ext>
            </p:extLst>
          </p:nvPr>
        </p:nvGraphicFramePr>
        <p:xfrm>
          <a:off x="410355" y="951722"/>
          <a:ext cx="3928007" cy="2255568"/>
        </p:xfrm>
        <a:graphic>
          <a:graphicData uri="http://schemas.openxmlformats.org/drawingml/2006/table">
            <a:tbl>
              <a:tblPr>
                <a:tableStyleId>{5C22544A-7EE6-4342-B048-85BDC9FD1C3A}</a:tableStyleId>
              </a:tblPr>
              <a:tblGrid>
                <a:gridCol w="1984130">
                  <a:extLst>
                    <a:ext uri="{9D8B030D-6E8A-4147-A177-3AD203B41FA5}">
                      <a16:colId xmlns:a16="http://schemas.microsoft.com/office/drawing/2014/main" val="509979115"/>
                    </a:ext>
                  </a:extLst>
                </a:gridCol>
                <a:gridCol w="1943877">
                  <a:extLst>
                    <a:ext uri="{9D8B030D-6E8A-4147-A177-3AD203B41FA5}">
                      <a16:colId xmlns:a16="http://schemas.microsoft.com/office/drawing/2014/main" val="52606201"/>
                    </a:ext>
                  </a:extLst>
                </a:gridCol>
              </a:tblGrid>
              <a:tr h="194643">
                <a:tc>
                  <a:txBody>
                    <a:bodyPr/>
                    <a:lstStyle/>
                    <a:p>
                      <a:pPr algn="l" fontAlgn="ctr"/>
                      <a:r>
                        <a:rPr lang="en-US" sz="1100" b="1" u="none" strike="noStrike">
                          <a:effectLst/>
                        </a:rPr>
                        <a:t>Key Metrics</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0">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tc>
                  <a:txBody>
                    <a:bodyPr/>
                    <a:lstStyle/>
                    <a:p>
                      <a:pPr algn="r" fontAlgn="ctr"/>
                      <a:r>
                        <a:rPr lang="en-US" sz="1100" b="1" u="none" strike="noStrike">
                          <a:effectLst/>
                        </a:rPr>
                        <a:t>Value</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1761446712"/>
                  </a:ext>
                </a:extLst>
              </a:tr>
              <a:tr h="309139">
                <a:tc>
                  <a:txBody>
                    <a:bodyPr/>
                    <a:lstStyle/>
                    <a:p>
                      <a:pPr algn="l" fontAlgn="ctr"/>
                      <a:r>
                        <a:rPr lang="en-US" sz="1100" b="1" u="none" strike="noStrike">
                          <a:effectLst/>
                        </a:rPr>
                        <a:t>Terminal Growth Rate</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DF7ED"/>
                    </a:solidFill>
                  </a:tcPr>
                </a:tc>
                <a:tc>
                  <a:txBody>
                    <a:bodyPr/>
                    <a:lstStyle/>
                    <a:p>
                      <a:pPr algn="r" fontAlgn="ctr"/>
                      <a:r>
                        <a:rPr lang="en-US" sz="1100" b="1" u="none" strike="noStrike">
                          <a:effectLst/>
                        </a:rPr>
                        <a:t>4.00%</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4240006805"/>
                  </a:ext>
                </a:extLst>
              </a:tr>
              <a:tr h="343488">
                <a:tc>
                  <a:txBody>
                    <a:bodyPr/>
                    <a:lstStyle/>
                    <a:p>
                      <a:pPr algn="l" fontAlgn="ctr"/>
                      <a:r>
                        <a:rPr lang="en-US" sz="1100" b="1" u="none" strike="noStrike">
                          <a:effectLst/>
                        </a:rPr>
                        <a:t>US GDP LT Growth Rate (1948-2024)</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DF7ED"/>
                    </a:solidFill>
                  </a:tcPr>
                </a:tc>
                <a:tc>
                  <a:txBody>
                    <a:bodyPr/>
                    <a:lstStyle/>
                    <a:p>
                      <a:pPr algn="r" fontAlgn="ctr"/>
                      <a:r>
                        <a:rPr lang="en-US" sz="1100" b="1" u="none" strike="noStrike">
                          <a:effectLst/>
                        </a:rPr>
                        <a:t>3.20%</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4052226606"/>
                  </a:ext>
                </a:extLst>
              </a:tr>
              <a:tr h="206092">
                <a:tc>
                  <a:txBody>
                    <a:bodyPr/>
                    <a:lstStyle/>
                    <a:p>
                      <a:pPr algn="l" fontAlgn="ctr"/>
                      <a:r>
                        <a:rPr lang="en-US" sz="1100" b="1" u="none" strike="noStrike">
                          <a:effectLst/>
                        </a:rPr>
                        <a:t>TV WACC</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DF7ED"/>
                    </a:solidFill>
                  </a:tcPr>
                </a:tc>
                <a:tc>
                  <a:txBody>
                    <a:bodyPr/>
                    <a:lstStyle/>
                    <a:p>
                      <a:pPr algn="r" fontAlgn="ctr"/>
                      <a:r>
                        <a:rPr lang="en-US" sz="1100" b="1" u="none" strike="noStrike">
                          <a:effectLst/>
                        </a:rPr>
                        <a:t>13.19%</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3502564222"/>
                  </a:ext>
                </a:extLst>
              </a:tr>
              <a:tr h="309139">
                <a:tc>
                  <a:txBody>
                    <a:bodyPr/>
                    <a:lstStyle/>
                    <a:p>
                      <a:pPr algn="l" fontAlgn="ctr"/>
                      <a:r>
                        <a:rPr lang="en-US" sz="1100" b="1" u="none" strike="noStrike">
                          <a:effectLst/>
                        </a:rPr>
                        <a:t>EV/EBITDA Multiple</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DF7ED"/>
                    </a:solidFill>
                  </a:tcPr>
                </a:tc>
                <a:tc>
                  <a:txBody>
                    <a:bodyPr/>
                    <a:lstStyle/>
                    <a:p>
                      <a:pPr algn="r" fontAlgn="ctr"/>
                      <a:r>
                        <a:rPr lang="en-US" sz="1100" b="1" u="none" strike="noStrike">
                          <a:effectLst/>
                        </a:rPr>
                        <a:t>14.9x</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17651152"/>
                  </a:ext>
                </a:extLst>
              </a:tr>
              <a:tr h="206092">
                <a:tc>
                  <a:txBody>
                    <a:bodyPr/>
                    <a:lstStyle/>
                    <a:p>
                      <a:pPr algn="l" fontAlgn="ctr"/>
                      <a:r>
                        <a:rPr lang="en-US" sz="1100" b="1" u="none" strike="noStrike">
                          <a:effectLst/>
                        </a:rPr>
                        <a:t>EV/Revenue Multiple</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DF7ED"/>
                    </a:solidFill>
                  </a:tcPr>
                </a:tc>
                <a:tc>
                  <a:txBody>
                    <a:bodyPr/>
                    <a:lstStyle/>
                    <a:p>
                      <a:pPr algn="r" fontAlgn="ctr"/>
                      <a:r>
                        <a:rPr lang="en-US" sz="1100" b="1" u="none" strike="noStrike">
                          <a:effectLst/>
                        </a:rPr>
                        <a:t>6.7x</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3254829058"/>
                  </a:ext>
                </a:extLst>
              </a:tr>
              <a:tr h="309139">
                <a:tc>
                  <a:txBody>
                    <a:bodyPr/>
                    <a:lstStyle/>
                    <a:p>
                      <a:pPr algn="l" fontAlgn="ctr"/>
                      <a:r>
                        <a:rPr lang="en-US" sz="1100" b="1" u="none" strike="noStrike">
                          <a:effectLst/>
                        </a:rPr>
                        <a:t>Terminal Year EBITDA</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DF7ED"/>
                    </a:solidFill>
                  </a:tcPr>
                </a:tc>
                <a:tc>
                  <a:txBody>
                    <a:bodyPr/>
                    <a:lstStyle/>
                    <a:p>
                      <a:pPr algn="r" fontAlgn="ctr"/>
                      <a:r>
                        <a:rPr lang="en-US" sz="1100" b="1" u="none" strike="noStrike">
                          <a:effectLst/>
                        </a:rPr>
                        <a:t>         17,144.26 </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4018772268"/>
                  </a:ext>
                </a:extLst>
              </a:tr>
              <a:tr h="171744">
                <a:tc>
                  <a:txBody>
                    <a:bodyPr/>
                    <a:lstStyle/>
                    <a:p>
                      <a:pPr algn="l" fontAlgn="ctr"/>
                      <a:r>
                        <a:rPr lang="en-US" sz="1100" b="1" u="none" strike="noStrike">
                          <a:effectLst/>
                        </a:rPr>
                        <a:t>Terminal Year Revenue</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DF7ED"/>
                    </a:solidFill>
                  </a:tcPr>
                </a:tc>
                <a:tc>
                  <a:txBody>
                    <a:bodyPr/>
                    <a:lstStyle/>
                    <a:p>
                      <a:pPr algn="r" fontAlgn="ctr"/>
                      <a:r>
                        <a:rPr lang="en-US" sz="1100" b="1" u="none" strike="noStrike">
                          <a:effectLst/>
                        </a:rPr>
                        <a:t>32,369.97          </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505505376"/>
                  </a:ext>
                </a:extLst>
              </a:tr>
              <a:tr h="206092">
                <a:tc>
                  <a:txBody>
                    <a:bodyPr/>
                    <a:lstStyle/>
                    <a:p>
                      <a:pPr algn="l" fontAlgn="ctr"/>
                      <a:r>
                        <a:rPr lang="en-US" sz="1100" b="1" u="none" strike="noStrike">
                          <a:effectLst/>
                        </a:rPr>
                        <a:t>Diluted Shares Outstanding</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DF7ED"/>
                    </a:solidFill>
                  </a:tcPr>
                </a:tc>
                <a:tc>
                  <a:txBody>
                    <a:bodyPr/>
                    <a:lstStyle/>
                    <a:p>
                      <a:pPr algn="r" fontAlgn="ctr"/>
                      <a:r>
                        <a:rPr lang="en-US" sz="1100" b="1" u="none" strike="noStrike">
                          <a:effectLst/>
                        </a:rPr>
                        <a:t>343.87</a:t>
                      </a:r>
                      <a:endParaRPr lang="en-US" sz="11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DF7ED"/>
                    </a:solidFill>
                  </a:tcPr>
                </a:tc>
                <a:extLst>
                  <a:ext uri="{0D108BD9-81ED-4DB2-BD59-A6C34878D82A}">
                    <a16:rowId xmlns:a16="http://schemas.microsoft.com/office/drawing/2014/main" val="3024589831"/>
                  </a:ext>
                </a:extLst>
              </a:tr>
            </a:tbl>
          </a:graphicData>
        </a:graphic>
      </p:graphicFrame>
      <p:sp>
        <p:nvSpPr>
          <p:cNvPr id="8" name="TextBox 7">
            <a:extLst>
              <a:ext uri="{FF2B5EF4-FFF2-40B4-BE49-F238E27FC236}">
                <a16:creationId xmlns:a16="http://schemas.microsoft.com/office/drawing/2014/main" id="{D4F84DE7-6D46-60D3-6634-22C22F351230}"/>
              </a:ext>
            </a:extLst>
          </p:cNvPr>
          <p:cNvSpPr txBox="1"/>
          <p:nvPr/>
        </p:nvSpPr>
        <p:spPr>
          <a:xfrm>
            <a:off x="409893" y="678399"/>
            <a:ext cx="3933825" cy="276999"/>
          </a:xfrm>
          <a:prstGeom prst="rect">
            <a:avLst/>
          </a:prstGeom>
          <a:solidFill>
            <a:srgbClr val="102C2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a:solidFill>
                  <a:schemeClr val="bg1">
                    <a:lumMod val="95000"/>
                  </a:schemeClr>
                </a:solidFill>
                <a:cs typeface="Arial"/>
              </a:rPr>
              <a:t>Assumptions</a:t>
            </a:r>
            <a:endParaRPr lang="en-US">
              <a:solidFill>
                <a:schemeClr val="bg1">
                  <a:lumMod val="95000"/>
                </a:schemeClr>
              </a:solidFill>
              <a:cs typeface="Arial"/>
            </a:endParaRPr>
          </a:p>
        </p:txBody>
      </p:sp>
      <p:sp>
        <p:nvSpPr>
          <p:cNvPr id="12" name="TextBox 11">
            <a:extLst>
              <a:ext uri="{FF2B5EF4-FFF2-40B4-BE49-F238E27FC236}">
                <a16:creationId xmlns:a16="http://schemas.microsoft.com/office/drawing/2014/main" id="{2E6E81AC-7C7F-D080-0FB8-6FB16ACC95AF}"/>
              </a:ext>
            </a:extLst>
          </p:cNvPr>
          <p:cNvSpPr txBox="1"/>
          <p:nvPr/>
        </p:nvSpPr>
        <p:spPr>
          <a:xfrm>
            <a:off x="4798196" y="678399"/>
            <a:ext cx="3933825" cy="276999"/>
          </a:xfrm>
          <a:prstGeom prst="rect">
            <a:avLst/>
          </a:prstGeom>
          <a:solidFill>
            <a:srgbClr val="102C23"/>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a:solidFill>
                  <a:schemeClr val="bg1">
                    <a:lumMod val="95000"/>
                  </a:schemeClr>
                </a:solidFill>
                <a:cs typeface="Arial"/>
              </a:rPr>
              <a:t>10-Year Terminal Value</a:t>
            </a:r>
          </a:p>
        </p:txBody>
      </p:sp>
      <p:sp>
        <p:nvSpPr>
          <p:cNvPr id="13" name="TextBox 12">
            <a:extLst>
              <a:ext uri="{FF2B5EF4-FFF2-40B4-BE49-F238E27FC236}">
                <a16:creationId xmlns:a16="http://schemas.microsoft.com/office/drawing/2014/main" id="{919ECC86-548B-712F-916D-29510081D79C}"/>
              </a:ext>
            </a:extLst>
          </p:cNvPr>
          <p:cNvSpPr txBox="1"/>
          <p:nvPr/>
        </p:nvSpPr>
        <p:spPr>
          <a:xfrm>
            <a:off x="416696" y="3556310"/>
            <a:ext cx="3933825" cy="276999"/>
          </a:xfrm>
          <a:prstGeom prst="rect">
            <a:avLst/>
          </a:prstGeom>
          <a:solidFill>
            <a:srgbClr val="102C2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a:solidFill>
                  <a:schemeClr val="bg1">
                    <a:lumMod val="95000"/>
                  </a:schemeClr>
                </a:solidFill>
                <a:cs typeface="Arial"/>
              </a:rPr>
              <a:t>10-Year Terminal Value</a:t>
            </a:r>
          </a:p>
        </p:txBody>
      </p:sp>
      <p:sp>
        <p:nvSpPr>
          <p:cNvPr id="14" name="TextBox 13">
            <a:extLst>
              <a:ext uri="{FF2B5EF4-FFF2-40B4-BE49-F238E27FC236}">
                <a16:creationId xmlns:a16="http://schemas.microsoft.com/office/drawing/2014/main" id="{91510DF1-63BD-EF5E-3511-F251D9ECA6F8}"/>
              </a:ext>
            </a:extLst>
          </p:cNvPr>
          <p:cNvSpPr txBox="1"/>
          <p:nvPr/>
        </p:nvSpPr>
        <p:spPr>
          <a:xfrm>
            <a:off x="4798196" y="3556310"/>
            <a:ext cx="3933825" cy="276999"/>
          </a:xfrm>
          <a:prstGeom prst="rect">
            <a:avLst/>
          </a:prstGeom>
          <a:solidFill>
            <a:srgbClr val="102C2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a:solidFill>
                  <a:schemeClr val="bg1">
                    <a:lumMod val="95000"/>
                  </a:schemeClr>
                </a:solidFill>
                <a:cs typeface="Arial"/>
              </a:rPr>
              <a:t>10-Year Terminal Value</a:t>
            </a:r>
          </a:p>
        </p:txBody>
      </p:sp>
    </p:spTree>
    <p:extLst>
      <p:ext uri="{BB962C8B-B14F-4D97-AF65-F5344CB8AC3E}">
        <p14:creationId xmlns:p14="http://schemas.microsoft.com/office/powerpoint/2010/main" val="23912715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48B04A-7D5F-06C6-2CA2-48576A6CE26F}"/>
              </a:ext>
            </a:extLst>
          </p:cNvPr>
          <p:cNvSpPr>
            <a:spLocks noGrp="1"/>
          </p:cNvSpPr>
          <p:nvPr>
            <p:ph type="body" sz="quarter" idx="21"/>
          </p:nvPr>
        </p:nvSpPr>
        <p:spPr/>
        <p:txBody>
          <a:bodyPr/>
          <a:lstStyle/>
          <a:p>
            <a:r>
              <a:rPr lang="en-US"/>
              <a:t>Comparable Companies With Market data, Financials, and Benchmarking Relative To Peers</a:t>
            </a:r>
          </a:p>
        </p:txBody>
      </p:sp>
      <p:sp>
        <p:nvSpPr>
          <p:cNvPr id="4" name="Title 3">
            <a:extLst>
              <a:ext uri="{FF2B5EF4-FFF2-40B4-BE49-F238E27FC236}">
                <a16:creationId xmlns:a16="http://schemas.microsoft.com/office/drawing/2014/main" id="{54BFECD7-0CBD-540A-FD9B-6BFBC3B36B6A}"/>
              </a:ext>
            </a:extLst>
          </p:cNvPr>
          <p:cNvSpPr>
            <a:spLocks noGrp="1"/>
          </p:cNvSpPr>
          <p:nvPr>
            <p:ph type="title"/>
          </p:nvPr>
        </p:nvSpPr>
        <p:spPr/>
        <p:txBody>
          <a:bodyPr/>
          <a:lstStyle/>
          <a:p>
            <a:r>
              <a:rPr lang="en-CA"/>
              <a:t>Comparable Company Overview </a:t>
            </a:r>
          </a:p>
        </p:txBody>
      </p:sp>
      <p:sp>
        <p:nvSpPr>
          <p:cNvPr id="5" name="Text Placeholder 4">
            <a:extLst>
              <a:ext uri="{FF2B5EF4-FFF2-40B4-BE49-F238E27FC236}">
                <a16:creationId xmlns:a16="http://schemas.microsoft.com/office/drawing/2014/main" id="{0AE506EC-4460-9D48-5963-0800B6AC7716}"/>
              </a:ext>
            </a:extLst>
          </p:cNvPr>
          <p:cNvSpPr>
            <a:spLocks noGrp="1"/>
          </p:cNvSpPr>
          <p:nvPr>
            <p:ph type="body" sz="quarter" idx="13"/>
          </p:nvPr>
        </p:nvSpPr>
        <p:spPr/>
        <p:txBody>
          <a:bodyPr/>
          <a:lstStyle/>
          <a:p>
            <a:r>
              <a:rPr lang="en-CA"/>
              <a:t>Source(s): Pitchbook, Capital IQ</a:t>
            </a:r>
          </a:p>
          <a:p>
            <a:endParaRPr lang="en-CA"/>
          </a:p>
        </p:txBody>
      </p:sp>
      <p:pic>
        <p:nvPicPr>
          <p:cNvPr id="9" name="Picture 16">
            <a:extLst>
              <a:ext uri="{FF2B5EF4-FFF2-40B4-BE49-F238E27FC236}">
                <a16:creationId xmlns:a16="http://schemas.microsoft.com/office/drawing/2014/main" id="{CCA5688D-3C68-8134-CB73-1CE4688E264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5032" y="1674609"/>
            <a:ext cx="1226297" cy="35575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8" descr="The Trade Desk: A Growth Story That Keeps Compounding">
            <a:extLst>
              <a:ext uri="{FF2B5EF4-FFF2-40B4-BE49-F238E27FC236}">
                <a16:creationId xmlns:a16="http://schemas.microsoft.com/office/drawing/2014/main" id="{D75C771A-9D4D-F16A-7E2E-AB11126730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0204" y="1603149"/>
            <a:ext cx="2118202" cy="53685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077A3FC6-8363-1AC1-F484-B42A0580DC9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2754" y="3902112"/>
            <a:ext cx="1226297" cy="24832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descr="Google Logo transparent PNG | FREE PNG Logos">
            <a:extLst>
              <a:ext uri="{FF2B5EF4-FFF2-40B4-BE49-F238E27FC236}">
                <a16:creationId xmlns:a16="http://schemas.microsoft.com/office/drawing/2014/main" id="{155B1E83-A6EC-4DCA-C7DF-BDFF8EBEDCA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8056" b="30502"/>
          <a:stretch/>
        </p:blipFill>
        <p:spPr bwMode="auto">
          <a:xfrm>
            <a:off x="3940073" y="3766244"/>
            <a:ext cx="1282886" cy="53166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2" descr="Criteo - ad:tech">
            <a:extLst>
              <a:ext uri="{FF2B5EF4-FFF2-40B4-BE49-F238E27FC236}">
                <a16:creationId xmlns:a16="http://schemas.microsoft.com/office/drawing/2014/main" id="{C27408CF-5655-992D-1BDB-9A20BE43F67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0000" b="17887"/>
          <a:stretch/>
        </p:blipFill>
        <p:spPr bwMode="auto">
          <a:xfrm>
            <a:off x="6939555" y="3807747"/>
            <a:ext cx="1385454" cy="473299"/>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7C14300A-F42E-D62A-E126-411D414920F1}"/>
              </a:ext>
            </a:extLst>
          </p:cNvPr>
          <p:cNvSpPr txBox="1"/>
          <p:nvPr/>
        </p:nvSpPr>
        <p:spPr>
          <a:xfrm>
            <a:off x="4900721" y="2124292"/>
            <a:ext cx="2497166" cy="784830"/>
          </a:xfrm>
          <a:prstGeom prst="rect">
            <a:avLst/>
          </a:prstGeom>
          <a:noFill/>
        </p:spPr>
        <p:txBody>
          <a:bodyPr wrap="square" lIns="91440" tIns="45720" rIns="91440" bIns="45720" rtlCol="0" anchor="t">
            <a:spAutoFit/>
          </a:bodyPr>
          <a:lstStyle/>
          <a:p>
            <a:pPr algn="ctr"/>
            <a:r>
              <a:rPr lang="en-CA" sz="900" b="1">
                <a:solidFill>
                  <a:schemeClr val="tx2"/>
                </a:solidFill>
              </a:rPr>
              <a:t>Main Country Of Operation: </a:t>
            </a:r>
            <a:r>
              <a:rPr lang="en-CA" sz="900" b="1">
                <a:solidFill>
                  <a:srgbClr val="008864"/>
                </a:solidFill>
              </a:rPr>
              <a:t>US</a:t>
            </a:r>
            <a:endParaRPr lang="en-CA" sz="900" b="1"/>
          </a:p>
          <a:p>
            <a:pPr algn="ctr"/>
            <a:r>
              <a:rPr lang="en-CA" sz="900" b="1">
                <a:solidFill>
                  <a:schemeClr val="tx2"/>
                </a:solidFill>
              </a:rPr>
              <a:t>Market Capitalization: </a:t>
            </a:r>
            <a:r>
              <a:rPr lang="en-CA" sz="900" b="1">
                <a:solidFill>
                  <a:srgbClr val="008864"/>
                </a:solidFill>
              </a:rPr>
              <a:t>27,934.7 M</a:t>
            </a:r>
            <a:endParaRPr lang="en-CA" sz="900" b="1"/>
          </a:p>
          <a:p>
            <a:pPr algn="ctr"/>
            <a:r>
              <a:rPr lang="en-CA" sz="900" b="1">
                <a:solidFill>
                  <a:schemeClr val="tx2"/>
                </a:solidFill>
              </a:rPr>
              <a:t>NTM Revenue: </a:t>
            </a:r>
            <a:r>
              <a:rPr lang="en-CA" sz="900" b="1">
                <a:solidFill>
                  <a:srgbClr val="008864"/>
                </a:solidFill>
              </a:rPr>
              <a:t>2,892.31 M</a:t>
            </a:r>
            <a:endParaRPr lang="en-CA" sz="900" b="1"/>
          </a:p>
          <a:p>
            <a:pPr algn="ctr"/>
            <a:r>
              <a:rPr lang="en-CA" sz="900" b="1">
                <a:solidFill>
                  <a:schemeClr val="tx2"/>
                </a:solidFill>
              </a:rPr>
              <a:t>NTM EBITDA: </a:t>
            </a:r>
            <a:r>
              <a:rPr lang="en-CA" sz="900" b="1">
                <a:solidFill>
                  <a:srgbClr val="008864"/>
                </a:solidFill>
              </a:rPr>
              <a:t>1,131.44 M</a:t>
            </a:r>
          </a:p>
          <a:p>
            <a:pPr algn="ctr"/>
            <a:r>
              <a:rPr lang="en-CA" sz="900" b="1">
                <a:solidFill>
                  <a:srgbClr val="3F685E"/>
                </a:solidFill>
                <a:cs typeface="Arial"/>
              </a:rPr>
              <a:t>(35% Weight RV)</a:t>
            </a:r>
          </a:p>
        </p:txBody>
      </p:sp>
      <p:sp>
        <p:nvSpPr>
          <p:cNvPr id="17" name="TextBox 16">
            <a:extLst>
              <a:ext uri="{FF2B5EF4-FFF2-40B4-BE49-F238E27FC236}">
                <a16:creationId xmlns:a16="http://schemas.microsoft.com/office/drawing/2014/main" id="{A6D5CBBF-9AD9-7CF6-B515-676925A1D26B}"/>
              </a:ext>
            </a:extLst>
          </p:cNvPr>
          <p:cNvSpPr txBox="1"/>
          <p:nvPr/>
        </p:nvSpPr>
        <p:spPr>
          <a:xfrm>
            <a:off x="306662" y="4268153"/>
            <a:ext cx="2558485" cy="923330"/>
          </a:xfrm>
          <a:prstGeom prst="rect">
            <a:avLst/>
          </a:prstGeom>
          <a:noFill/>
        </p:spPr>
        <p:txBody>
          <a:bodyPr wrap="square" lIns="91440" tIns="45720" rIns="91440" bIns="45720" rtlCol="0" anchor="t">
            <a:spAutoFit/>
          </a:bodyPr>
          <a:lstStyle/>
          <a:p>
            <a:pPr algn="ctr"/>
            <a:r>
              <a:rPr lang="en-CA" sz="900" b="1">
                <a:solidFill>
                  <a:schemeClr val="tx2"/>
                </a:solidFill>
              </a:rPr>
              <a:t>Main Country Of Operation</a:t>
            </a:r>
            <a:r>
              <a:rPr lang="en-CA" sz="900" b="1"/>
              <a:t>: </a:t>
            </a:r>
            <a:r>
              <a:rPr lang="en-CA" sz="900" b="1">
                <a:solidFill>
                  <a:srgbClr val="008864"/>
                </a:solidFill>
              </a:rPr>
              <a:t>US</a:t>
            </a:r>
            <a:endParaRPr lang="en-CA" sz="900" b="1"/>
          </a:p>
          <a:p>
            <a:pPr algn="ctr"/>
            <a:r>
              <a:rPr lang="en-CA" sz="900" b="1">
                <a:solidFill>
                  <a:schemeClr val="tx2"/>
                </a:solidFill>
              </a:rPr>
              <a:t>Market Capitalization: </a:t>
            </a:r>
            <a:r>
              <a:rPr lang="en-CA" sz="900" b="1">
                <a:solidFill>
                  <a:srgbClr val="008864"/>
                </a:solidFill>
              </a:rPr>
              <a:t>1,510,694.3 M</a:t>
            </a:r>
            <a:endParaRPr lang="en-CA" sz="900" b="1"/>
          </a:p>
          <a:p>
            <a:pPr algn="ctr"/>
            <a:r>
              <a:rPr lang="en-CA" sz="900" b="1">
                <a:solidFill>
                  <a:schemeClr val="tx2"/>
                </a:solidFill>
              </a:rPr>
              <a:t>NTM Revenue</a:t>
            </a:r>
            <a:r>
              <a:rPr lang="en-CA" sz="900" b="1"/>
              <a:t>: </a:t>
            </a:r>
            <a:r>
              <a:rPr lang="en-CA" sz="900" b="1">
                <a:solidFill>
                  <a:srgbClr val="008864"/>
                </a:solidFill>
              </a:rPr>
              <a:t>188,514.29 M</a:t>
            </a:r>
            <a:endParaRPr lang="en-CA" sz="900" b="1"/>
          </a:p>
          <a:p>
            <a:pPr algn="ctr"/>
            <a:r>
              <a:rPr lang="en-CA" sz="900" b="1">
                <a:solidFill>
                  <a:schemeClr val="tx2"/>
                </a:solidFill>
              </a:rPr>
              <a:t>NTM EBITDA</a:t>
            </a:r>
            <a:r>
              <a:rPr lang="en-CA" sz="900" b="1"/>
              <a:t>:</a:t>
            </a:r>
            <a:r>
              <a:rPr lang="en-CA" sz="900" b="1">
                <a:solidFill>
                  <a:srgbClr val="008864"/>
                </a:solidFill>
              </a:rPr>
              <a:t> 113,004.94 M</a:t>
            </a:r>
            <a:endParaRPr lang="en-CA" sz="900" b="1"/>
          </a:p>
          <a:p>
            <a:pPr algn="ctr"/>
            <a:r>
              <a:rPr lang="en-CA" sz="900" b="1">
                <a:solidFill>
                  <a:srgbClr val="3F685E"/>
                </a:solidFill>
                <a:cs typeface="Arial"/>
              </a:rPr>
              <a:t>(25% Weight RV)</a:t>
            </a:r>
          </a:p>
          <a:p>
            <a:pPr algn="ctr"/>
            <a:endParaRPr lang="en-CA" sz="900">
              <a:cs typeface="Arial" panose="020B0604020202020204"/>
            </a:endParaRPr>
          </a:p>
        </p:txBody>
      </p:sp>
      <p:sp>
        <p:nvSpPr>
          <p:cNvPr id="21" name="TextBox 20">
            <a:extLst>
              <a:ext uri="{FF2B5EF4-FFF2-40B4-BE49-F238E27FC236}">
                <a16:creationId xmlns:a16="http://schemas.microsoft.com/office/drawing/2014/main" id="{B98B89C8-AC6D-D62D-3AE4-62AFDF8F05C4}"/>
              </a:ext>
            </a:extLst>
          </p:cNvPr>
          <p:cNvSpPr txBox="1"/>
          <p:nvPr/>
        </p:nvSpPr>
        <p:spPr>
          <a:xfrm>
            <a:off x="3291329" y="4259100"/>
            <a:ext cx="2559156" cy="923330"/>
          </a:xfrm>
          <a:prstGeom prst="rect">
            <a:avLst/>
          </a:prstGeom>
          <a:noFill/>
        </p:spPr>
        <p:txBody>
          <a:bodyPr wrap="square" lIns="91440" tIns="45720" rIns="91440" bIns="45720" rtlCol="0" anchor="t">
            <a:spAutoFit/>
          </a:bodyPr>
          <a:lstStyle/>
          <a:p>
            <a:pPr algn="ctr"/>
            <a:r>
              <a:rPr lang="en-CA" sz="900" b="1">
                <a:solidFill>
                  <a:schemeClr val="tx2"/>
                </a:solidFill>
              </a:rPr>
              <a:t>Main Country Of Operation</a:t>
            </a:r>
            <a:r>
              <a:rPr lang="en-CA" sz="900" b="1"/>
              <a:t>:</a:t>
            </a:r>
            <a:r>
              <a:rPr lang="en-CA" sz="900" b="1">
                <a:solidFill>
                  <a:srgbClr val="008864"/>
                </a:solidFill>
              </a:rPr>
              <a:t> US</a:t>
            </a:r>
            <a:endParaRPr lang="en-CA" sz="900" b="1"/>
          </a:p>
          <a:p>
            <a:pPr algn="ctr"/>
            <a:r>
              <a:rPr lang="en-CA" sz="900" b="1">
                <a:solidFill>
                  <a:schemeClr val="tx2"/>
                </a:solidFill>
              </a:rPr>
              <a:t>Market Capitalization: </a:t>
            </a:r>
            <a:r>
              <a:rPr lang="en-CA" sz="900" b="1">
                <a:solidFill>
                  <a:srgbClr val="008864"/>
                </a:solidFill>
              </a:rPr>
              <a:t>2,011,461 M</a:t>
            </a:r>
            <a:endParaRPr lang="en-CA" sz="900" b="1"/>
          </a:p>
          <a:p>
            <a:pPr algn="ctr"/>
            <a:r>
              <a:rPr lang="en-CA" sz="900" b="1">
                <a:solidFill>
                  <a:schemeClr val="tx2"/>
                </a:solidFill>
              </a:rPr>
              <a:t>NTM Revenue</a:t>
            </a:r>
            <a:r>
              <a:rPr lang="en-CA" sz="900" b="1"/>
              <a:t>: </a:t>
            </a:r>
            <a:r>
              <a:rPr lang="en-CA" sz="900" b="1">
                <a:solidFill>
                  <a:srgbClr val="008864"/>
                </a:solidFill>
              </a:rPr>
              <a:t>389,845.03 M</a:t>
            </a:r>
            <a:endParaRPr lang="en-CA" sz="900" b="1"/>
          </a:p>
          <a:p>
            <a:pPr algn="ctr"/>
            <a:r>
              <a:rPr lang="en-CA" sz="900" b="1">
                <a:solidFill>
                  <a:schemeClr val="tx2"/>
                </a:solidFill>
              </a:rPr>
              <a:t>NTM EBITDA: </a:t>
            </a:r>
            <a:r>
              <a:rPr lang="en-CA" sz="900" b="1">
                <a:solidFill>
                  <a:srgbClr val="008864"/>
                </a:solidFill>
              </a:rPr>
              <a:t>172,903.44 M</a:t>
            </a:r>
            <a:endParaRPr lang="en-CA" sz="900" b="1"/>
          </a:p>
          <a:p>
            <a:pPr algn="ctr"/>
            <a:r>
              <a:rPr lang="en-CA" sz="900" b="1">
                <a:solidFill>
                  <a:srgbClr val="3F685E"/>
                </a:solidFill>
                <a:cs typeface="Arial"/>
              </a:rPr>
              <a:t>(20% Weight RV)</a:t>
            </a:r>
          </a:p>
          <a:p>
            <a:pPr algn="ctr"/>
            <a:endParaRPr lang="en-CA" sz="900">
              <a:cs typeface="Arial" panose="020B0604020202020204"/>
            </a:endParaRPr>
          </a:p>
        </p:txBody>
      </p:sp>
      <p:sp>
        <p:nvSpPr>
          <p:cNvPr id="30" name="TextBox 29">
            <a:extLst>
              <a:ext uri="{FF2B5EF4-FFF2-40B4-BE49-F238E27FC236}">
                <a16:creationId xmlns:a16="http://schemas.microsoft.com/office/drawing/2014/main" id="{5CC2293B-63D2-C57F-604F-CE93469F7389}"/>
              </a:ext>
            </a:extLst>
          </p:cNvPr>
          <p:cNvSpPr txBox="1"/>
          <p:nvPr/>
        </p:nvSpPr>
        <p:spPr>
          <a:xfrm>
            <a:off x="6352704" y="4256292"/>
            <a:ext cx="2559156" cy="923330"/>
          </a:xfrm>
          <a:prstGeom prst="rect">
            <a:avLst/>
          </a:prstGeom>
          <a:noFill/>
        </p:spPr>
        <p:txBody>
          <a:bodyPr wrap="square" lIns="91440" tIns="45720" rIns="91440" bIns="45720" rtlCol="0" anchor="t">
            <a:spAutoFit/>
          </a:bodyPr>
          <a:lstStyle/>
          <a:p>
            <a:pPr algn="ctr"/>
            <a:r>
              <a:rPr lang="en-CA" sz="900" b="1">
                <a:solidFill>
                  <a:schemeClr val="tx2"/>
                </a:solidFill>
              </a:rPr>
              <a:t>Main Country Of Operation: </a:t>
            </a:r>
            <a:r>
              <a:rPr lang="en-CA" sz="900" b="1">
                <a:solidFill>
                  <a:srgbClr val="008864"/>
                </a:solidFill>
              </a:rPr>
              <a:t>France</a:t>
            </a:r>
            <a:endParaRPr lang="en-CA" sz="900" b="1"/>
          </a:p>
          <a:p>
            <a:pPr algn="ctr"/>
            <a:r>
              <a:rPr lang="en-CA" sz="900" b="1">
                <a:solidFill>
                  <a:schemeClr val="tx2"/>
                </a:solidFill>
              </a:rPr>
              <a:t>Market Capitalization: </a:t>
            </a:r>
            <a:r>
              <a:rPr lang="en-CA" sz="900" b="1">
                <a:solidFill>
                  <a:srgbClr val="008864"/>
                </a:solidFill>
              </a:rPr>
              <a:t>2,004.2 M</a:t>
            </a:r>
            <a:endParaRPr lang="en-CA" sz="900" b="1"/>
          </a:p>
          <a:p>
            <a:pPr algn="ctr"/>
            <a:r>
              <a:rPr lang="en-CA" sz="900" b="1">
                <a:solidFill>
                  <a:schemeClr val="tx2"/>
                </a:solidFill>
              </a:rPr>
              <a:t>NTM Revenue: </a:t>
            </a:r>
            <a:r>
              <a:rPr lang="en-CA" sz="900" b="1">
                <a:solidFill>
                  <a:srgbClr val="008864"/>
                </a:solidFill>
              </a:rPr>
              <a:t>1,178.43 M</a:t>
            </a:r>
            <a:endParaRPr lang="en-CA" sz="900" b="1"/>
          </a:p>
          <a:p>
            <a:pPr algn="ctr"/>
            <a:r>
              <a:rPr lang="en-CA" sz="900" b="1"/>
              <a:t>NTM EBITDA: </a:t>
            </a:r>
            <a:r>
              <a:rPr lang="en-CA" sz="900" b="1">
                <a:solidFill>
                  <a:srgbClr val="008864"/>
                </a:solidFill>
              </a:rPr>
              <a:t>393.73 M</a:t>
            </a:r>
            <a:endParaRPr lang="en-CA" sz="900" b="1"/>
          </a:p>
          <a:p>
            <a:pPr algn="ctr"/>
            <a:r>
              <a:rPr lang="en-CA" sz="900" b="1">
                <a:solidFill>
                  <a:srgbClr val="3F685E"/>
                </a:solidFill>
                <a:cs typeface="Arial"/>
              </a:rPr>
              <a:t>(5% Weight RV)</a:t>
            </a:r>
          </a:p>
          <a:p>
            <a:pPr algn="ctr"/>
            <a:endParaRPr lang="en-CA" sz="900">
              <a:cs typeface="Arial" panose="020B0604020202020204"/>
            </a:endParaRPr>
          </a:p>
        </p:txBody>
      </p:sp>
      <p:sp>
        <p:nvSpPr>
          <p:cNvPr id="31" name="TextBox 30">
            <a:extLst>
              <a:ext uri="{FF2B5EF4-FFF2-40B4-BE49-F238E27FC236}">
                <a16:creationId xmlns:a16="http://schemas.microsoft.com/office/drawing/2014/main" id="{6C088A95-939B-A734-3C94-EAFF1C9CB805}"/>
              </a:ext>
            </a:extLst>
          </p:cNvPr>
          <p:cNvSpPr txBox="1"/>
          <p:nvPr/>
        </p:nvSpPr>
        <p:spPr>
          <a:xfrm>
            <a:off x="1434500" y="2137949"/>
            <a:ext cx="2497166" cy="784830"/>
          </a:xfrm>
          <a:prstGeom prst="rect">
            <a:avLst/>
          </a:prstGeom>
          <a:noFill/>
        </p:spPr>
        <p:txBody>
          <a:bodyPr wrap="square" lIns="91440" tIns="45720" rIns="91440" bIns="45720" rtlCol="0" anchor="t">
            <a:spAutoFit/>
          </a:bodyPr>
          <a:lstStyle/>
          <a:p>
            <a:pPr algn="ctr"/>
            <a:r>
              <a:rPr lang="en-CA" sz="900" b="1">
                <a:solidFill>
                  <a:schemeClr val="tx2"/>
                </a:solidFill>
              </a:rPr>
              <a:t>Main Country Of Operation:</a:t>
            </a:r>
            <a:r>
              <a:rPr lang="en-CA" sz="900" b="1"/>
              <a:t> </a:t>
            </a:r>
            <a:r>
              <a:rPr lang="en-CA" sz="900" b="1">
                <a:solidFill>
                  <a:srgbClr val="008864"/>
                </a:solidFill>
              </a:rPr>
              <a:t>US</a:t>
            </a:r>
          </a:p>
          <a:p>
            <a:pPr algn="ctr"/>
            <a:r>
              <a:rPr lang="en-CA" sz="900" b="1">
                <a:solidFill>
                  <a:schemeClr val="tx2"/>
                </a:solidFill>
              </a:rPr>
              <a:t>Market Capitalization: </a:t>
            </a:r>
            <a:r>
              <a:rPr lang="en-CA" sz="900" b="1">
                <a:solidFill>
                  <a:srgbClr val="008864"/>
                </a:solidFill>
              </a:rPr>
              <a:t>31,618.8</a:t>
            </a:r>
            <a:endParaRPr lang="en-CA" sz="900" b="1"/>
          </a:p>
          <a:p>
            <a:pPr algn="ctr"/>
            <a:r>
              <a:rPr lang="en-CA" sz="900" b="1">
                <a:solidFill>
                  <a:schemeClr val="tx2"/>
                </a:solidFill>
              </a:rPr>
              <a:t>NTM Revenue: </a:t>
            </a:r>
            <a:r>
              <a:rPr lang="en-CA" sz="900" b="1">
                <a:solidFill>
                  <a:srgbClr val="008864"/>
                </a:solidFill>
              </a:rPr>
              <a:t>3,003.63 M</a:t>
            </a:r>
            <a:endParaRPr lang="en-CA" sz="900" b="1"/>
          </a:p>
          <a:p>
            <a:pPr algn="ctr"/>
            <a:r>
              <a:rPr lang="en-CA" sz="900" b="1">
                <a:solidFill>
                  <a:schemeClr val="tx2"/>
                </a:solidFill>
              </a:rPr>
              <a:t>NTM EBITDA: </a:t>
            </a:r>
            <a:r>
              <a:rPr lang="en-CA" sz="900" b="1">
                <a:solidFill>
                  <a:srgbClr val="008864"/>
                </a:solidFill>
              </a:rPr>
              <a:t>639.13 M</a:t>
            </a:r>
          </a:p>
          <a:p>
            <a:pPr algn="ctr"/>
            <a:r>
              <a:rPr lang="en-CA" sz="900" b="1">
                <a:solidFill>
                  <a:srgbClr val="3F685E"/>
                </a:solidFill>
                <a:cs typeface="Arial"/>
              </a:rPr>
              <a:t>(15% Weight RV)</a:t>
            </a:r>
          </a:p>
        </p:txBody>
      </p:sp>
      <p:cxnSp>
        <p:nvCxnSpPr>
          <p:cNvPr id="33" name="Straight Connector 32">
            <a:extLst>
              <a:ext uri="{FF2B5EF4-FFF2-40B4-BE49-F238E27FC236}">
                <a16:creationId xmlns:a16="http://schemas.microsoft.com/office/drawing/2014/main" id="{1906C8B2-7EF3-A82C-0257-6B5BC385AB55}"/>
              </a:ext>
            </a:extLst>
          </p:cNvPr>
          <p:cNvCxnSpPr/>
          <p:nvPr/>
        </p:nvCxnSpPr>
        <p:spPr>
          <a:xfrm>
            <a:off x="1713703" y="2055952"/>
            <a:ext cx="1938759" cy="0"/>
          </a:xfrm>
          <a:prstGeom prst="line">
            <a:avLst/>
          </a:prstGeom>
          <a:ln w="19050">
            <a:solidFill>
              <a:srgbClr val="008864"/>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C12D7C1-22A4-CE31-36E0-F24058B59942}"/>
              </a:ext>
            </a:extLst>
          </p:cNvPr>
          <p:cNvCxnSpPr/>
          <p:nvPr/>
        </p:nvCxnSpPr>
        <p:spPr>
          <a:xfrm>
            <a:off x="5179924" y="2049455"/>
            <a:ext cx="1938759" cy="0"/>
          </a:xfrm>
          <a:prstGeom prst="line">
            <a:avLst/>
          </a:prstGeom>
          <a:ln w="19050">
            <a:solidFill>
              <a:srgbClr val="008864"/>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C9B7C22-AE16-0F41-943E-E1D4445D099A}"/>
              </a:ext>
            </a:extLst>
          </p:cNvPr>
          <p:cNvCxnSpPr/>
          <p:nvPr/>
        </p:nvCxnSpPr>
        <p:spPr>
          <a:xfrm>
            <a:off x="616524" y="4281046"/>
            <a:ext cx="1938759" cy="0"/>
          </a:xfrm>
          <a:prstGeom prst="line">
            <a:avLst/>
          </a:prstGeom>
          <a:ln w="19050">
            <a:solidFill>
              <a:srgbClr val="008864"/>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4BCCCBC-9CC3-3CB1-5611-A7FD2C6E8189}"/>
              </a:ext>
            </a:extLst>
          </p:cNvPr>
          <p:cNvCxnSpPr/>
          <p:nvPr/>
        </p:nvCxnSpPr>
        <p:spPr>
          <a:xfrm>
            <a:off x="3580174" y="4281046"/>
            <a:ext cx="1938759" cy="0"/>
          </a:xfrm>
          <a:prstGeom prst="line">
            <a:avLst/>
          </a:prstGeom>
          <a:ln w="19050">
            <a:solidFill>
              <a:srgbClr val="008864"/>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F2BD5D9-9F9A-6F4B-764C-A2EA47A564B7}"/>
              </a:ext>
            </a:extLst>
          </p:cNvPr>
          <p:cNvCxnSpPr/>
          <p:nvPr/>
        </p:nvCxnSpPr>
        <p:spPr>
          <a:xfrm>
            <a:off x="6662902" y="4281046"/>
            <a:ext cx="1938759" cy="0"/>
          </a:xfrm>
          <a:prstGeom prst="line">
            <a:avLst/>
          </a:prstGeom>
          <a:ln w="19050">
            <a:solidFill>
              <a:srgbClr val="00886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13361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E9DA469-84FA-19B4-63BA-F4B91B07A24F}"/>
              </a:ext>
            </a:extLst>
          </p:cNvPr>
          <p:cNvSpPr>
            <a:spLocks noGrp="1"/>
          </p:cNvSpPr>
          <p:nvPr>
            <p:ph type="body" sz="quarter" idx="21"/>
          </p:nvPr>
        </p:nvSpPr>
        <p:spPr/>
        <p:txBody>
          <a:bodyPr vert="horz" lIns="91440" tIns="45720" rIns="91440" bIns="45720" rtlCol="0" anchor="t">
            <a:normAutofit/>
          </a:bodyPr>
          <a:lstStyle/>
          <a:p>
            <a:r>
              <a:rPr lang="en-CA"/>
              <a:t>Similar Companies to </a:t>
            </a:r>
            <a:r>
              <a:rPr lang="en-CA" err="1"/>
              <a:t>AppLovin</a:t>
            </a:r>
            <a:endParaRPr lang="en-CA"/>
          </a:p>
        </p:txBody>
      </p:sp>
      <p:graphicFrame>
        <p:nvGraphicFramePr>
          <p:cNvPr id="6" name="Table Placeholder 5">
            <a:extLst>
              <a:ext uri="{FF2B5EF4-FFF2-40B4-BE49-F238E27FC236}">
                <a16:creationId xmlns:a16="http://schemas.microsoft.com/office/drawing/2014/main" id="{5397BEAF-EE75-364C-298A-B42E89EE6DD0}"/>
              </a:ext>
            </a:extLst>
          </p:cNvPr>
          <p:cNvGraphicFramePr>
            <a:graphicFrameLocks noGrp="1"/>
          </p:cNvGraphicFramePr>
          <p:nvPr>
            <p:ph type="tbl" sz="quarter" idx="14"/>
            <p:extLst>
              <p:ext uri="{D42A27DB-BD31-4B8C-83A1-F6EECF244321}">
                <p14:modId xmlns:p14="http://schemas.microsoft.com/office/powerpoint/2010/main" val="1048080109"/>
              </p:ext>
            </p:extLst>
          </p:nvPr>
        </p:nvGraphicFramePr>
        <p:xfrm>
          <a:off x="250825" y="952579"/>
          <a:ext cx="8642349" cy="5218272"/>
        </p:xfrm>
        <a:graphic>
          <a:graphicData uri="http://schemas.openxmlformats.org/drawingml/2006/table">
            <a:tbl>
              <a:tblPr firstRow="1" bandRow="1">
                <a:tableStyleId>{0E3FDE45-AF77-4B5C-9715-49D594BDF05E}</a:tableStyleId>
              </a:tblPr>
              <a:tblGrid>
                <a:gridCol w="2016638">
                  <a:extLst>
                    <a:ext uri="{9D8B030D-6E8A-4147-A177-3AD203B41FA5}">
                      <a16:colId xmlns:a16="http://schemas.microsoft.com/office/drawing/2014/main" val="3354583351"/>
                    </a:ext>
                  </a:extLst>
                </a:gridCol>
                <a:gridCol w="1248032">
                  <a:extLst>
                    <a:ext uri="{9D8B030D-6E8A-4147-A177-3AD203B41FA5}">
                      <a16:colId xmlns:a16="http://schemas.microsoft.com/office/drawing/2014/main" val="3263045981"/>
                    </a:ext>
                  </a:extLst>
                </a:gridCol>
                <a:gridCol w="1291281">
                  <a:extLst>
                    <a:ext uri="{9D8B030D-6E8A-4147-A177-3AD203B41FA5}">
                      <a16:colId xmlns:a16="http://schemas.microsoft.com/office/drawing/2014/main" val="3665655917"/>
                    </a:ext>
                  </a:extLst>
                </a:gridCol>
                <a:gridCol w="4086398">
                  <a:extLst>
                    <a:ext uri="{9D8B030D-6E8A-4147-A177-3AD203B41FA5}">
                      <a16:colId xmlns:a16="http://schemas.microsoft.com/office/drawing/2014/main" val="373916868"/>
                    </a:ext>
                  </a:extLst>
                </a:gridCol>
              </a:tblGrid>
              <a:tr h="328132">
                <a:tc>
                  <a:txBody>
                    <a:bodyPr/>
                    <a:lstStyle/>
                    <a:p>
                      <a:pPr algn="ctr">
                        <a:lnSpc>
                          <a:spcPct val="200000"/>
                        </a:lnSpc>
                      </a:pPr>
                      <a:r>
                        <a:rPr lang="en-CA" sz="900">
                          <a:solidFill>
                            <a:schemeClr val="bg1">
                              <a:lumMod val="95000"/>
                            </a:schemeClr>
                          </a:solidFill>
                        </a:rPr>
                        <a:t>Logos</a:t>
                      </a:r>
                    </a:p>
                  </a:txBody>
                  <a:tcPr anchor="ctr">
                    <a:solidFill>
                      <a:srgbClr val="0F2B23"/>
                    </a:solidFill>
                  </a:tcPr>
                </a:tc>
                <a:tc>
                  <a:txBody>
                    <a:bodyPr/>
                    <a:lstStyle/>
                    <a:p>
                      <a:pPr algn="ctr">
                        <a:lnSpc>
                          <a:spcPct val="200000"/>
                        </a:lnSpc>
                      </a:pPr>
                      <a:r>
                        <a:rPr lang="en-CA" sz="900">
                          <a:solidFill>
                            <a:schemeClr val="bg1">
                              <a:lumMod val="95000"/>
                            </a:schemeClr>
                          </a:solidFill>
                        </a:rPr>
                        <a:t>Company Name</a:t>
                      </a:r>
                    </a:p>
                  </a:txBody>
                  <a:tcPr anchor="ctr">
                    <a:solidFill>
                      <a:srgbClr val="0F2B23"/>
                    </a:solidFill>
                  </a:tcPr>
                </a:tc>
                <a:tc>
                  <a:txBody>
                    <a:bodyPr/>
                    <a:lstStyle/>
                    <a:p>
                      <a:pPr algn="ctr">
                        <a:lnSpc>
                          <a:spcPct val="200000"/>
                        </a:lnSpc>
                      </a:pPr>
                      <a:r>
                        <a:rPr lang="en-CA" sz="900">
                          <a:solidFill>
                            <a:schemeClr val="bg1">
                              <a:lumMod val="95000"/>
                            </a:schemeClr>
                          </a:solidFill>
                        </a:rPr>
                        <a:t>Ticker</a:t>
                      </a:r>
                    </a:p>
                  </a:txBody>
                  <a:tcPr anchor="ctr">
                    <a:solidFill>
                      <a:srgbClr val="0F2B23"/>
                    </a:solidFill>
                  </a:tcPr>
                </a:tc>
                <a:tc>
                  <a:txBody>
                    <a:bodyPr/>
                    <a:lstStyle/>
                    <a:p>
                      <a:pPr algn="ctr">
                        <a:lnSpc>
                          <a:spcPct val="200000"/>
                        </a:lnSpc>
                      </a:pPr>
                      <a:r>
                        <a:rPr lang="en-CA" sz="900">
                          <a:solidFill>
                            <a:schemeClr val="bg1">
                              <a:lumMod val="95000"/>
                            </a:schemeClr>
                          </a:solidFill>
                        </a:rPr>
                        <a:t>Overview</a:t>
                      </a:r>
                    </a:p>
                  </a:txBody>
                  <a:tcPr anchor="ctr">
                    <a:solidFill>
                      <a:srgbClr val="0F2B23"/>
                    </a:solidFill>
                  </a:tcPr>
                </a:tc>
                <a:extLst>
                  <a:ext uri="{0D108BD9-81ED-4DB2-BD59-A6C34878D82A}">
                    <a16:rowId xmlns:a16="http://schemas.microsoft.com/office/drawing/2014/main" val="1069250878"/>
                  </a:ext>
                </a:extLst>
              </a:tr>
              <a:tr h="978028">
                <a:tc>
                  <a:txBody>
                    <a:bodyPr/>
                    <a:lstStyle/>
                    <a:p>
                      <a:pPr algn="ctr">
                        <a:lnSpc>
                          <a:spcPct val="200000"/>
                        </a:lnSpc>
                      </a:pPr>
                      <a:endParaRPr lang="en-CA" sz="900"/>
                    </a:p>
                  </a:txBody>
                  <a:tcPr anchor="ctr"/>
                </a:tc>
                <a:tc>
                  <a:txBody>
                    <a:bodyPr/>
                    <a:lstStyle/>
                    <a:p>
                      <a:pPr algn="ctr">
                        <a:lnSpc>
                          <a:spcPct val="100000"/>
                        </a:lnSpc>
                      </a:pPr>
                      <a:r>
                        <a:rPr lang="en-CA" sz="900" b="0" u="none" strike="noStrike">
                          <a:solidFill>
                            <a:srgbClr val="000000"/>
                          </a:solidFill>
                          <a:effectLst/>
                        </a:rPr>
                        <a:t>HubSpot, Inc. </a:t>
                      </a:r>
                      <a:endParaRPr lang="en-CA" sz="9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900" b="0" u="none" strike="noStrike">
                          <a:solidFill>
                            <a:srgbClr val="000000"/>
                          </a:solidFill>
                          <a:effectLst/>
                        </a:rPr>
                        <a:t>NYSE:HUBS</a:t>
                      </a:r>
                      <a:endParaRPr lang="en-CA" sz="9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dk1"/>
                          </a:solidFill>
                          <a:effectLst/>
                        </a:rPr>
                        <a:t>HubSpot provides a cloud-based marketing, sales, and customer service software platform referred to as the growth platform. The applications are available ala carte or packaged together. HubSpot's mission is to help companies grow better and has expanded from its initial focus on inbound marketing to embrace marketing, sales, and service more broadly</a:t>
                      </a:r>
                      <a:endParaRPr lang="en-CA" sz="900"/>
                    </a:p>
                  </a:txBody>
                  <a:tcPr anchor="ctr"/>
                </a:tc>
                <a:extLst>
                  <a:ext uri="{0D108BD9-81ED-4DB2-BD59-A6C34878D82A}">
                    <a16:rowId xmlns:a16="http://schemas.microsoft.com/office/drawing/2014/main" val="72969089"/>
                  </a:ext>
                </a:extLst>
              </a:tr>
              <a:tr h="978028">
                <a:tc>
                  <a:txBody>
                    <a:bodyPr/>
                    <a:lstStyle/>
                    <a:p>
                      <a:pPr algn="ctr">
                        <a:lnSpc>
                          <a:spcPct val="200000"/>
                        </a:lnSpc>
                      </a:pPr>
                      <a:endParaRPr lang="en-CA" sz="900"/>
                    </a:p>
                  </a:txBody>
                  <a:tcPr anchor="ctr"/>
                </a:tc>
                <a:tc>
                  <a:txBody>
                    <a:bodyPr/>
                    <a:lstStyle/>
                    <a:p>
                      <a:pPr algn="ctr">
                        <a:lnSpc>
                          <a:spcPct val="200000"/>
                        </a:lnSpc>
                      </a:pPr>
                      <a:r>
                        <a:rPr lang="en-US" sz="900" u="none" strike="noStrike">
                          <a:effectLst/>
                        </a:rPr>
                        <a:t>The Trade Desk, Inc</a:t>
                      </a:r>
                      <a:endParaRPr lang="en-CA" sz="900"/>
                    </a:p>
                  </a:txBody>
                  <a:tcPr anchor="ctr"/>
                </a:tc>
                <a:tc>
                  <a:txBody>
                    <a:bodyPr/>
                    <a:lstStyle/>
                    <a:p>
                      <a:pPr algn="ctr">
                        <a:lnSpc>
                          <a:spcPct val="200000"/>
                        </a:lnSpc>
                      </a:pPr>
                      <a:r>
                        <a:rPr lang="en-US" sz="900" u="none" strike="noStrike">
                          <a:effectLst/>
                        </a:rPr>
                        <a:t>NasdaqGM:TTD</a:t>
                      </a:r>
                      <a:endParaRPr lang="en-CA" sz="9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dk1"/>
                          </a:solidFill>
                          <a:effectLst/>
                        </a:rPr>
                        <a:t>The Trade Desk provides a self-service platform that helps advertisers and ad agencies programmatically find and purchase digital ad inventory (display, video, audio, and social) on different devices like computers, smartphones, and connected TVs. It utilizes data in an iterative manner to optimize the performance of ad impressions purchased.</a:t>
                      </a:r>
                      <a:endParaRPr lang="en-CA" sz="900"/>
                    </a:p>
                  </a:txBody>
                  <a:tcPr anchor="ctr"/>
                </a:tc>
                <a:extLst>
                  <a:ext uri="{0D108BD9-81ED-4DB2-BD59-A6C34878D82A}">
                    <a16:rowId xmlns:a16="http://schemas.microsoft.com/office/drawing/2014/main" val="3382493932"/>
                  </a:ext>
                </a:extLst>
              </a:tr>
              <a:tr h="978028">
                <a:tc>
                  <a:txBody>
                    <a:bodyPr/>
                    <a:lstStyle/>
                    <a:p>
                      <a:pPr algn="ctr">
                        <a:lnSpc>
                          <a:spcPct val="200000"/>
                        </a:lnSpc>
                      </a:pPr>
                      <a:endParaRPr lang="en-CA" sz="900"/>
                    </a:p>
                  </a:txBody>
                  <a:tcPr anchor="ctr"/>
                </a:tc>
                <a:tc>
                  <a:txBody>
                    <a:bodyPr/>
                    <a:lstStyle/>
                    <a:p>
                      <a:pPr algn="ctr">
                        <a:lnSpc>
                          <a:spcPct val="200000"/>
                        </a:lnSpc>
                      </a:pPr>
                      <a:r>
                        <a:rPr lang="en-CA" sz="900" u="none" strike="noStrike">
                          <a:effectLst/>
                        </a:rPr>
                        <a:t>Meta Platforms, Inc. </a:t>
                      </a:r>
                      <a:endParaRPr lang="en-CA" sz="900"/>
                    </a:p>
                  </a:txBody>
                  <a:tcPr anchor="ctr"/>
                </a:tc>
                <a:tc>
                  <a:txBody>
                    <a:bodyPr/>
                    <a:lstStyle/>
                    <a:p>
                      <a:pPr algn="ctr">
                        <a:lnSpc>
                          <a:spcPct val="200000"/>
                        </a:lnSpc>
                      </a:pPr>
                      <a:r>
                        <a:rPr lang="en-CA" sz="900" u="none" strike="noStrike">
                          <a:effectLst/>
                        </a:rPr>
                        <a:t>NasdaqGS:META</a:t>
                      </a:r>
                      <a:endParaRPr lang="en-CA" sz="9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dk1"/>
                          </a:solidFill>
                          <a:effectLst/>
                        </a:rPr>
                        <a:t>Meta is the largest social media company in the world, boasting close to 4 billion monthly active users worldwide. The firm's "Family of Apps," its core business, consists of Facebook, Instagram, Messenger, and WhatsApp. Meta packages customer data, gleaned from its application ecosystem and sells ads to digital advertisers. </a:t>
                      </a:r>
                      <a:endParaRPr lang="en-CA" sz="900"/>
                    </a:p>
                  </a:txBody>
                  <a:tcPr anchor="ctr"/>
                </a:tc>
                <a:extLst>
                  <a:ext uri="{0D108BD9-81ED-4DB2-BD59-A6C34878D82A}">
                    <a16:rowId xmlns:a16="http://schemas.microsoft.com/office/drawing/2014/main" val="3962762562"/>
                  </a:ext>
                </a:extLst>
              </a:tr>
              <a:tr h="978028">
                <a:tc>
                  <a:txBody>
                    <a:bodyPr/>
                    <a:lstStyle/>
                    <a:p>
                      <a:pPr algn="ctr">
                        <a:lnSpc>
                          <a:spcPct val="200000"/>
                        </a:lnSpc>
                      </a:pPr>
                      <a:endParaRPr lang="en-CA" sz="900"/>
                    </a:p>
                  </a:txBody>
                  <a:tcPr anchor="ctr"/>
                </a:tc>
                <a:tc>
                  <a:txBody>
                    <a:bodyPr/>
                    <a:lstStyle/>
                    <a:p>
                      <a:pPr algn="ctr">
                        <a:lnSpc>
                          <a:spcPct val="200000"/>
                        </a:lnSpc>
                      </a:pPr>
                      <a:r>
                        <a:rPr lang="en-CA" sz="900" u="none" strike="noStrike">
                          <a:effectLst/>
                        </a:rPr>
                        <a:t>Alphabet Inc. </a:t>
                      </a:r>
                      <a:endParaRPr lang="en-CA" sz="900"/>
                    </a:p>
                  </a:txBody>
                  <a:tcPr anchor="ctr"/>
                </a:tc>
                <a:tc>
                  <a:txBody>
                    <a:bodyPr/>
                    <a:lstStyle/>
                    <a:p>
                      <a:pPr algn="ctr">
                        <a:lnSpc>
                          <a:spcPct val="200000"/>
                        </a:lnSpc>
                      </a:pPr>
                      <a:r>
                        <a:rPr lang="en-CA" sz="900" u="none" strike="noStrike">
                          <a:effectLst/>
                        </a:rPr>
                        <a:t>NasdaqGS:GOOGL</a:t>
                      </a:r>
                      <a:endParaRPr lang="en-CA" sz="9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dk1"/>
                          </a:solidFill>
                          <a:effectLst/>
                        </a:rPr>
                        <a:t>Alphabet is a holding company that wholly owns internet giant Google. The California-based company derives slightly less than 90% of its revenue from Google services, the vast majority of which is advertising sales. Alongside online ads, Google services houses sales stemming from Google's subscription services and devices.</a:t>
                      </a:r>
                      <a:endParaRPr lang="en-CA" sz="900"/>
                    </a:p>
                  </a:txBody>
                  <a:tcPr anchor="ctr"/>
                </a:tc>
                <a:extLst>
                  <a:ext uri="{0D108BD9-81ED-4DB2-BD59-A6C34878D82A}">
                    <a16:rowId xmlns:a16="http://schemas.microsoft.com/office/drawing/2014/main" val="473456468"/>
                  </a:ext>
                </a:extLst>
              </a:tr>
              <a:tr h="978028">
                <a:tc>
                  <a:txBody>
                    <a:bodyPr/>
                    <a:lstStyle/>
                    <a:p>
                      <a:pPr algn="ctr">
                        <a:lnSpc>
                          <a:spcPct val="200000"/>
                        </a:lnSpc>
                      </a:pPr>
                      <a:endParaRPr lang="en-CA" sz="900"/>
                    </a:p>
                  </a:txBody>
                  <a:tcPr anchor="ctr"/>
                </a:tc>
                <a:tc>
                  <a:txBody>
                    <a:bodyPr/>
                    <a:lstStyle/>
                    <a:p>
                      <a:pPr algn="ctr">
                        <a:lnSpc>
                          <a:spcPct val="200000"/>
                        </a:lnSpc>
                      </a:pPr>
                      <a:r>
                        <a:rPr lang="en-CA" sz="900" u="none" strike="noStrike">
                          <a:effectLst/>
                        </a:rPr>
                        <a:t>Criteo S.A. </a:t>
                      </a:r>
                      <a:endParaRPr lang="en-CA" sz="900"/>
                    </a:p>
                  </a:txBody>
                  <a:tcPr anchor="ctr"/>
                </a:tc>
                <a:tc>
                  <a:txBody>
                    <a:bodyPr/>
                    <a:lstStyle/>
                    <a:p>
                      <a:pPr algn="ctr">
                        <a:lnSpc>
                          <a:spcPct val="200000"/>
                        </a:lnSpc>
                      </a:pPr>
                      <a:r>
                        <a:rPr lang="en-CA" sz="900" u="none" strike="noStrike">
                          <a:effectLst/>
                        </a:rPr>
                        <a:t>NasdaqGS:CRTO</a:t>
                      </a:r>
                      <a:endParaRPr lang="en-CA" sz="9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a:solidFill>
                            <a:schemeClr val="dk1"/>
                          </a:solidFill>
                          <a:effectLst/>
                        </a:rPr>
                        <a:t>Criteo SA is an ad-tech company in the digital advertising market. Its technology, allows retailer advertisers to launch multichannel and cross-device marketing campaigns in real time. With real-time return on investment analysis of the ads, the firm's clients can adjust their marketing strategies dynamically. It has two reportable segments: Retail Media and Performance Media. </a:t>
                      </a:r>
                      <a:endParaRPr lang="en-CA" sz="900"/>
                    </a:p>
                  </a:txBody>
                  <a:tcPr anchor="ctr"/>
                </a:tc>
                <a:extLst>
                  <a:ext uri="{0D108BD9-81ED-4DB2-BD59-A6C34878D82A}">
                    <a16:rowId xmlns:a16="http://schemas.microsoft.com/office/drawing/2014/main" val="103484322"/>
                  </a:ext>
                </a:extLst>
              </a:tr>
            </a:tbl>
          </a:graphicData>
        </a:graphic>
      </p:graphicFrame>
      <p:sp>
        <p:nvSpPr>
          <p:cNvPr id="4" name="Title 3">
            <a:extLst>
              <a:ext uri="{FF2B5EF4-FFF2-40B4-BE49-F238E27FC236}">
                <a16:creationId xmlns:a16="http://schemas.microsoft.com/office/drawing/2014/main" id="{510A3F4C-698C-DFFC-DF28-664950360C7C}"/>
              </a:ext>
            </a:extLst>
          </p:cNvPr>
          <p:cNvSpPr>
            <a:spLocks noGrp="1"/>
          </p:cNvSpPr>
          <p:nvPr>
            <p:ph type="title"/>
          </p:nvPr>
        </p:nvSpPr>
        <p:spPr/>
        <p:txBody>
          <a:bodyPr/>
          <a:lstStyle/>
          <a:p>
            <a:r>
              <a:rPr lang="en-CA"/>
              <a:t>Comparable Company Overview </a:t>
            </a:r>
          </a:p>
        </p:txBody>
      </p:sp>
      <p:sp>
        <p:nvSpPr>
          <p:cNvPr id="5" name="Text Placeholder 4">
            <a:extLst>
              <a:ext uri="{FF2B5EF4-FFF2-40B4-BE49-F238E27FC236}">
                <a16:creationId xmlns:a16="http://schemas.microsoft.com/office/drawing/2014/main" id="{D994BED3-0212-BE0D-9AFC-880ECBC27383}"/>
              </a:ext>
            </a:extLst>
          </p:cNvPr>
          <p:cNvSpPr>
            <a:spLocks noGrp="1"/>
          </p:cNvSpPr>
          <p:nvPr>
            <p:ph type="body" sz="quarter" idx="13"/>
          </p:nvPr>
        </p:nvSpPr>
        <p:spPr/>
        <p:txBody>
          <a:bodyPr/>
          <a:lstStyle/>
          <a:p>
            <a:r>
              <a:rPr lang="en-CA"/>
              <a:t>Source(s): Pitchbook, Capital IQ</a:t>
            </a:r>
          </a:p>
        </p:txBody>
      </p:sp>
      <p:sp>
        <p:nvSpPr>
          <p:cNvPr id="8" name="AutoShape 8" descr="HubSpot logo vector">
            <a:extLst>
              <a:ext uri="{FF2B5EF4-FFF2-40B4-BE49-F238E27FC236}">
                <a16:creationId xmlns:a16="http://schemas.microsoft.com/office/drawing/2014/main" id="{0049C2AA-854E-24A7-1039-BB5AC0E0C542}"/>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pic>
        <p:nvPicPr>
          <p:cNvPr id="1040" name="Picture 16">
            <a:extLst>
              <a:ext uri="{FF2B5EF4-FFF2-40B4-BE49-F238E27FC236}">
                <a16:creationId xmlns:a16="http://schemas.microsoft.com/office/drawing/2014/main" id="{016A1487-A3C4-D078-2BE0-ED6D8905D7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1450" y="1625575"/>
            <a:ext cx="1226297" cy="355754"/>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The Trade Desk: A Growth Story That Keeps Compounding">
            <a:extLst>
              <a:ext uri="{FF2B5EF4-FFF2-40B4-BE49-F238E27FC236}">
                <a16:creationId xmlns:a16="http://schemas.microsoft.com/office/drawing/2014/main" id="{40A3512A-31B3-F093-48BD-D209BE3B2D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498" y="2536577"/>
            <a:ext cx="2118202" cy="536859"/>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a:extLst>
              <a:ext uri="{FF2B5EF4-FFF2-40B4-BE49-F238E27FC236}">
                <a16:creationId xmlns:a16="http://schemas.microsoft.com/office/drawing/2014/main" id="{20EF18B0-AECF-92FF-7C14-19D97F3EA8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871" y="3636374"/>
            <a:ext cx="1226297" cy="248325"/>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Google Logo transparent PNG | FREE PNG Logos">
            <a:extLst>
              <a:ext uri="{FF2B5EF4-FFF2-40B4-BE49-F238E27FC236}">
                <a16:creationId xmlns:a16="http://schemas.microsoft.com/office/drawing/2014/main" id="{87CDB197-28ED-BB4A-EC1E-F45FF742F82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8624" b="22976"/>
          <a:stretch/>
        </p:blipFill>
        <p:spPr bwMode="auto">
          <a:xfrm>
            <a:off x="686715" y="4371568"/>
            <a:ext cx="1282886" cy="749204"/>
          </a:xfrm>
          <a:prstGeom prst="rect">
            <a:avLst/>
          </a:prstGeom>
          <a:noFill/>
          <a:extLst>
            <a:ext uri="{909E8E84-426E-40DD-AFC4-6F175D3DCCD1}">
              <a14:hiddenFill xmlns:a14="http://schemas.microsoft.com/office/drawing/2010/main">
                <a:solidFill>
                  <a:srgbClr val="FFFFFF"/>
                </a:solidFill>
              </a14:hiddenFill>
            </a:ext>
          </a:extLst>
        </p:spPr>
      </p:pic>
      <p:sp>
        <p:nvSpPr>
          <p:cNvPr id="11" name="AutoShape 28" descr="Criteo Logo PNG Vector SVG, EPS, Ai formats (2.22 KB) Free Download">
            <a:extLst>
              <a:ext uri="{FF2B5EF4-FFF2-40B4-BE49-F238E27FC236}">
                <a16:creationId xmlns:a16="http://schemas.microsoft.com/office/drawing/2014/main" id="{AEFFB3C2-507D-5E0E-CE95-3FF520A1CAA6}"/>
              </a:ext>
            </a:extLst>
          </p:cNvPr>
          <p:cNvSpPr>
            <a:spLocks noChangeAspect="1" noChangeArrowheads="1"/>
          </p:cNvSpPr>
          <p:nvPr/>
        </p:nvSpPr>
        <p:spPr bwMode="auto">
          <a:xfrm>
            <a:off x="4572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12" name="AutoShape 30" descr="Criteo Logo PNG Vector SVG, EPS, Ai formats (2.22 KB) Free Download">
            <a:extLst>
              <a:ext uri="{FF2B5EF4-FFF2-40B4-BE49-F238E27FC236}">
                <a16:creationId xmlns:a16="http://schemas.microsoft.com/office/drawing/2014/main" id="{63F0A803-A2E8-3B75-55B3-CADB14086518}"/>
              </a:ext>
            </a:extLst>
          </p:cNvPr>
          <p:cNvSpPr>
            <a:spLocks noChangeAspect="1" noChangeArrowheads="1"/>
          </p:cNvSpPr>
          <p:nvPr/>
        </p:nvSpPr>
        <p:spPr bwMode="auto">
          <a:xfrm>
            <a:off x="4724400"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pic>
        <p:nvPicPr>
          <p:cNvPr id="1056" name="Picture 32" descr="Criteo - ad:tech">
            <a:extLst>
              <a:ext uri="{FF2B5EF4-FFF2-40B4-BE49-F238E27FC236}">
                <a16:creationId xmlns:a16="http://schemas.microsoft.com/office/drawing/2014/main" id="{DCFCD9D8-DB31-D4A9-D2D4-76026FE9BBC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8555" y="5332707"/>
            <a:ext cx="1385454" cy="761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222531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066229D-2F3E-6042-BB79-7968DE364688}"/>
              </a:ext>
            </a:extLst>
          </p:cNvPr>
          <p:cNvSpPr>
            <a:spLocks noGrp="1" noRot="1" noMove="1" noResize="1" noEditPoints="1" noAdjustHandles="1" noChangeArrowheads="1" noChangeShapeType="1"/>
          </p:cNvSpPr>
          <p:nvPr/>
        </p:nvSpPr>
        <p:spPr>
          <a:xfrm>
            <a:off x="7413160" y="1184009"/>
            <a:ext cx="1463361" cy="4145595"/>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 name="Text Placeholder 1">
            <a:extLst>
              <a:ext uri="{FF2B5EF4-FFF2-40B4-BE49-F238E27FC236}">
                <a16:creationId xmlns:a16="http://schemas.microsoft.com/office/drawing/2014/main" id="{CC09C3B4-E6C8-4628-5968-A902BDD2E703}"/>
              </a:ext>
            </a:extLst>
          </p:cNvPr>
          <p:cNvSpPr>
            <a:spLocks noGrp="1"/>
          </p:cNvSpPr>
          <p:nvPr>
            <p:ph type="body" sz="quarter" idx="21"/>
          </p:nvPr>
        </p:nvSpPr>
        <p:spPr>
          <a:xfrm>
            <a:off x="250825" y="628078"/>
            <a:ext cx="8642350" cy="242282"/>
          </a:xfrm>
        </p:spPr>
        <p:txBody>
          <a:bodyPr>
            <a:noAutofit/>
          </a:bodyPr>
          <a:lstStyle/>
          <a:p>
            <a:r>
              <a:rPr lang="en-CA"/>
              <a:t>Important Relative Valuation Ratios </a:t>
            </a:r>
          </a:p>
        </p:txBody>
      </p:sp>
      <p:sp>
        <p:nvSpPr>
          <p:cNvPr id="4" name="Title 3">
            <a:extLst>
              <a:ext uri="{FF2B5EF4-FFF2-40B4-BE49-F238E27FC236}">
                <a16:creationId xmlns:a16="http://schemas.microsoft.com/office/drawing/2014/main" id="{11D3DE5B-FAC8-F18F-F0AF-5107C181B7CA}"/>
              </a:ext>
            </a:extLst>
          </p:cNvPr>
          <p:cNvSpPr>
            <a:spLocks noGrp="1"/>
          </p:cNvSpPr>
          <p:nvPr>
            <p:ph type="title"/>
          </p:nvPr>
        </p:nvSpPr>
        <p:spPr/>
        <p:txBody>
          <a:bodyPr/>
          <a:lstStyle/>
          <a:p>
            <a:r>
              <a:rPr lang="en-CA"/>
              <a:t>Relative Valuation</a:t>
            </a:r>
          </a:p>
        </p:txBody>
      </p:sp>
      <p:sp>
        <p:nvSpPr>
          <p:cNvPr id="5" name="Text Placeholder 4">
            <a:extLst>
              <a:ext uri="{FF2B5EF4-FFF2-40B4-BE49-F238E27FC236}">
                <a16:creationId xmlns:a16="http://schemas.microsoft.com/office/drawing/2014/main" id="{F91D284C-3DDC-D290-72C3-F9A1D25AD854}"/>
              </a:ext>
            </a:extLst>
          </p:cNvPr>
          <p:cNvSpPr>
            <a:spLocks noGrp="1"/>
          </p:cNvSpPr>
          <p:nvPr>
            <p:ph type="body" sz="quarter" idx="13"/>
          </p:nvPr>
        </p:nvSpPr>
        <p:spPr/>
        <p:txBody>
          <a:bodyPr/>
          <a:lstStyle/>
          <a:p>
            <a:r>
              <a:rPr lang="en-CA"/>
              <a:t>Source(s): Pitchbook, Capital IQ</a:t>
            </a:r>
          </a:p>
          <a:p>
            <a:endParaRPr lang="en-CA"/>
          </a:p>
        </p:txBody>
      </p:sp>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DEEB3EBC-463F-9B1E-84CB-02FD3CDD3C95}"/>
                  </a:ext>
                </a:extLst>
              </p:cNvPr>
              <p:cNvSpPr txBox="1"/>
              <p:nvPr/>
            </p:nvSpPr>
            <p:spPr>
              <a:xfrm>
                <a:off x="307731" y="1404419"/>
                <a:ext cx="1734449" cy="52815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en-CA" b="1" smtClean="0">
                          <a:solidFill>
                            <a:schemeClr val="accent2"/>
                          </a:solidFill>
                        </a:rPr>
                        <m:t>N</m:t>
                      </m:r>
                      <m:r>
                        <m:rPr>
                          <m:nor/>
                        </m:rPr>
                        <a:rPr lang="en-CA" b="1" i="0" smtClean="0">
                          <a:solidFill>
                            <a:schemeClr val="accent2"/>
                          </a:solidFill>
                        </a:rPr>
                        <m:t>TM</m:t>
                      </m:r>
                      <m:r>
                        <a:rPr lang="en-CA" b="1" i="0">
                          <a:solidFill>
                            <a:srgbClr val="008864"/>
                          </a:solidFill>
                          <a:latin typeface="Cambria Math" panose="02040503050406030204" pitchFamily="18" charset="0"/>
                        </a:rPr>
                        <m:t>→</m:t>
                      </m:r>
                      <m:f>
                        <m:fPr>
                          <m:ctrlPr>
                            <a:rPr lang="en-CA" b="1" i="1">
                              <a:solidFill>
                                <a:srgbClr val="008864"/>
                              </a:solidFill>
                              <a:latin typeface="Cambria Math" panose="02040503050406030204" pitchFamily="18" charset="0"/>
                            </a:rPr>
                          </m:ctrlPr>
                        </m:fPr>
                        <m:num>
                          <m:r>
                            <m:rPr>
                              <m:nor/>
                            </m:rPr>
                            <a:rPr lang="en-CA" b="1" i="0" smtClean="0">
                              <a:solidFill>
                                <a:srgbClr val="008864"/>
                              </a:solidFill>
                              <a:latin typeface="+mj-lt"/>
                            </a:rPr>
                            <m:t>EV</m:t>
                          </m:r>
                        </m:num>
                        <m:den>
                          <m:r>
                            <m:rPr>
                              <m:nor/>
                            </m:rPr>
                            <a:rPr lang="en-CA" b="1" dirty="0">
                              <a:solidFill>
                                <a:schemeClr val="accent2"/>
                              </a:solidFill>
                            </a:rPr>
                            <m:t>EBITDA</m:t>
                          </m:r>
                        </m:den>
                      </m:f>
                    </m:oMath>
                  </m:oMathPara>
                </a14:m>
                <a:endParaRPr lang="en-CA" b="1">
                  <a:solidFill>
                    <a:srgbClr val="008864"/>
                  </a:solidFill>
                  <a:latin typeface="+mj-lt"/>
                </a:endParaRPr>
              </a:p>
            </p:txBody>
          </p:sp>
        </mc:Choice>
        <mc:Fallback>
          <p:sp>
            <p:nvSpPr>
              <p:cNvPr id="10" name="TextBox 9">
                <a:extLst>
                  <a:ext uri="{FF2B5EF4-FFF2-40B4-BE49-F238E27FC236}">
                    <a16:creationId xmlns:a16="http://schemas.microsoft.com/office/drawing/2014/main" id="{DEEB3EBC-463F-9B1E-84CB-02FD3CDD3C95}"/>
                  </a:ext>
                </a:extLst>
              </p:cNvPr>
              <p:cNvSpPr txBox="1">
                <a:spLocks noRot="1" noChangeAspect="1" noMove="1" noResize="1" noEditPoints="1" noAdjustHandles="1" noChangeArrowheads="1" noChangeShapeType="1" noTextEdit="1"/>
              </p:cNvSpPr>
              <p:nvPr/>
            </p:nvSpPr>
            <p:spPr>
              <a:xfrm>
                <a:off x="307731" y="1404419"/>
                <a:ext cx="1734449" cy="528158"/>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CB3AA733-0FCF-11A5-803E-ACEDC44CBA1B}"/>
                  </a:ext>
                </a:extLst>
              </p:cNvPr>
              <p:cNvSpPr txBox="1"/>
              <p:nvPr/>
            </p:nvSpPr>
            <p:spPr>
              <a:xfrm>
                <a:off x="274699" y="2962555"/>
                <a:ext cx="1848263" cy="53085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en-CA" b="1" smtClean="0">
                          <a:solidFill>
                            <a:schemeClr val="accent2"/>
                          </a:solidFill>
                        </a:rPr>
                        <m:t>NTM</m:t>
                      </m:r>
                      <m:r>
                        <a:rPr lang="en-CA" b="1">
                          <a:solidFill>
                            <a:srgbClr val="008864"/>
                          </a:solidFill>
                          <a:latin typeface="Cambria Math" panose="02040503050406030204" pitchFamily="18" charset="0"/>
                        </a:rPr>
                        <m:t>→</m:t>
                      </m:r>
                      <m:f>
                        <m:fPr>
                          <m:ctrlPr>
                            <a:rPr lang="en-CA" b="1" i="1">
                              <a:solidFill>
                                <a:srgbClr val="008864"/>
                              </a:solidFill>
                              <a:latin typeface="Cambria Math" panose="02040503050406030204" pitchFamily="18" charset="0"/>
                            </a:rPr>
                          </m:ctrlPr>
                        </m:fPr>
                        <m:num>
                          <m:r>
                            <m:rPr>
                              <m:nor/>
                            </m:rPr>
                            <a:rPr lang="en-CA" b="1">
                              <a:solidFill>
                                <a:srgbClr val="008864"/>
                              </a:solidFill>
                            </a:rPr>
                            <m:t>EV</m:t>
                          </m:r>
                        </m:num>
                        <m:den>
                          <m:r>
                            <m:rPr>
                              <m:nor/>
                            </m:rPr>
                            <a:rPr lang="en-CA" b="1" i="0" smtClean="0">
                              <a:solidFill>
                                <a:srgbClr val="008864"/>
                              </a:solidFill>
                            </a:rPr>
                            <m:t>Revenue</m:t>
                          </m:r>
                        </m:den>
                      </m:f>
                    </m:oMath>
                  </m:oMathPara>
                </a14:m>
                <a:endParaRPr lang="en-CA" b="1">
                  <a:solidFill>
                    <a:srgbClr val="008864"/>
                  </a:solidFill>
                </a:endParaRPr>
              </a:p>
            </p:txBody>
          </p:sp>
        </mc:Choice>
        <mc:Fallback>
          <p:sp>
            <p:nvSpPr>
              <p:cNvPr id="11" name="TextBox 10">
                <a:extLst>
                  <a:ext uri="{FF2B5EF4-FFF2-40B4-BE49-F238E27FC236}">
                    <a16:creationId xmlns:a16="http://schemas.microsoft.com/office/drawing/2014/main" id="{CB3AA733-0FCF-11A5-803E-ACEDC44CBA1B}"/>
                  </a:ext>
                </a:extLst>
              </p:cNvPr>
              <p:cNvSpPr txBox="1">
                <a:spLocks noRot="1" noChangeAspect="1" noMove="1" noResize="1" noEditPoints="1" noAdjustHandles="1" noChangeArrowheads="1" noChangeShapeType="1" noTextEdit="1"/>
              </p:cNvSpPr>
              <p:nvPr/>
            </p:nvSpPr>
            <p:spPr>
              <a:xfrm>
                <a:off x="274699" y="2962555"/>
                <a:ext cx="1848263" cy="530851"/>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4" name="TextBox 13">
                <a:extLst>
                  <a:ext uri="{FF2B5EF4-FFF2-40B4-BE49-F238E27FC236}">
                    <a16:creationId xmlns:a16="http://schemas.microsoft.com/office/drawing/2014/main" id="{96D9FDDA-F531-B8E9-0B25-034A7590237A}"/>
                  </a:ext>
                </a:extLst>
              </p:cNvPr>
              <p:cNvSpPr txBox="1"/>
              <p:nvPr/>
            </p:nvSpPr>
            <p:spPr>
              <a:xfrm>
                <a:off x="261874" y="4274965"/>
                <a:ext cx="1873911" cy="5767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en-CA" b="1">
                          <a:solidFill>
                            <a:schemeClr val="accent2"/>
                          </a:solidFill>
                        </a:rPr>
                        <m:t>NTM</m:t>
                      </m:r>
                      <m:r>
                        <a:rPr lang="en-CA" b="1">
                          <a:solidFill>
                            <a:srgbClr val="008864"/>
                          </a:solidFill>
                          <a:latin typeface="Cambria Math" panose="02040503050406030204" pitchFamily="18" charset="0"/>
                        </a:rPr>
                        <m:t>→</m:t>
                      </m:r>
                      <m:f>
                        <m:fPr>
                          <m:ctrlPr>
                            <a:rPr lang="en-CA" b="1" i="1">
                              <a:solidFill>
                                <a:srgbClr val="008864"/>
                              </a:solidFill>
                              <a:latin typeface="Cambria Math" panose="02040503050406030204" pitchFamily="18" charset="0"/>
                            </a:rPr>
                          </m:ctrlPr>
                        </m:fPr>
                        <m:num>
                          <m:r>
                            <m:rPr>
                              <m:nor/>
                            </m:rPr>
                            <a:rPr lang="en-CA" b="1" i="0" smtClean="0">
                              <a:solidFill>
                                <a:srgbClr val="008864"/>
                              </a:solidFill>
                            </a:rPr>
                            <m:t>Price</m:t>
                          </m:r>
                        </m:num>
                        <m:den>
                          <m:r>
                            <m:rPr>
                              <m:nor/>
                            </m:rPr>
                            <a:rPr lang="en-CA" b="1" i="0" smtClean="0">
                              <a:solidFill>
                                <a:srgbClr val="008864"/>
                              </a:solidFill>
                            </a:rPr>
                            <m:t>Earnings</m:t>
                          </m:r>
                        </m:den>
                      </m:f>
                    </m:oMath>
                  </m:oMathPara>
                </a14:m>
                <a:endParaRPr lang="en-CA" b="1">
                  <a:solidFill>
                    <a:srgbClr val="008864"/>
                  </a:solidFill>
                  <a:latin typeface="+mj-lt"/>
                </a:endParaRPr>
              </a:p>
            </p:txBody>
          </p:sp>
        </mc:Choice>
        <mc:Fallback>
          <p:sp>
            <p:nvSpPr>
              <p:cNvPr id="14" name="TextBox 13">
                <a:extLst>
                  <a:ext uri="{FF2B5EF4-FFF2-40B4-BE49-F238E27FC236}">
                    <a16:creationId xmlns:a16="http://schemas.microsoft.com/office/drawing/2014/main" id="{96D9FDDA-F531-B8E9-0B25-034A7590237A}"/>
                  </a:ext>
                </a:extLst>
              </p:cNvPr>
              <p:cNvSpPr txBox="1">
                <a:spLocks noRot="1" noChangeAspect="1" noMove="1" noResize="1" noEditPoints="1" noAdjustHandles="1" noChangeArrowheads="1" noChangeShapeType="1" noTextEdit="1"/>
              </p:cNvSpPr>
              <p:nvPr/>
            </p:nvSpPr>
            <p:spPr>
              <a:xfrm>
                <a:off x="261874" y="4274965"/>
                <a:ext cx="1873911" cy="576761"/>
              </a:xfrm>
              <a:prstGeom prst="rect">
                <a:avLst/>
              </a:prstGeom>
              <a:blipFill>
                <a:blip r:embed="rId4"/>
                <a:stretch>
                  <a:fillRect/>
                </a:stretch>
              </a:blipFill>
            </p:spPr>
            <p:txBody>
              <a:bodyPr/>
              <a:lstStyle/>
              <a:p>
                <a:r>
                  <a:rPr lang="en-US">
                    <a:noFill/>
                  </a:rPr>
                  <a:t> </a:t>
                </a:r>
              </a:p>
            </p:txBody>
          </p:sp>
        </mc:Fallback>
      </mc:AlternateContent>
      <p:cxnSp>
        <p:nvCxnSpPr>
          <p:cNvPr id="16" name="Straight Arrow Connector 15">
            <a:extLst>
              <a:ext uri="{FF2B5EF4-FFF2-40B4-BE49-F238E27FC236}">
                <a16:creationId xmlns:a16="http://schemas.microsoft.com/office/drawing/2014/main" id="{000B35CD-11EF-F023-2124-B22813CBF1B4}"/>
              </a:ext>
            </a:extLst>
          </p:cNvPr>
          <p:cNvCxnSpPr>
            <a:cxnSpLocks/>
          </p:cNvCxnSpPr>
          <p:nvPr/>
        </p:nvCxnSpPr>
        <p:spPr>
          <a:xfrm>
            <a:off x="2237220" y="1693956"/>
            <a:ext cx="4672303" cy="0"/>
          </a:xfrm>
          <a:prstGeom prst="straightConnector1">
            <a:avLst/>
          </a:prstGeom>
          <a:ln w="19050"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Straight Arrow Connector 16">
            <a:extLst>
              <a:ext uri="{FF2B5EF4-FFF2-40B4-BE49-F238E27FC236}">
                <a16:creationId xmlns:a16="http://schemas.microsoft.com/office/drawing/2014/main" id="{8E9A6098-81A8-5690-7C14-865942E7AAE1}"/>
              </a:ext>
            </a:extLst>
          </p:cNvPr>
          <p:cNvCxnSpPr>
            <a:cxnSpLocks/>
          </p:cNvCxnSpPr>
          <p:nvPr/>
        </p:nvCxnSpPr>
        <p:spPr>
          <a:xfrm>
            <a:off x="2373037" y="3239617"/>
            <a:ext cx="4540039" cy="11442"/>
          </a:xfrm>
          <a:prstGeom prst="straightConnector1">
            <a:avLst/>
          </a:prstGeom>
          <a:ln w="19050"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8" name="Straight Arrow Connector 17">
            <a:extLst>
              <a:ext uri="{FF2B5EF4-FFF2-40B4-BE49-F238E27FC236}">
                <a16:creationId xmlns:a16="http://schemas.microsoft.com/office/drawing/2014/main" id="{D41DC645-DF21-C804-C82B-391F70078C31}"/>
              </a:ext>
            </a:extLst>
          </p:cNvPr>
          <p:cNvCxnSpPr>
            <a:cxnSpLocks/>
          </p:cNvCxnSpPr>
          <p:nvPr/>
        </p:nvCxnSpPr>
        <p:spPr>
          <a:xfrm>
            <a:off x="2490223" y="4734216"/>
            <a:ext cx="4315311" cy="0"/>
          </a:xfrm>
          <a:prstGeom prst="straightConnector1">
            <a:avLst/>
          </a:prstGeom>
          <a:ln w="19050"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49" name="Oval 48">
            <a:extLst>
              <a:ext uri="{FF2B5EF4-FFF2-40B4-BE49-F238E27FC236}">
                <a16:creationId xmlns:a16="http://schemas.microsoft.com/office/drawing/2014/main" id="{B03B273A-5115-F79C-601F-A451BE52391E}"/>
              </a:ext>
            </a:extLst>
          </p:cNvPr>
          <p:cNvSpPr/>
          <p:nvPr/>
        </p:nvSpPr>
        <p:spPr>
          <a:xfrm>
            <a:off x="4062600" y="1184009"/>
            <a:ext cx="1018800" cy="1019895"/>
          </a:xfrm>
          <a:prstGeom prst="ellipse">
            <a:avLst/>
          </a:prstGeom>
          <a:solidFill>
            <a:srgbClr val="008864"/>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r>
              <a:rPr lang="en-CA" b="1"/>
              <a:t>14.9x</a:t>
            </a:r>
            <a:endParaRPr lang="en-CA" sz="900" b="1"/>
          </a:p>
        </p:txBody>
      </p:sp>
      <p:sp>
        <p:nvSpPr>
          <p:cNvPr id="53" name="Oval 52">
            <a:extLst>
              <a:ext uri="{FF2B5EF4-FFF2-40B4-BE49-F238E27FC236}">
                <a16:creationId xmlns:a16="http://schemas.microsoft.com/office/drawing/2014/main" id="{61B53A48-0F32-E788-738D-481A7A594D5B}"/>
              </a:ext>
            </a:extLst>
          </p:cNvPr>
          <p:cNvSpPr/>
          <p:nvPr/>
        </p:nvSpPr>
        <p:spPr>
          <a:xfrm>
            <a:off x="4062600" y="2720705"/>
            <a:ext cx="1018800" cy="1018800"/>
          </a:xfrm>
          <a:prstGeom prst="ellipse">
            <a:avLst/>
          </a:prstGeom>
          <a:solidFill>
            <a:srgbClr val="008864"/>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r>
              <a:rPr lang="en-CA" b="1"/>
              <a:t>22.0x</a:t>
            </a:r>
            <a:endParaRPr lang="en-CA" sz="900" b="1"/>
          </a:p>
        </p:txBody>
      </p:sp>
      <p:sp>
        <p:nvSpPr>
          <p:cNvPr id="54" name="TextBox 53">
            <a:extLst>
              <a:ext uri="{FF2B5EF4-FFF2-40B4-BE49-F238E27FC236}">
                <a16:creationId xmlns:a16="http://schemas.microsoft.com/office/drawing/2014/main" id="{981FD19C-66DF-76FA-904C-780A6E6F63D8}"/>
              </a:ext>
            </a:extLst>
          </p:cNvPr>
          <p:cNvSpPr txBox="1"/>
          <p:nvPr/>
        </p:nvSpPr>
        <p:spPr>
          <a:xfrm>
            <a:off x="7704105" y="2948393"/>
            <a:ext cx="934211" cy="230832"/>
          </a:xfrm>
          <a:prstGeom prst="rect">
            <a:avLst/>
          </a:prstGeom>
          <a:noFill/>
        </p:spPr>
        <p:txBody>
          <a:bodyPr wrap="square" lIns="91440" tIns="45720" rIns="91440" bIns="45720" rtlCol="0" anchor="t">
            <a:spAutoFit/>
          </a:bodyPr>
          <a:lstStyle/>
          <a:p>
            <a:r>
              <a:rPr lang="en-CA" sz="900" b="1">
                <a:solidFill>
                  <a:srgbClr val="008864"/>
                </a:solidFill>
              </a:rPr>
              <a:t>× 40% Weight</a:t>
            </a:r>
          </a:p>
        </p:txBody>
      </p:sp>
      <p:sp>
        <p:nvSpPr>
          <p:cNvPr id="55" name="Oval 54">
            <a:extLst>
              <a:ext uri="{FF2B5EF4-FFF2-40B4-BE49-F238E27FC236}">
                <a16:creationId xmlns:a16="http://schemas.microsoft.com/office/drawing/2014/main" id="{E9FC0F9D-9F4E-AE0E-B531-1A06314ACB48}"/>
              </a:ext>
            </a:extLst>
          </p:cNvPr>
          <p:cNvSpPr/>
          <p:nvPr/>
        </p:nvSpPr>
        <p:spPr>
          <a:xfrm>
            <a:off x="4087446" y="4219984"/>
            <a:ext cx="1018800" cy="1018800"/>
          </a:xfrm>
          <a:prstGeom prst="ellipse">
            <a:avLst/>
          </a:prstGeom>
          <a:solidFill>
            <a:srgbClr val="008864"/>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r>
              <a:rPr lang="en-CA" b="1"/>
              <a:t>6.70x</a:t>
            </a:r>
            <a:endParaRPr lang="en-CA" sz="900" b="1"/>
          </a:p>
        </p:txBody>
      </p:sp>
      <p:cxnSp>
        <p:nvCxnSpPr>
          <p:cNvPr id="59" name="Straight Connector 58">
            <a:extLst>
              <a:ext uri="{FF2B5EF4-FFF2-40B4-BE49-F238E27FC236}">
                <a16:creationId xmlns:a16="http://schemas.microsoft.com/office/drawing/2014/main" id="{BB11C7C3-BE70-A1AB-48C9-62D5B7EE97A3}"/>
              </a:ext>
            </a:extLst>
          </p:cNvPr>
          <p:cNvCxnSpPr>
            <a:cxnSpLocks/>
          </p:cNvCxnSpPr>
          <p:nvPr/>
        </p:nvCxnSpPr>
        <p:spPr>
          <a:xfrm>
            <a:off x="0" y="2388593"/>
            <a:ext cx="9193692" cy="0"/>
          </a:xfrm>
          <a:prstGeom prst="line">
            <a:avLst/>
          </a:prstGeom>
          <a:ln w="19050"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1" name="Straight Connector 60">
            <a:extLst>
              <a:ext uri="{FF2B5EF4-FFF2-40B4-BE49-F238E27FC236}">
                <a16:creationId xmlns:a16="http://schemas.microsoft.com/office/drawing/2014/main" id="{53BABA9B-2807-329F-5C0D-2844198E27B8}"/>
              </a:ext>
            </a:extLst>
          </p:cNvPr>
          <p:cNvCxnSpPr>
            <a:cxnSpLocks/>
          </p:cNvCxnSpPr>
          <p:nvPr/>
        </p:nvCxnSpPr>
        <p:spPr>
          <a:xfrm>
            <a:off x="0" y="3867839"/>
            <a:ext cx="9144000" cy="0"/>
          </a:xfrm>
          <a:prstGeom prst="line">
            <a:avLst/>
          </a:prstGeom>
          <a:ln w="19050"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7" name="TextBox 76">
            <a:extLst>
              <a:ext uri="{FF2B5EF4-FFF2-40B4-BE49-F238E27FC236}">
                <a16:creationId xmlns:a16="http://schemas.microsoft.com/office/drawing/2014/main" id="{A4B6A87F-6A32-56D9-C2B7-3C1507498AAA}"/>
              </a:ext>
            </a:extLst>
          </p:cNvPr>
          <p:cNvSpPr txBox="1"/>
          <p:nvPr/>
        </p:nvSpPr>
        <p:spPr>
          <a:xfrm>
            <a:off x="7566036" y="1533526"/>
            <a:ext cx="1154633" cy="646331"/>
          </a:xfrm>
          <a:prstGeom prst="rect">
            <a:avLst/>
          </a:prstGeom>
          <a:noFill/>
        </p:spPr>
        <p:txBody>
          <a:bodyPr wrap="square" rtlCol="0">
            <a:spAutoFit/>
          </a:bodyPr>
          <a:lstStyle/>
          <a:p>
            <a:r>
              <a:rPr lang="en-CA" b="1">
                <a:solidFill>
                  <a:srgbClr val="008864"/>
                </a:solidFill>
              </a:rPr>
              <a:t>$ 141.14</a:t>
            </a:r>
          </a:p>
          <a:p>
            <a:endParaRPr lang="en-CA" b="1">
              <a:solidFill>
                <a:srgbClr val="008864"/>
              </a:solidFill>
            </a:endParaRPr>
          </a:p>
        </p:txBody>
      </p:sp>
      <p:sp>
        <p:nvSpPr>
          <p:cNvPr id="78" name="TextBox 77">
            <a:extLst>
              <a:ext uri="{FF2B5EF4-FFF2-40B4-BE49-F238E27FC236}">
                <a16:creationId xmlns:a16="http://schemas.microsoft.com/office/drawing/2014/main" id="{06B5999C-D50A-3012-64A0-3002635E8FC1}"/>
              </a:ext>
            </a:extLst>
          </p:cNvPr>
          <p:cNvSpPr txBox="1"/>
          <p:nvPr/>
        </p:nvSpPr>
        <p:spPr>
          <a:xfrm>
            <a:off x="7558689" y="3058684"/>
            <a:ext cx="1082348" cy="369332"/>
          </a:xfrm>
          <a:prstGeom prst="rect">
            <a:avLst/>
          </a:prstGeom>
          <a:noFill/>
        </p:spPr>
        <p:txBody>
          <a:bodyPr wrap="none" rtlCol="0">
            <a:spAutoFit/>
          </a:bodyPr>
          <a:lstStyle/>
          <a:p>
            <a:r>
              <a:rPr lang="en-CA" b="1">
                <a:solidFill>
                  <a:srgbClr val="008864"/>
                </a:solidFill>
              </a:rPr>
              <a:t>$ 100.71</a:t>
            </a:r>
          </a:p>
        </p:txBody>
      </p:sp>
      <p:sp>
        <p:nvSpPr>
          <p:cNvPr id="79" name="TextBox 78">
            <a:extLst>
              <a:ext uri="{FF2B5EF4-FFF2-40B4-BE49-F238E27FC236}">
                <a16:creationId xmlns:a16="http://schemas.microsoft.com/office/drawing/2014/main" id="{E3D5E482-F2FB-5342-1062-75A68768CC2C}"/>
              </a:ext>
            </a:extLst>
          </p:cNvPr>
          <p:cNvSpPr txBox="1"/>
          <p:nvPr/>
        </p:nvSpPr>
        <p:spPr>
          <a:xfrm>
            <a:off x="7633972" y="4437303"/>
            <a:ext cx="1082348" cy="369332"/>
          </a:xfrm>
          <a:prstGeom prst="rect">
            <a:avLst/>
          </a:prstGeom>
          <a:noFill/>
        </p:spPr>
        <p:txBody>
          <a:bodyPr wrap="none" rtlCol="0">
            <a:spAutoFit/>
          </a:bodyPr>
          <a:lstStyle/>
          <a:p>
            <a:r>
              <a:rPr lang="en-CA" b="1">
                <a:solidFill>
                  <a:srgbClr val="008864"/>
                </a:solidFill>
              </a:rPr>
              <a:t>$ 180.69</a:t>
            </a:r>
          </a:p>
        </p:txBody>
      </p:sp>
      <p:sp>
        <p:nvSpPr>
          <p:cNvPr id="80" name="TextBox 79">
            <a:extLst>
              <a:ext uri="{FF2B5EF4-FFF2-40B4-BE49-F238E27FC236}">
                <a16:creationId xmlns:a16="http://schemas.microsoft.com/office/drawing/2014/main" id="{ED5D0CD0-D157-5E1C-A824-EC834EF365AE}"/>
              </a:ext>
            </a:extLst>
          </p:cNvPr>
          <p:cNvSpPr txBox="1"/>
          <p:nvPr/>
        </p:nvSpPr>
        <p:spPr>
          <a:xfrm>
            <a:off x="7722984" y="3294592"/>
            <a:ext cx="902811" cy="230832"/>
          </a:xfrm>
          <a:prstGeom prst="rect">
            <a:avLst/>
          </a:prstGeom>
          <a:noFill/>
        </p:spPr>
        <p:txBody>
          <a:bodyPr wrap="none" rtlCol="0">
            <a:spAutoFit/>
          </a:bodyPr>
          <a:lstStyle/>
          <a:p>
            <a:r>
              <a:rPr lang="en-CA" sz="900" b="1">
                <a:solidFill>
                  <a:srgbClr val="008864"/>
                </a:solidFill>
              </a:rPr>
              <a:t>Implied Price</a:t>
            </a:r>
          </a:p>
        </p:txBody>
      </p:sp>
      <p:sp>
        <p:nvSpPr>
          <p:cNvPr id="81" name="TextBox 80">
            <a:extLst>
              <a:ext uri="{FF2B5EF4-FFF2-40B4-BE49-F238E27FC236}">
                <a16:creationId xmlns:a16="http://schemas.microsoft.com/office/drawing/2014/main" id="{498C1507-7AA3-EE4F-9209-000DF302BEA3}"/>
              </a:ext>
            </a:extLst>
          </p:cNvPr>
          <p:cNvSpPr txBox="1"/>
          <p:nvPr/>
        </p:nvSpPr>
        <p:spPr>
          <a:xfrm>
            <a:off x="7779384" y="4676294"/>
            <a:ext cx="908921" cy="230832"/>
          </a:xfrm>
          <a:prstGeom prst="rect">
            <a:avLst/>
          </a:prstGeom>
          <a:noFill/>
        </p:spPr>
        <p:txBody>
          <a:bodyPr wrap="square" rtlCol="0">
            <a:spAutoFit/>
          </a:bodyPr>
          <a:lstStyle/>
          <a:p>
            <a:pPr algn="r"/>
            <a:r>
              <a:rPr lang="en-CA" sz="900" b="1">
                <a:solidFill>
                  <a:srgbClr val="008864"/>
                </a:solidFill>
              </a:rPr>
              <a:t>Implied Price</a:t>
            </a:r>
          </a:p>
        </p:txBody>
      </p:sp>
      <p:sp>
        <p:nvSpPr>
          <p:cNvPr id="91" name="TextBox 90">
            <a:extLst>
              <a:ext uri="{FF2B5EF4-FFF2-40B4-BE49-F238E27FC236}">
                <a16:creationId xmlns:a16="http://schemas.microsoft.com/office/drawing/2014/main" id="{AE3FA78C-4910-BFDF-D3E6-D5929349FE61}"/>
              </a:ext>
            </a:extLst>
          </p:cNvPr>
          <p:cNvSpPr txBox="1"/>
          <p:nvPr/>
        </p:nvSpPr>
        <p:spPr>
          <a:xfrm>
            <a:off x="3038823" y="5597002"/>
            <a:ext cx="3116046" cy="523220"/>
          </a:xfrm>
          <a:prstGeom prst="rect">
            <a:avLst/>
          </a:prstGeom>
          <a:noFill/>
          <a:ln>
            <a:solidFill>
              <a:srgbClr val="FF0000"/>
            </a:solidFill>
            <a:prstDash val="lgDash"/>
          </a:ln>
        </p:spPr>
        <p:txBody>
          <a:bodyPr wrap="none" lIns="91440" tIns="45720" rIns="91440" bIns="45720" rtlCol="0" anchor="t">
            <a:spAutoFit/>
          </a:bodyPr>
          <a:lstStyle/>
          <a:p>
            <a:pPr algn="ctr"/>
            <a:r>
              <a:rPr lang="en-CA" sz="1400" b="1">
                <a:solidFill>
                  <a:schemeClr val="tx2"/>
                </a:solidFill>
              </a:rPr>
              <a:t>Total Implied Share Price</a:t>
            </a:r>
            <a:r>
              <a:rPr lang="en-CA" sz="1400" b="1"/>
              <a:t>: </a:t>
            </a:r>
            <a:r>
              <a:rPr lang="en-CA" sz="1400" b="1">
                <a:solidFill>
                  <a:srgbClr val="008864"/>
                </a:solidFill>
              </a:rPr>
              <a:t>$</a:t>
            </a:r>
            <a:r>
              <a:rPr lang="en-CA" sz="1400" b="1"/>
              <a:t> </a:t>
            </a:r>
            <a:r>
              <a:rPr lang="en-CA" sz="1400" b="1">
                <a:solidFill>
                  <a:srgbClr val="008864"/>
                </a:solidFill>
              </a:rPr>
              <a:t>138.81</a:t>
            </a:r>
          </a:p>
          <a:p>
            <a:pPr algn="ctr"/>
            <a:r>
              <a:rPr lang="en-CA" sz="1400" b="1">
                <a:solidFill>
                  <a:srgbClr val="008864"/>
                </a:solidFill>
              </a:rPr>
              <a:t>(Suggesting a downside of 46%)</a:t>
            </a:r>
          </a:p>
        </p:txBody>
      </p:sp>
      <p:sp>
        <p:nvSpPr>
          <p:cNvPr id="3" name="TextBox 2">
            <a:extLst>
              <a:ext uri="{FF2B5EF4-FFF2-40B4-BE49-F238E27FC236}">
                <a16:creationId xmlns:a16="http://schemas.microsoft.com/office/drawing/2014/main" id="{39BC2BF8-A13B-C6D0-8F19-D3010761DC44}"/>
              </a:ext>
            </a:extLst>
          </p:cNvPr>
          <p:cNvSpPr txBox="1"/>
          <p:nvPr/>
        </p:nvSpPr>
        <p:spPr>
          <a:xfrm>
            <a:off x="7722984" y="1436032"/>
            <a:ext cx="1026323" cy="230832"/>
          </a:xfrm>
          <a:prstGeom prst="rect">
            <a:avLst/>
          </a:prstGeom>
          <a:noFill/>
        </p:spPr>
        <p:txBody>
          <a:bodyPr wrap="square" lIns="91440" tIns="45720" rIns="91440" bIns="45720" rtlCol="0" anchor="t">
            <a:spAutoFit/>
          </a:bodyPr>
          <a:lstStyle/>
          <a:p>
            <a:r>
              <a:rPr lang="en-CA" sz="900" b="1">
                <a:solidFill>
                  <a:srgbClr val="008864"/>
                </a:solidFill>
              </a:rPr>
              <a:t>× 25% Weight</a:t>
            </a:r>
          </a:p>
        </p:txBody>
      </p:sp>
      <p:sp>
        <p:nvSpPr>
          <p:cNvPr id="6" name="TextBox 5">
            <a:extLst>
              <a:ext uri="{FF2B5EF4-FFF2-40B4-BE49-F238E27FC236}">
                <a16:creationId xmlns:a16="http://schemas.microsoft.com/office/drawing/2014/main" id="{324B433E-883D-CCC7-E0ED-E41B04B19151}"/>
              </a:ext>
            </a:extLst>
          </p:cNvPr>
          <p:cNvSpPr txBox="1"/>
          <p:nvPr/>
        </p:nvSpPr>
        <p:spPr>
          <a:xfrm>
            <a:off x="7751462" y="1744554"/>
            <a:ext cx="902811" cy="230832"/>
          </a:xfrm>
          <a:prstGeom prst="rect">
            <a:avLst/>
          </a:prstGeom>
          <a:noFill/>
        </p:spPr>
        <p:txBody>
          <a:bodyPr wrap="none" rtlCol="0">
            <a:spAutoFit/>
          </a:bodyPr>
          <a:lstStyle/>
          <a:p>
            <a:r>
              <a:rPr lang="en-CA" sz="900" b="1">
                <a:solidFill>
                  <a:srgbClr val="008864"/>
                </a:solidFill>
              </a:rPr>
              <a:t>Implied Price</a:t>
            </a:r>
          </a:p>
        </p:txBody>
      </p:sp>
      <p:sp>
        <p:nvSpPr>
          <p:cNvPr id="7" name="TextBox 6">
            <a:extLst>
              <a:ext uri="{FF2B5EF4-FFF2-40B4-BE49-F238E27FC236}">
                <a16:creationId xmlns:a16="http://schemas.microsoft.com/office/drawing/2014/main" id="{9DF7396B-3997-94CF-3A8D-F2DE1471F49A}"/>
              </a:ext>
            </a:extLst>
          </p:cNvPr>
          <p:cNvSpPr txBox="1"/>
          <p:nvPr/>
        </p:nvSpPr>
        <p:spPr>
          <a:xfrm>
            <a:off x="7760378" y="4330417"/>
            <a:ext cx="1005542" cy="230832"/>
          </a:xfrm>
          <a:prstGeom prst="rect">
            <a:avLst/>
          </a:prstGeom>
          <a:noFill/>
        </p:spPr>
        <p:txBody>
          <a:bodyPr wrap="square" lIns="91440" tIns="45720" rIns="91440" bIns="45720" rtlCol="0" anchor="t">
            <a:spAutoFit/>
          </a:bodyPr>
          <a:lstStyle/>
          <a:p>
            <a:r>
              <a:rPr lang="en-CA" sz="900" b="1">
                <a:solidFill>
                  <a:srgbClr val="008864"/>
                </a:solidFill>
              </a:rPr>
              <a:t>× 35% Weight</a:t>
            </a:r>
          </a:p>
        </p:txBody>
      </p:sp>
    </p:spTree>
    <p:extLst>
      <p:ext uri="{BB962C8B-B14F-4D97-AF65-F5344CB8AC3E}">
        <p14:creationId xmlns:p14="http://schemas.microsoft.com/office/powerpoint/2010/main" val="16674453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44CE27-921E-0671-7883-2F0CFE837902}"/>
            </a:ext>
          </a:extLst>
        </p:cNvPr>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2982F241-2291-9F9F-03A3-1EA22AD26442}"/>
              </a:ext>
            </a:extLst>
          </p:cNvPr>
          <p:cNvGraphicFramePr>
            <a:graphicFrameLocks noGrp="1"/>
          </p:cNvGraphicFramePr>
          <p:nvPr>
            <p:extLst>
              <p:ext uri="{D42A27DB-BD31-4B8C-83A1-F6EECF244321}">
                <p14:modId xmlns:p14="http://schemas.microsoft.com/office/powerpoint/2010/main" val="423106053"/>
              </p:ext>
            </p:extLst>
          </p:nvPr>
        </p:nvGraphicFramePr>
        <p:xfrm>
          <a:off x="250825" y="986812"/>
          <a:ext cx="8642350" cy="3738756"/>
        </p:xfrm>
        <a:graphic>
          <a:graphicData uri="http://schemas.openxmlformats.org/drawingml/2006/table">
            <a:tbl>
              <a:tblPr firstRow="1" bandRow="1">
                <a:tableStyleId>{0E3FDE45-AF77-4B5C-9715-49D594BDF05E}</a:tableStyleId>
              </a:tblPr>
              <a:tblGrid>
                <a:gridCol w="1365704">
                  <a:extLst>
                    <a:ext uri="{9D8B030D-6E8A-4147-A177-3AD203B41FA5}">
                      <a16:colId xmlns:a16="http://schemas.microsoft.com/office/drawing/2014/main" val="154914414"/>
                    </a:ext>
                  </a:extLst>
                </a:gridCol>
                <a:gridCol w="2091236">
                  <a:extLst>
                    <a:ext uri="{9D8B030D-6E8A-4147-A177-3AD203B41FA5}">
                      <a16:colId xmlns:a16="http://schemas.microsoft.com/office/drawing/2014/main" val="1497535324"/>
                    </a:ext>
                  </a:extLst>
                </a:gridCol>
                <a:gridCol w="3150235">
                  <a:extLst>
                    <a:ext uri="{9D8B030D-6E8A-4147-A177-3AD203B41FA5}">
                      <a16:colId xmlns:a16="http://schemas.microsoft.com/office/drawing/2014/main" val="4219579898"/>
                    </a:ext>
                  </a:extLst>
                </a:gridCol>
                <a:gridCol w="873579">
                  <a:extLst>
                    <a:ext uri="{9D8B030D-6E8A-4147-A177-3AD203B41FA5}">
                      <a16:colId xmlns:a16="http://schemas.microsoft.com/office/drawing/2014/main" val="735338292"/>
                    </a:ext>
                  </a:extLst>
                </a:gridCol>
                <a:gridCol w="1161596">
                  <a:extLst>
                    <a:ext uri="{9D8B030D-6E8A-4147-A177-3AD203B41FA5}">
                      <a16:colId xmlns:a16="http://schemas.microsoft.com/office/drawing/2014/main" val="1800752577"/>
                    </a:ext>
                  </a:extLst>
                </a:gridCol>
              </a:tblGrid>
              <a:tr h="230236">
                <a:tc>
                  <a:txBody>
                    <a:bodyPr/>
                    <a:lstStyle/>
                    <a:p>
                      <a:pPr algn="ctr" fontAlgn="ctr"/>
                      <a:r>
                        <a:rPr lang="en-CA" sz="900" b="1" u="none" strike="noStrike">
                          <a:solidFill>
                            <a:schemeClr val="bg1">
                              <a:lumMod val="95000"/>
                            </a:schemeClr>
                          </a:solidFill>
                          <a:effectLst/>
                        </a:rPr>
                        <a:t>Deal Date</a:t>
                      </a:r>
                      <a:endParaRPr lang="en-CA" sz="900" b="1" i="0" u="none" strike="noStrike">
                        <a:solidFill>
                          <a:schemeClr val="bg1">
                            <a:lumMod val="95000"/>
                          </a:schemeClr>
                        </a:solidFill>
                        <a:effectLst/>
                        <a:latin typeface="Open Sans" panose="020B0606030504020204" pitchFamily="34" charset="0"/>
                      </a:endParaRPr>
                    </a:p>
                  </a:txBody>
                  <a:tcPr marL="6350" marR="6350" marT="6350" marB="0" anchor="ctr">
                    <a:solidFill>
                      <a:srgbClr val="0F2B23"/>
                    </a:solidFill>
                  </a:tcPr>
                </a:tc>
                <a:tc>
                  <a:txBody>
                    <a:bodyPr/>
                    <a:lstStyle/>
                    <a:p>
                      <a:pPr algn="ctr" fontAlgn="ctr"/>
                      <a:r>
                        <a:rPr lang="en-CA" sz="900" b="1" u="none" strike="noStrike">
                          <a:solidFill>
                            <a:schemeClr val="bg1">
                              <a:lumMod val="95000"/>
                            </a:schemeClr>
                          </a:solidFill>
                          <a:effectLst/>
                        </a:rPr>
                        <a:t>Investors (Acquirer)</a:t>
                      </a:r>
                      <a:endParaRPr lang="en-CA" sz="900" b="1" i="0" u="none" strike="noStrike">
                        <a:solidFill>
                          <a:schemeClr val="bg1">
                            <a:lumMod val="95000"/>
                          </a:schemeClr>
                        </a:solidFill>
                        <a:effectLst/>
                        <a:latin typeface="Open Sans" panose="020B0606030504020204" pitchFamily="34" charset="0"/>
                      </a:endParaRPr>
                    </a:p>
                  </a:txBody>
                  <a:tcPr marL="6350" marR="6350" marT="6350" marB="0" anchor="ctr">
                    <a:solidFill>
                      <a:srgbClr val="0F2B23"/>
                    </a:solidFill>
                  </a:tcPr>
                </a:tc>
                <a:tc>
                  <a:txBody>
                    <a:bodyPr/>
                    <a:lstStyle/>
                    <a:p>
                      <a:pPr algn="ctr" fontAlgn="ctr"/>
                      <a:r>
                        <a:rPr lang="en-CA" sz="900" b="1" i="0" u="none" strike="noStrike">
                          <a:solidFill>
                            <a:schemeClr val="bg1">
                              <a:lumMod val="95000"/>
                            </a:schemeClr>
                          </a:solidFill>
                          <a:effectLst/>
                          <a:latin typeface="Open Sans" panose="020B0606030504020204" pitchFamily="34" charset="0"/>
                        </a:rPr>
                        <a:t>Acquired Companies</a:t>
                      </a:r>
                    </a:p>
                  </a:txBody>
                  <a:tcPr marL="6350" marR="6350" marT="6350" marB="0" anchor="ctr">
                    <a:solidFill>
                      <a:srgbClr val="0F2B23"/>
                    </a:solidFill>
                  </a:tcPr>
                </a:tc>
                <a:tc>
                  <a:txBody>
                    <a:bodyPr/>
                    <a:lstStyle/>
                    <a:p>
                      <a:pPr algn="ctr" fontAlgn="ctr"/>
                      <a:r>
                        <a:rPr lang="en-CA" sz="900" b="1" i="0" u="none" strike="noStrike">
                          <a:solidFill>
                            <a:schemeClr val="bg1">
                              <a:lumMod val="95000"/>
                            </a:schemeClr>
                          </a:solidFill>
                          <a:effectLst/>
                          <a:latin typeface="Open Sans" panose="020B0606030504020204" pitchFamily="34" charset="0"/>
                        </a:rPr>
                        <a:t>EV/Revenue</a:t>
                      </a:r>
                    </a:p>
                  </a:txBody>
                  <a:tcPr marL="6350" marR="6350" marT="6350" marB="0" anchor="ctr">
                    <a:solidFill>
                      <a:srgbClr val="0F2B23"/>
                    </a:solidFill>
                  </a:tcPr>
                </a:tc>
                <a:tc>
                  <a:txBody>
                    <a:bodyPr/>
                    <a:lstStyle/>
                    <a:p>
                      <a:pPr algn="ctr" fontAlgn="ctr"/>
                      <a:r>
                        <a:rPr lang="en-CA" sz="900" b="1" i="0" u="none" strike="noStrike">
                          <a:solidFill>
                            <a:schemeClr val="bg1">
                              <a:lumMod val="95000"/>
                            </a:schemeClr>
                          </a:solidFill>
                          <a:effectLst/>
                          <a:latin typeface="Open Sans" panose="020B0606030504020204" pitchFamily="34" charset="0"/>
                        </a:rPr>
                        <a:t>EV/EBITDA</a:t>
                      </a:r>
                    </a:p>
                  </a:txBody>
                  <a:tcPr marL="6350" marR="6350" marT="6350" marB="0" anchor="ctr">
                    <a:solidFill>
                      <a:srgbClr val="0F2B23"/>
                    </a:solidFill>
                  </a:tcPr>
                </a:tc>
                <a:extLst>
                  <a:ext uri="{0D108BD9-81ED-4DB2-BD59-A6C34878D82A}">
                    <a16:rowId xmlns:a16="http://schemas.microsoft.com/office/drawing/2014/main" val="1842871914"/>
                  </a:ext>
                </a:extLst>
              </a:tr>
              <a:tr h="70170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CA" sz="800" b="1" u="none" strike="noStrike">
                          <a:solidFill>
                            <a:srgbClr val="000000"/>
                          </a:solidFill>
                          <a:effectLst/>
                        </a:rPr>
                        <a:t>01-Sep-2021</a:t>
                      </a:r>
                      <a:endParaRPr lang="en-CA" sz="800" b="1" i="1" u="none" strike="noStrike">
                        <a:solidFill>
                          <a:srgbClr val="000000"/>
                        </a:solidFill>
                        <a:effectLst/>
                        <a:latin typeface="Open Sans" panose="020B0606030504020204" pitchFamily="34" charset="0"/>
                      </a:endParaRPr>
                    </a:p>
                  </a:txBody>
                  <a:tcPr marL="6350" marR="6350" marT="6350" marB="0" anchor="ctr"/>
                </a:tc>
                <a:tc>
                  <a:txBody>
                    <a:bodyPr/>
                    <a:lstStyle/>
                    <a:p>
                      <a:pPr algn="ctr" fontAlgn="ctr"/>
                      <a:endParaRPr lang="en-CA" sz="800" b="1" i="0" u="none" strike="noStrike">
                        <a:solidFill>
                          <a:schemeClr val="bg1"/>
                        </a:solidFill>
                        <a:effectLst/>
                        <a:latin typeface="Open Sans" panose="020B0606030504020204" pitchFamily="34" charset="0"/>
                      </a:endParaRPr>
                    </a:p>
                  </a:txBody>
                  <a:tcPr marL="6350" marR="6350" marT="6350" marB="0" anchor="ctr"/>
                </a:tc>
                <a:tc>
                  <a:txBody>
                    <a:bodyPr/>
                    <a:lstStyle/>
                    <a:p>
                      <a:pPr algn="ctr" fontAlgn="ctr"/>
                      <a:endParaRPr lang="en-CA" sz="800" b="1" i="0" u="none" strike="noStrike">
                        <a:solidFill>
                          <a:schemeClr val="bg1"/>
                        </a:solidFill>
                        <a:effectLst/>
                        <a:latin typeface="Open Sans" panose="020B0606030504020204" pitchFamily="34" charset="0"/>
                      </a:endParaRPr>
                    </a:p>
                  </a:txBody>
                  <a:tcPr marL="6350" marR="6350" marT="6350" marB="0" anchor="ctr"/>
                </a:tc>
                <a:tc>
                  <a:txBody>
                    <a:bodyPr/>
                    <a:lstStyle/>
                    <a:p>
                      <a:pPr algn="ctr" fontAlgn="ctr"/>
                      <a:r>
                        <a:rPr lang="en-CA" sz="1000" b="1" i="0" u="none" strike="noStrike">
                          <a:solidFill>
                            <a:srgbClr val="000000"/>
                          </a:solidFill>
                          <a:effectLst/>
                          <a:latin typeface="Open Sans" panose="020B0606030504020204" pitchFamily="34" charset="0"/>
                        </a:rPr>
                        <a:t>3.2x </a:t>
                      </a:r>
                    </a:p>
                  </a:txBody>
                  <a:tcPr marL="6350" marR="6350" marT="6350" marB="0" anchor="ctr"/>
                </a:tc>
                <a:tc>
                  <a:txBody>
                    <a:bodyPr/>
                    <a:lstStyle/>
                    <a:p>
                      <a:pPr algn="ctr" fontAlgn="ctr"/>
                      <a:r>
                        <a:rPr lang="en-CA" sz="1000" b="1" i="0" u="none" strike="noStrike">
                          <a:solidFill>
                            <a:srgbClr val="000000"/>
                          </a:solidFill>
                          <a:effectLst/>
                          <a:latin typeface="Open Sans" panose="020B0606030504020204" pitchFamily="34" charset="0"/>
                        </a:rPr>
                        <a:t>         9.9x </a:t>
                      </a:r>
                    </a:p>
                  </a:txBody>
                  <a:tcPr marL="6350" marR="6350" marT="6350" marB="0" anchor="ctr"/>
                </a:tc>
                <a:extLst>
                  <a:ext uri="{0D108BD9-81ED-4DB2-BD59-A6C34878D82A}">
                    <a16:rowId xmlns:a16="http://schemas.microsoft.com/office/drawing/2014/main" val="959439426"/>
                  </a:ext>
                </a:extLst>
              </a:tr>
              <a:tr h="701704">
                <a:tc>
                  <a:txBody>
                    <a:bodyPr/>
                    <a:lstStyle/>
                    <a:p>
                      <a:pPr algn="ctr" fontAlgn="ctr"/>
                      <a:r>
                        <a:rPr lang="en-CA" sz="800" b="1" u="none" strike="noStrike">
                          <a:solidFill>
                            <a:srgbClr val="000000"/>
                          </a:solidFill>
                          <a:effectLst/>
                        </a:rPr>
                        <a:t>30-Apr-2021</a:t>
                      </a:r>
                      <a:endParaRPr lang="en-CA" sz="800" b="1" i="1" u="none" strike="noStrike">
                        <a:solidFill>
                          <a:srgbClr val="000000"/>
                        </a:solidFill>
                        <a:effectLst/>
                        <a:latin typeface="Open Sans" panose="020B0606030504020204" pitchFamily="34" charset="0"/>
                      </a:endParaRPr>
                    </a:p>
                  </a:txBody>
                  <a:tcPr marL="6350" marR="114300" marT="6350" marB="0" anchor="ctr"/>
                </a:tc>
                <a:tc>
                  <a:txBody>
                    <a:bodyPr/>
                    <a:lstStyle/>
                    <a:p>
                      <a:pPr algn="ctr" fontAlgn="ctr"/>
                      <a:endParaRPr lang="en-US" sz="800" b="1" i="1" u="none" strike="noStrike">
                        <a:solidFill>
                          <a:srgbClr val="000000"/>
                        </a:solidFill>
                        <a:effectLst/>
                        <a:latin typeface="Open Sans" panose="020B0606030504020204" pitchFamily="34" charset="0"/>
                      </a:endParaRPr>
                    </a:p>
                  </a:txBody>
                  <a:tcPr marL="114300" marR="6350" marT="6350" marB="0" anchor="ctr"/>
                </a:tc>
                <a:tc>
                  <a:txBody>
                    <a:bodyPr/>
                    <a:lstStyle/>
                    <a:p>
                      <a:pPr algn="ctr" fontAlgn="ctr"/>
                      <a:endParaRPr lang="it-IT" sz="800" b="1" i="1" u="none" strike="noStrike">
                        <a:solidFill>
                          <a:srgbClr val="000000"/>
                        </a:solidFill>
                        <a:effectLst/>
                        <a:latin typeface="Open Sans" panose="020B0606030504020204" pitchFamily="34" charset="0"/>
                      </a:endParaRPr>
                    </a:p>
                  </a:txBody>
                  <a:tcPr marL="114300" marR="6350" marT="6350" marB="0" anchor="ctr"/>
                </a:tc>
                <a:tc>
                  <a:txBody>
                    <a:bodyPr/>
                    <a:lstStyle/>
                    <a:p>
                      <a:pPr algn="ctr" fontAlgn="ctr"/>
                      <a:r>
                        <a:rPr lang="en-CA" sz="1000" b="1" i="0" u="none" strike="noStrike">
                          <a:solidFill>
                            <a:srgbClr val="000000"/>
                          </a:solidFill>
                          <a:effectLst/>
                          <a:latin typeface="Open Sans" panose="020B0606030504020204" pitchFamily="34" charset="0"/>
                        </a:rPr>
                        <a:t>2.8x </a:t>
                      </a:r>
                    </a:p>
                  </a:txBody>
                  <a:tcPr marL="6350" marR="6350" marT="6350" marB="0" anchor="ctr"/>
                </a:tc>
                <a:tc>
                  <a:txBody>
                    <a:bodyPr/>
                    <a:lstStyle/>
                    <a:p>
                      <a:pPr algn="ctr" fontAlgn="ctr"/>
                      <a:r>
                        <a:rPr lang="en-CA" sz="1000" b="1" i="0" u="none" strike="noStrike">
                          <a:solidFill>
                            <a:srgbClr val="000000"/>
                          </a:solidFill>
                          <a:effectLst/>
                          <a:latin typeface="Open Sans" panose="020B0606030504020204" pitchFamily="34" charset="0"/>
                        </a:rPr>
                        <a:t>      35.7x </a:t>
                      </a:r>
                    </a:p>
                  </a:txBody>
                  <a:tcPr marL="6350" marR="6350" marT="6350" marB="0" anchor="ctr"/>
                </a:tc>
                <a:extLst>
                  <a:ext uri="{0D108BD9-81ED-4DB2-BD59-A6C34878D82A}">
                    <a16:rowId xmlns:a16="http://schemas.microsoft.com/office/drawing/2014/main" val="2208815750"/>
                  </a:ext>
                </a:extLst>
              </a:tr>
              <a:tr h="701704">
                <a:tc>
                  <a:txBody>
                    <a:bodyPr/>
                    <a:lstStyle/>
                    <a:p>
                      <a:pPr algn="ctr" fontAlgn="ctr"/>
                      <a:r>
                        <a:rPr lang="en-CA" sz="800" b="1" u="none" strike="noStrike">
                          <a:solidFill>
                            <a:srgbClr val="000000"/>
                          </a:solidFill>
                          <a:effectLst/>
                        </a:rPr>
                        <a:t>21-Oct-2024</a:t>
                      </a:r>
                      <a:endParaRPr lang="en-CA" sz="800" b="1" i="1" u="none" strike="noStrike">
                        <a:solidFill>
                          <a:srgbClr val="000000"/>
                        </a:solidFill>
                        <a:effectLst/>
                        <a:latin typeface="Open Sans" panose="020B0606030504020204" pitchFamily="34" charset="0"/>
                      </a:endParaRPr>
                    </a:p>
                  </a:txBody>
                  <a:tcPr marL="6350" marR="114300" marT="6350" marB="0" anchor="ctr"/>
                </a:tc>
                <a:tc>
                  <a:txBody>
                    <a:bodyPr/>
                    <a:lstStyle/>
                    <a:p>
                      <a:pPr algn="ctr" fontAlgn="ctr"/>
                      <a:endParaRPr lang="en-CA" sz="800" b="1" i="1" u="none" strike="noStrike">
                        <a:solidFill>
                          <a:srgbClr val="000000"/>
                        </a:solidFill>
                        <a:effectLst/>
                        <a:latin typeface="Open Sans" panose="020B0606030504020204" pitchFamily="34" charset="0"/>
                      </a:endParaRPr>
                    </a:p>
                  </a:txBody>
                  <a:tcPr marL="114300" marR="6350" marT="6350" marB="0" anchor="ctr"/>
                </a:tc>
                <a:tc>
                  <a:txBody>
                    <a:bodyPr/>
                    <a:lstStyle/>
                    <a:p>
                      <a:pPr algn="ctr" fontAlgn="ctr"/>
                      <a:endParaRPr lang="nn-NO" sz="800" b="1" i="1" u="none" strike="noStrike">
                        <a:solidFill>
                          <a:srgbClr val="000000"/>
                        </a:solidFill>
                        <a:effectLst/>
                        <a:latin typeface="Open Sans" panose="020B0606030504020204" pitchFamily="34" charset="0"/>
                      </a:endParaRPr>
                    </a:p>
                  </a:txBody>
                  <a:tcPr marL="114300" marR="6350" marT="6350" marB="0" anchor="ctr"/>
                </a:tc>
                <a:tc>
                  <a:txBody>
                    <a:bodyPr/>
                    <a:lstStyle/>
                    <a:p>
                      <a:pPr algn="ctr" fontAlgn="ctr"/>
                      <a:r>
                        <a:rPr lang="en-CA" sz="1000" b="1" i="0" u="none" strike="noStrike">
                          <a:solidFill>
                            <a:srgbClr val="000000"/>
                          </a:solidFill>
                          <a:effectLst/>
                          <a:latin typeface="Open Sans" panose="020B0606030504020204" pitchFamily="34" charset="0"/>
                        </a:rPr>
                        <a:t>3.3x </a:t>
                      </a:r>
                    </a:p>
                  </a:txBody>
                  <a:tcPr marL="6350" marR="6350" marT="6350" marB="0" anchor="ctr"/>
                </a:tc>
                <a:tc>
                  <a:txBody>
                    <a:bodyPr/>
                    <a:lstStyle/>
                    <a:p>
                      <a:pPr algn="ctr" fontAlgn="ctr"/>
                      <a:r>
                        <a:rPr lang="en-CA" sz="1000" b="1" i="0" u="none" strike="noStrike">
                          <a:solidFill>
                            <a:srgbClr val="000000"/>
                          </a:solidFill>
                          <a:effectLst/>
                          <a:latin typeface="Open Sans" panose="020B0606030504020204" pitchFamily="34" charset="0"/>
                        </a:rPr>
                        <a:t>      16.1x </a:t>
                      </a:r>
                    </a:p>
                  </a:txBody>
                  <a:tcPr marL="6350" marR="6350" marT="6350" marB="0" anchor="ctr"/>
                </a:tc>
                <a:extLst>
                  <a:ext uri="{0D108BD9-81ED-4DB2-BD59-A6C34878D82A}">
                    <a16:rowId xmlns:a16="http://schemas.microsoft.com/office/drawing/2014/main" val="675849091"/>
                  </a:ext>
                </a:extLst>
              </a:tr>
              <a:tr h="701704">
                <a:tc>
                  <a:txBody>
                    <a:bodyPr/>
                    <a:lstStyle/>
                    <a:p>
                      <a:pPr algn="ctr" fontAlgn="ctr"/>
                      <a:r>
                        <a:rPr lang="en-CA" sz="800" b="1" u="none" strike="noStrike">
                          <a:solidFill>
                            <a:srgbClr val="000000"/>
                          </a:solidFill>
                          <a:effectLst/>
                        </a:rPr>
                        <a:t>10-Jun-2021</a:t>
                      </a:r>
                      <a:endParaRPr lang="en-CA" sz="800" b="1" i="1" u="none" strike="noStrike">
                        <a:solidFill>
                          <a:srgbClr val="000000"/>
                        </a:solidFill>
                        <a:effectLst/>
                        <a:latin typeface="Open Sans" panose="020B0606030504020204" pitchFamily="34" charset="0"/>
                      </a:endParaRPr>
                    </a:p>
                  </a:txBody>
                  <a:tcPr marL="6350" marR="114300" marT="6350" marB="0" anchor="ctr"/>
                </a:tc>
                <a:tc>
                  <a:txBody>
                    <a:bodyPr/>
                    <a:lstStyle/>
                    <a:p>
                      <a:pPr algn="ctr" fontAlgn="ctr"/>
                      <a:endParaRPr lang="en-CA" sz="800" b="1" i="1" u="none" strike="noStrike">
                        <a:solidFill>
                          <a:srgbClr val="000000"/>
                        </a:solidFill>
                        <a:effectLst/>
                        <a:latin typeface="Open Sans" panose="020B0606030504020204" pitchFamily="34" charset="0"/>
                      </a:endParaRPr>
                    </a:p>
                  </a:txBody>
                  <a:tcPr marL="114300" marR="6350" marT="6350" marB="0" anchor="ctr"/>
                </a:tc>
                <a:tc>
                  <a:txBody>
                    <a:bodyPr/>
                    <a:lstStyle/>
                    <a:p>
                      <a:pPr algn="ctr" fontAlgn="ctr"/>
                      <a:endParaRPr lang="pt-BR" sz="800" b="1" i="1" u="none" strike="noStrike">
                        <a:solidFill>
                          <a:srgbClr val="000000"/>
                        </a:solidFill>
                        <a:effectLst/>
                        <a:latin typeface="Open Sans" panose="020B0606030504020204" pitchFamily="34" charset="0"/>
                      </a:endParaRPr>
                    </a:p>
                  </a:txBody>
                  <a:tcPr marL="114300" marR="6350" marT="6350" marB="0" anchor="ctr"/>
                </a:tc>
                <a:tc>
                  <a:txBody>
                    <a:bodyPr/>
                    <a:lstStyle/>
                    <a:p>
                      <a:pPr algn="ctr" fontAlgn="ctr"/>
                      <a:r>
                        <a:rPr lang="en-CA" sz="1000" b="1" i="0" u="none" strike="noStrike">
                          <a:solidFill>
                            <a:srgbClr val="000000"/>
                          </a:solidFill>
                          <a:effectLst/>
                          <a:latin typeface="Open Sans" panose="020B0606030504020204" pitchFamily="34" charset="0"/>
                        </a:rPr>
                        <a:t>1.7x </a:t>
                      </a:r>
                    </a:p>
                  </a:txBody>
                  <a:tcPr marL="6350" marR="6350" marT="6350" marB="0" anchor="ctr"/>
                </a:tc>
                <a:tc>
                  <a:txBody>
                    <a:bodyPr/>
                    <a:lstStyle/>
                    <a:p>
                      <a:pPr algn="ctr" fontAlgn="ctr"/>
                      <a:r>
                        <a:rPr lang="en-CA" sz="1000" b="1" i="0" u="none" strike="noStrike">
                          <a:solidFill>
                            <a:srgbClr val="000000"/>
                          </a:solidFill>
                          <a:effectLst/>
                          <a:latin typeface="Open Sans" panose="020B0606030504020204" pitchFamily="34" charset="0"/>
                        </a:rPr>
                        <a:t>      25.1x </a:t>
                      </a:r>
                    </a:p>
                  </a:txBody>
                  <a:tcPr marL="6350" marR="6350" marT="6350" marB="0" anchor="ctr"/>
                </a:tc>
                <a:extLst>
                  <a:ext uri="{0D108BD9-81ED-4DB2-BD59-A6C34878D82A}">
                    <a16:rowId xmlns:a16="http://schemas.microsoft.com/office/drawing/2014/main" val="1100491197"/>
                  </a:ext>
                </a:extLst>
              </a:tr>
              <a:tr h="701704">
                <a:tc>
                  <a:txBody>
                    <a:bodyPr/>
                    <a:lstStyle/>
                    <a:p>
                      <a:pPr algn="ctr" fontAlgn="ctr"/>
                      <a:r>
                        <a:rPr lang="en-CA" sz="800" b="1" u="none" strike="noStrike">
                          <a:solidFill>
                            <a:srgbClr val="000000"/>
                          </a:solidFill>
                          <a:effectLst/>
                        </a:rPr>
                        <a:t>14-Jan-2020</a:t>
                      </a:r>
                      <a:endParaRPr lang="en-CA" sz="800" b="1" i="1" u="none" strike="noStrike">
                        <a:solidFill>
                          <a:srgbClr val="000000"/>
                        </a:solidFill>
                        <a:effectLst/>
                        <a:latin typeface="Open Sans" panose="020B0606030504020204" pitchFamily="34" charset="0"/>
                      </a:endParaRPr>
                    </a:p>
                  </a:txBody>
                  <a:tcPr marL="6350" marR="114300" marT="6350" marB="0" anchor="ctr"/>
                </a:tc>
                <a:tc>
                  <a:txBody>
                    <a:bodyPr/>
                    <a:lstStyle/>
                    <a:p>
                      <a:pPr algn="ctr" fontAlgn="ctr"/>
                      <a:endParaRPr lang="en-CA" sz="800" b="1" i="1" u="none" strike="noStrike">
                        <a:solidFill>
                          <a:srgbClr val="000000"/>
                        </a:solidFill>
                        <a:effectLst/>
                        <a:latin typeface="Open Sans" panose="020B0606030504020204" pitchFamily="34" charset="0"/>
                      </a:endParaRPr>
                    </a:p>
                  </a:txBody>
                  <a:tcPr marL="114300" marR="6350" marT="6350" marB="0" anchor="ctr"/>
                </a:tc>
                <a:tc>
                  <a:txBody>
                    <a:bodyPr/>
                    <a:lstStyle/>
                    <a:p>
                      <a:pPr algn="ctr" fontAlgn="ctr"/>
                      <a:endParaRPr lang="en-CA" sz="800" b="1" i="1" u="none" strike="noStrike">
                        <a:solidFill>
                          <a:srgbClr val="000000"/>
                        </a:solidFill>
                        <a:effectLst/>
                        <a:latin typeface="Open Sans" panose="020B0606030504020204" pitchFamily="34" charset="0"/>
                      </a:endParaRPr>
                    </a:p>
                  </a:txBody>
                  <a:tcPr marL="114300" marR="6350" marT="6350" marB="0" anchor="ctr"/>
                </a:tc>
                <a:tc>
                  <a:txBody>
                    <a:bodyPr/>
                    <a:lstStyle/>
                    <a:p>
                      <a:pPr algn="ctr" fontAlgn="ctr"/>
                      <a:r>
                        <a:rPr lang="en-CA" sz="1000" b="1" i="0" u="none" strike="noStrike">
                          <a:solidFill>
                            <a:srgbClr val="000000"/>
                          </a:solidFill>
                          <a:effectLst/>
                          <a:latin typeface="Open Sans" panose="020B0606030504020204" pitchFamily="34" charset="0"/>
                        </a:rPr>
                        <a:t>1.9x </a:t>
                      </a:r>
                    </a:p>
                  </a:txBody>
                  <a:tcPr marL="6350" marR="6350" marT="6350" marB="0" anchor="ctr"/>
                </a:tc>
                <a:tc>
                  <a:txBody>
                    <a:bodyPr/>
                    <a:lstStyle/>
                    <a:p>
                      <a:pPr algn="ctr" fontAlgn="ctr"/>
                      <a:r>
                        <a:rPr lang="en-CA" sz="1000" b="1" i="0" u="none" strike="noStrike">
                          <a:solidFill>
                            <a:srgbClr val="000000"/>
                          </a:solidFill>
                          <a:effectLst/>
                          <a:latin typeface="Open Sans" panose="020B0606030504020204" pitchFamily="34" charset="0"/>
                        </a:rPr>
                        <a:t>      12.4x </a:t>
                      </a:r>
                    </a:p>
                  </a:txBody>
                  <a:tcPr marL="6350" marR="6350" marT="6350" marB="0" anchor="ctr"/>
                </a:tc>
                <a:extLst>
                  <a:ext uri="{0D108BD9-81ED-4DB2-BD59-A6C34878D82A}">
                    <a16:rowId xmlns:a16="http://schemas.microsoft.com/office/drawing/2014/main" val="2036463263"/>
                  </a:ext>
                </a:extLst>
              </a:tr>
            </a:tbl>
          </a:graphicData>
        </a:graphic>
      </p:graphicFrame>
      <p:sp>
        <p:nvSpPr>
          <p:cNvPr id="2" name="Text Placeholder 1">
            <a:extLst>
              <a:ext uri="{FF2B5EF4-FFF2-40B4-BE49-F238E27FC236}">
                <a16:creationId xmlns:a16="http://schemas.microsoft.com/office/drawing/2014/main" id="{600E8D14-4823-8454-1BDC-A1483AE9ED31}"/>
              </a:ext>
            </a:extLst>
          </p:cNvPr>
          <p:cNvSpPr>
            <a:spLocks noGrp="1"/>
          </p:cNvSpPr>
          <p:nvPr>
            <p:ph type="body" sz="quarter" idx="21"/>
          </p:nvPr>
        </p:nvSpPr>
        <p:spPr/>
        <p:txBody>
          <a:bodyPr/>
          <a:lstStyle/>
          <a:p>
            <a:r>
              <a:rPr lang="en-CA"/>
              <a:t>Similar Transactions Comparable to SHOP X APP</a:t>
            </a:r>
          </a:p>
        </p:txBody>
      </p:sp>
      <p:sp>
        <p:nvSpPr>
          <p:cNvPr id="4" name="Title 3">
            <a:extLst>
              <a:ext uri="{FF2B5EF4-FFF2-40B4-BE49-F238E27FC236}">
                <a16:creationId xmlns:a16="http://schemas.microsoft.com/office/drawing/2014/main" id="{A1588E90-C84E-64D4-C0E4-ACF2BF628260}"/>
              </a:ext>
            </a:extLst>
          </p:cNvPr>
          <p:cNvSpPr>
            <a:spLocks noGrp="1"/>
          </p:cNvSpPr>
          <p:nvPr>
            <p:ph type="title"/>
          </p:nvPr>
        </p:nvSpPr>
        <p:spPr/>
        <p:txBody>
          <a:bodyPr/>
          <a:lstStyle/>
          <a:p>
            <a:r>
              <a:rPr lang="en-CA"/>
              <a:t>Precedent Transaction Analysis</a:t>
            </a:r>
          </a:p>
        </p:txBody>
      </p:sp>
      <p:sp>
        <p:nvSpPr>
          <p:cNvPr id="5" name="Text Placeholder 4">
            <a:extLst>
              <a:ext uri="{FF2B5EF4-FFF2-40B4-BE49-F238E27FC236}">
                <a16:creationId xmlns:a16="http://schemas.microsoft.com/office/drawing/2014/main" id="{3FBC1A3F-D38A-BB85-6099-83AA06676B95}"/>
              </a:ext>
            </a:extLst>
          </p:cNvPr>
          <p:cNvSpPr>
            <a:spLocks noGrp="1"/>
          </p:cNvSpPr>
          <p:nvPr>
            <p:ph type="body" sz="quarter" idx="13"/>
          </p:nvPr>
        </p:nvSpPr>
        <p:spPr/>
        <p:txBody>
          <a:bodyPr/>
          <a:lstStyle/>
          <a:p>
            <a:r>
              <a:rPr lang="en-CA"/>
              <a:t>Source(s): Pitchbook, Capital IQ</a:t>
            </a:r>
          </a:p>
          <a:p>
            <a:endParaRPr lang="en-CA"/>
          </a:p>
        </p:txBody>
      </p:sp>
      <p:pic>
        <p:nvPicPr>
          <p:cNvPr id="2050" name="Picture 2" descr="smaato | App Developer Magazine">
            <a:extLst>
              <a:ext uri="{FF2B5EF4-FFF2-40B4-BE49-F238E27FC236}">
                <a16:creationId xmlns:a16="http://schemas.microsoft.com/office/drawing/2014/main" id="{61D4ADAF-A142-7503-BD9E-7CFE93C0767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83592" y="1251180"/>
            <a:ext cx="1632680" cy="53334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Verve&quot; Icon - Download for free – Iconduck">
            <a:extLst>
              <a:ext uri="{FF2B5EF4-FFF2-40B4-BE49-F238E27FC236}">
                <a16:creationId xmlns:a16="http://schemas.microsoft.com/office/drawing/2014/main" id="{DFDFC5C7-2FA5-DA5C-0AA3-6C2E163C07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25043" y="1318871"/>
            <a:ext cx="1314326" cy="454994"/>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AB Tech Lab">
            <a:extLst>
              <a:ext uri="{FF2B5EF4-FFF2-40B4-BE49-F238E27FC236}">
                <a16:creationId xmlns:a16="http://schemas.microsoft.com/office/drawing/2014/main" id="{275A6B83-8D14-9F5C-8F17-7E59E19EA9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83592" y="2057678"/>
            <a:ext cx="1632680" cy="34581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55103142-6317-616C-740C-194DFD939B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11881" y="2117846"/>
            <a:ext cx="1540650" cy="499374"/>
          </a:xfrm>
          <a:prstGeom prst="rect">
            <a:avLst/>
          </a:prstGeom>
          <a:noFill/>
          <a:extLst>
            <a:ext uri="{909E8E84-426E-40DD-AFC4-6F175D3DCCD1}">
              <a14:hiddenFill xmlns:a14="http://schemas.microsoft.com/office/drawing/2010/main">
                <a:solidFill>
                  <a:srgbClr val="FFFFFF"/>
                </a:solidFill>
              </a14:hiddenFill>
            </a:ext>
          </a:extLst>
        </p:spPr>
      </p:pic>
      <p:sp>
        <p:nvSpPr>
          <p:cNvPr id="7" name="AutoShape 10" descr="LiveIntent Logo PNG Vector (SVG) Free Download">
            <a:extLst>
              <a:ext uri="{FF2B5EF4-FFF2-40B4-BE49-F238E27FC236}">
                <a16:creationId xmlns:a16="http://schemas.microsoft.com/office/drawing/2014/main" id="{BAB73C22-DE19-C181-EDE1-A5C9ED101FED}"/>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8" name="AutoShape 12" descr="LiveIntent Logo PNG Vector (SVG) Free Download">
            <a:extLst>
              <a:ext uri="{FF2B5EF4-FFF2-40B4-BE49-F238E27FC236}">
                <a16:creationId xmlns:a16="http://schemas.microsoft.com/office/drawing/2014/main" id="{D155ECA3-0AA4-5E03-8156-DC15E91E9414}"/>
              </a:ext>
            </a:extLst>
          </p:cNvPr>
          <p:cNvSpPr>
            <a:spLocks noChangeAspect="1" noChangeArrowheads="1"/>
          </p:cNvSpPr>
          <p:nvPr/>
        </p:nvSpPr>
        <p:spPr bwMode="auto">
          <a:xfrm>
            <a:off x="4572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9" name="AutoShape 14" descr="LiveIntent Logo PNG Vector (SVG) Free Download">
            <a:extLst>
              <a:ext uri="{FF2B5EF4-FFF2-40B4-BE49-F238E27FC236}">
                <a16:creationId xmlns:a16="http://schemas.microsoft.com/office/drawing/2014/main" id="{74EE8BB7-CB9E-83BE-1844-FBE709DFD64E}"/>
              </a:ext>
            </a:extLst>
          </p:cNvPr>
          <p:cNvSpPr>
            <a:spLocks noChangeAspect="1" noChangeArrowheads="1"/>
          </p:cNvSpPr>
          <p:nvPr/>
        </p:nvSpPr>
        <p:spPr bwMode="auto">
          <a:xfrm>
            <a:off x="4724400"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10" name="AutoShape 16" descr="LiveIntent Logo PNG Vector (SVG) Free Download">
            <a:extLst>
              <a:ext uri="{FF2B5EF4-FFF2-40B4-BE49-F238E27FC236}">
                <a16:creationId xmlns:a16="http://schemas.microsoft.com/office/drawing/2014/main" id="{5E673755-D65C-E9AE-15FB-9FA6B10C274F}"/>
              </a:ext>
            </a:extLst>
          </p:cNvPr>
          <p:cNvSpPr>
            <a:spLocks noChangeAspect="1" noChangeArrowheads="1"/>
          </p:cNvSpPr>
          <p:nvPr/>
        </p:nvSpPr>
        <p:spPr bwMode="auto">
          <a:xfrm>
            <a:off x="4876800" y="37338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12" name="AutoShape 18" descr="LiveIntent Logo PNG Vector">
            <a:extLst>
              <a:ext uri="{FF2B5EF4-FFF2-40B4-BE49-F238E27FC236}">
                <a16:creationId xmlns:a16="http://schemas.microsoft.com/office/drawing/2014/main" id="{9EEC9658-D8F5-626C-417A-1EDE46F7724C}"/>
              </a:ext>
            </a:extLst>
          </p:cNvPr>
          <p:cNvSpPr>
            <a:spLocks noChangeAspect="1" noChangeArrowheads="1"/>
          </p:cNvSpPr>
          <p:nvPr/>
        </p:nvSpPr>
        <p:spPr bwMode="auto">
          <a:xfrm>
            <a:off x="5029200" y="38862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14" name="AutoShape 20" descr="LiveIntent Logo PNG Vector">
            <a:extLst>
              <a:ext uri="{FF2B5EF4-FFF2-40B4-BE49-F238E27FC236}">
                <a16:creationId xmlns:a16="http://schemas.microsoft.com/office/drawing/2014/main" id="{FB2C6E33-F829-2224-8F54-1292DF271F3A}"/>
              </a:ext>
            </a:extLst>
          </p:cNvPr>
          <p:cNvSpPr>
            <a:spLocks noChangeAspect="1" noChangeArrowheads="1"/>
          </p:cNvSpPr>
          <p:nvPr/>
        </p:nvSpPr>
        <p:spPr bwMode="auto">
          <a:xfrm>
            <a:off x="5181600" y="4038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16" name="AutoShape 22" descr="LiveIntent Logo PNG Vector">
            <a:extLst>
              <a:ext uri="{FF2B5EF4-FFF2-40B4-BE49-F238E27FC236}">
                <a16:creationId xmlns:a16="http://schemas.microsoft.com/office/drawing/2014/main" id="{796F95ED-B4C8-97FE-CCF2-5CE406825381}"/>
              </a:ext>
            </a:extLst>
          </p:cNvPr>
          <p:cNvSpPr>
            <a:spLocks noChangeAspect="1" noChangeArrowheads="1"/>
          </p:cNvSpPr>
          <p:nvPr/>
        </p:nvSpPr>
        <p:spPr bwMode="auto">
          <a:xfrm>
            <a:off x="5334000" y="4191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pic>
        <p:nvPicPr>
          <p:cNvPr id="2072" name="Picture 24" descr="LiveIntent - Battery Ventures">
            <a:extLst>
              <a:ext uri="{FF2B5EF4-FFF2-40B4-BE49-F238E27FC236}">
                <a16:creationId xmlns:a16="http://schemas.microsoft.com/office/drawing/2014/main" id="{2DE9C471-4545-E66C-E4DD-9E44AE36A37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0881" b="17105"/>
          <a:stretch/>
        </p:blipFill>
        <p:spPr bwMode="auto">
          <a:xfrm>
            <a:off x="4363867" y="2536031"/>
            <a:ext cx="1872130" cy="713741"/>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a:extLst>
              <a:ext uri="{FF2B5EF4-FFF2-40B4-BE49-F238E27FC236}">
                <a16:creationId xmlns:a16="http://schemas.microsoft.com/office/drawing/2014/main" id="{F4164F54-B248-AE33-5C4A-468133D1F3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0924" y="2721838"/>
            <a:ext cx="1142563" cy="438180"/>
          </a:xfrm>
          <a:prstGeom prst="rect">
            <a:avLst/>
          </a:prstGeom>
          <a:noFill/>
          <a:extLst>
            <a:ext uri="{909E8E84-426E-40DD-AFC4-6F175D3DCCD1}">
              <a14:hiddenFill xmlns:a14="http://schemas.microsoft.com/office/drawing/2010/main">
                <a:solidFill>
                  <a:srgbClr val="FFFFFF"/>
                </a:solidFill>
              </a14:hiddenFill>
            </a:ext>
          </a:extLst>
        </p:spPr>
      </p:pic>
      <p:pic>
        <p:nvPicPr>
          <p:cNvPr id="2076" name="Picture 28" descr="Jampp - Reviews, News and Ratings">
            <a:extLst>
              <a:ext uri="{FF2B5EF4-FFF2-40B4-BE49-F238E27FC236}">
                <a16:creationId xmlns:a16="http://schemas.microsoft.com/office/drawing/2014/main" id="{8A523B14-A64C-F3E4-C886-0618D5B74C2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36584"/>
          <a:stretch/>
        </p:blipFill>
        <p:spPr bwMode="auto">
          <a:xfrm>
            <a:off x="4328626" y="3484772"/>
            <a:ext cx="1705948" cy="359682"/>
          </a:xfrm>
          <a:prstGeom prst="rect">
            <a:avLst/>
          </a:prstGeom>
          <a:noFill/>
          <a:extLst>
            <a:ext uri="{909E8E84-426E-40DD-AFC4-6F175D3DCCD1}">
              <a14:hiddenFill xmlns:a14="http://schemas.microsoft.com/office/drawing/2010/main">
                <a:solidFill>
                  <a:srgbClr val="FFFFFF"/>
                </a:solidFill>
              </a14:hiddenFill>
            </a:ext>
          </a:extLst>
        </p:spPr>
      </p:pic>
      <p:pic>
        <p:nvPicPr>
          <p:cNvPr id="2078" name="Picture 30">
            <a:extLst>
              <a:ext uri="{FF2B5EF4-FFF2-40B4-BE49-F238E27FC236}">
                <a16:creationId xmlns:a16="http://schemas.microsoft.com/office/drawing/2014/main" id="{22FFFCBE-A5A1-8AED-C935-3852F64638F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0924" y="3343461"/>
            <a:ext cx="1138711" cy="525270"/>
          </a:xfrm>
          <a:prstGeom prst="rect">
            <a:avLst/>
          </a:prstGeom>
          <a:noFill/>
          <a:extLst>
            <a:ext uri="{909E8E84-426E-40DD-AFC4-6F175D3DCCD1}">
              <a14:hiddenFill xmlns:a14="http://schemas.microsoft.com/office/drawing/2010/main">
                <a:solidFill>
                  <a:srgbClr val="FFFFFF"/>
                </a:solidFill>
              </a14:hiddenFill>
            </a:ext>
          </a:extLst>
        </p:spPr>
      </p:pic>
      <p:pic>
        <p:nvPicPr>
          <p:cNvPr id="2082" name="Picture 34">
            <a:extLst>
              <a:ext uri="{FF2B5EF4-FFF2-40B4-BE49-F238E27FC236}">
                <a16:creationId xmlns:a16="http://schemas.microsoft.com/office/drawing/2014/main" id="{124AC4CA-5D13-0A65-8F5E-101DD649B98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11881" y="4101439"/>
            <a:ext cx="1540651" cy="48392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A logo on a black background&#10;&#10;AI-generated content may be incorrect.">
            <a:extLst>
              <a:ext uri="{FF2B5EF4-FFF2-40B4-BE49-F238E27FC236}">
                <a16:creationId xmlns:a16="http://schemas.microsoft.com/office/drawing/2014/main" id="{D36A0646-369C-65AA-8D49-EFF435B4672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93823" y="3638124"/>
            <a:ext cx="1812218" cy="1567883"/>
          </a:xfrm>
          <a:prstGeom prst="rect">
            <a:avLst/>
          </a:prstGeom>
        </p:spPr>
      </p:pic>
      <p:graphicFrame>
        <p:nvGraphicFramePr>
          <p:cNvPr id="22" name="Table 21">
            <a:extLst>
              <a:ext uri="{FF2B5EF4-FFF2-40B4-BE49-F238E27FC236}">
                <a16:creationId xmlns:a16="http://schemas.microsoft.com/office/drawing/2014/main" id="{32CAFA40-D081-EDD2-FD6D-C151898EDE7C}"/>
              </a:ext>
            </a:extLst>
          </p:cNvPr>
          <p:cNvGraphicFramePr>
            <a:graphicFrameLocks noGrp="1"/>
          </p:cNvGraphicFramePr>
          <p:nvPr>
            <p:extLst>
              <p:ext uri="{D42A27DB-BD31-4B8C-83A1-F6EECF244321}">
                <p14:modId xmlns:p14="http://schemas.microsoft.com/office/powerpoint/2010/main" val="2366599600"/>
              </p:ext>
            </p:extLst>
          </p:nvPr>
        </p:nvGraphicFramePr>
        <p:xfrm>
          <a:off x="234497" y="4721979"/>
          <a:ext cx="8666178" cy="1364313"/>
        </p:xfrm>
        <a:graphic>
          <a:graphicData uri="http://schemas.openxmlformats.org/drawingml/2006/table">
            <a:tbl>
              <a:tblPr firstRow="1" bandRow="1">
                <a:tableStyleId>{0E3FDE45-AF77-4B5C-9715-49D594BDF05E}</a:tableStyleId>
              </a:tblPr>
              <a:tblGrid>
                <a:gridCol w="1444363">
                  <a:extLst>
                    <a:ext uri="{9D8B030D-6E8A-4147-A177-3AD203B41FA5}">
                      <a16:colId xmlns:a16="http://schemas.microsoft.com/office/drawing/2014/main" val="4294923037"/>
                    </a:ext>
                  </a:extLst>
                </a:gridCol>
                <a:gridCol w="1444363">
                  <a:extLst>
                    <a:ext uri="{9D8B030D-6E8A-4147-A177-3AD203B41FA5}">
                      <a16:colId xmlns:a16="http://schemas.microsoft.com/office/drawing/2014/main" val="3839964088"/>
                    </a:ext>
                  </a:extLst>
                </a:gridCol>
                <a:gridCol w="2850626">
                  <a:extLst>
                    <a:ext uri="{9D8B030D-6E8A-4147-A177-3AD203B41FA5}">
                      <a16:colId xmlns:a16="http://schemas.microsoft.com/office/drawing/2014/main" val="2427558473"/>
                    </a:ext>
                  </a:extLst>
                </a:gridCol>
                <a:gridCol w="769851">
                  <a:extLst>
                    <a:ext uri="{9D8B030D-6E8A-4147-A177-3AD203B41FA5}">
                      <a16:colId xmlns:a16="http://schemas.microsoft.com/office/drawing/2014/main" val="2378220113"/>
                    </a:ext>
                  </a:extLst>
                </a:gridCol>
                <a:gridCol w="857250">
                  <a:extLst>
                    <a:ext uri="{9D8B030D-6E8A-4147-A177-3AD203B41FA5}">
                      <a16:colId xmlns:a16="http://schemas.microsoft.com/office/drawing/2014/main" val="2278994769"/>
                    </a:ext>
                  </a:extLst>
                </a:gridCol>
                <a:gridCol w="1299725">
                  <a:extLst>
                    <a:ext uri="{9D8B030D-6E8A-4147-A177-3AD203B41FA5}">
                      <a16:colId xmlns:a16="http://schemas.microsoft.com/office/drawing/2014/main" val="118690424"/>
                    </a:ext>
                  </a:extLst>
                </a:gridCol>
              </a:tblGrid>
              <a:tr h="20108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CA" sz="800" b="1" i="1" u="none" strike="noStrike">
                        <a:solidFill>
                          <a:srgbClr val="000000"/>
                        </a:solidFill>
                        <a:effectLst/>
                        <a:latin typeface="Open Sans" panose="020B0606030504020204" pitchFamily="34" charset="0"/>
                      </a:endParaRPr>
                    </a:p>
                  </a:txBody>
                  <a:tcPr marL="6350" marR="6350" marT="635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CA" sz="800" b="1" i="1" u="none" strike="noStrike">
                        <a:solidFill>
                          <a:srgbClr val="000000"/>
                        </a:solidFill>
                        <a:effectLst/>
                        <a:latin typeface="Open Sans" panose="020B0606030504020204" pitchFamily="34" charset="0"/>
                      </a:endParaRPr>
                    </a:p>
                  </a:txBody>
                  <a:tcPr marL="6350" marR="6350" marT="635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CA" sz="800" b="1" i="1" u="none" strike="noStrike">
                        <a:solidFill>
                          <a:srgbClr val="000000"/>
                        </a:solidFill>
                        <a:effectLst/>
                        <a:latin typeface="Open Sans" panose="020B0606030504020204" pitchFamily="34" charset="0"/>
                      </a:endParaRPr>
                    </a:p>
                  </a:txBody>
                  <a:tcPr marL="6350" marR="6350" marT="635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CA" sz="800" b="1" i="1" u="none" strike="noStrike">
                        <a:solidFill>
                          <a:srgbClr val="000000"/>
                        </a:solidFill>
                        <a:effectLst/>
                        <a:latin typeface="Open Sans" panose="020B0606030504020204" pitchFamily="34" charset="0"/>
                      </a:endParaRPr>
                    </a:p>
                  </a:txBody>
                  <a:tcPr marL="6350" marR="6350" marT="635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CA" sz="800" b="1" i="1" u="none" strike="noStrike">
                        <a:solidFill>
                          <a:srgbClr val="000000"/>
                        </a:solidFill>
                        <a:effectLst/>
                        <a:latin typeface="Open Sans" panose="020B0606030504020204" pitchFamily="34" charset="0"/>
                      </a:endParaRPr>
                    </a:p>
                  </a:txBody>
                  <a:tcPr marL="6350" marR="6350" marT="6350" marB="0" anchor="ctr"/>
                </a:tc>
                <a:tc>
                  <a:txBody>
                    <a:bodyPr/>
                    <a:lstStyle/>
                    <a:p>
                      <a:pPr algn="ctr" fontAlgn="ctr"/>
                      <a:endParaRPr lang="en-CA" sz="800" b="1" i="0" u="none" strike="noStrike">
                        <a:solidFill>
                          <a:schemeClr val="bg1"/>
                        </a:solidFill>
                        <a:effectLst/>
                        <a:latin typeface="Open Sans" panose="020B0606030504020204" pitchFamily="34" charset="0"/>
                      </a:endParaRPr>
                    </a:p>
                  </a:txBody>
                  <a:tcPr marL="6350" marR="6350" marT="6350" marB="0" anchor="ctr"/>
                </a:tc>
                <a:extLst>
                  <a:ext uri="{0D108BD9-81ED-4DB2-BD59-A6C34878D82A}">
                    <a16:rowId xmlns:a16="http://schemas.microsoft.com/office/drawing/2014/main" val="3015512226"/>
                  </a:ext>
                </a:extLst>
              </a:tr>
              <a:tr h="290807">
                <a:tc>
                  <a:txBody>
                    <a:bodyPr/>
                    <a:lstStyle/>
                    <a:p>
                      <a:pPr algn="l" fontAlgn="b"/>
                      <a:r>
                        <a:rPr lang="en-CA" sz="1100" u="none" strike="noStrike">
                          <a:effectLst/>
                        </a:rPr>
                        <a:t>Max</a:t>
                      </a:r>
                      <a:endParaRPr lang="en-CA" sz="1100" b="1" i="0" u="none" strike="noStrike">
                        <a:solidFill>
                          <a:srgbClr val="FFFFFF"/>
                        </a:solidFill>
                        <a:effectLst/>
                        <a:latin typeface="Arial" panose="020B0604020202020204" pitchFamily="34" charset="0"/>
                      </a:endParaRPr>
                    </a:p>
                  </a:txBody>
                  <a:tcPr marL="6350" marR="6350" marT="6350" marB="0" anchor="ctr"/>
                </a:tc>
                <a:tc>
                  <a:txBody>
                    <a:bodyPr/>
                    <a:lstStyle/>
                    <a:p>
                      <a:pPr algn="l" fontAlgn="b"/>
                      <a:endParaRPr lang="en-CA" sz="1100" b="0" i="0" u="none" strike="noStrike">
                        <a:solidFill>
                          <a:srgbClr val="000000"/>
                        </a:solidFill>
                        <a:effectLst/>
                        <a:latin typeface="Arial" panose="020B0604020202020204" pitchFamily="34" charset="0"/>
                      </a:endParaRPr>
                    </a:p>
                  </a:txBody>
                  <a:tcPr marL="6350" marR="6350" marT="6350" marB="0" anchor="ctr"/>
                </a:tc>
                <a:tc>
                  <a:txBody>
                    <a:bodyPr/>
                    <a:lstStyle/>
                    <a:p>
                      <a:pPr algn="l" fontAlgn="b"/>
                      <a:endParaRPr lang="en-CA" sz="1100" b="0" i="0" u="none" strike="noStrike">
                        <a:solidFill>
                          <a:srgbClr val="000000"/>
                        </a:solidFill>
                        <a:effectLst/>
                        <a:latin typeface="Arial" panose="020B0604020202020204" pitchFamily="34" charset="0"/>
                      </a:endParaRPr>
                    </a:p>
                  </a:txBody>
                  <a:tcPr marL="6350" marR="6350" marT="6350" marB="0" anchor="ctr"/>
                </a:tc>
                <a:tc>
                  <a:txBody>
                    <a:bodyPr/>
                    <a:lstStyle/>
                    <a:p>
                      <a:pPr algn="l" fontAlgn="b"/>
                      <a:endParaRPr lang="en-CA" sz="11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b"/>
                      <a:r>
                        <a:rPr lang="en-CA" sz="1100" b="1" u="none" strike="noStrike">
                          <a:effectLst/>
                        </a:rPr>
                        <a:t>         3.3x </a:t>
                      </a:r>
                      <a:endParaRPr lang="en-CA" sz="1100" b="1" i="0" u="none" strike="noStrike">
                        <a:solidFill>
                          <a:srgbClr val="000000"/>
                        </a:solidFill>
                        <a:effectLst/>
                        <a:latin typeface="Arial" panose="020B0604020202020204" pitchFamily="34" charset="0"/>
                      </a:endParaRPr>
                    </a:p>
                  </a:txBody>
                  <a:tcPr marL="6350" marR="6350" marT="6350" marB="0" anchor="ctr"/>
                </a:tc>
                <a:tc>
                  <a:txBody>
                    <a:bodyPr/>
                    <a:lstStyle/>
                    <a:p>
                      <a:pPr algn="ctr" fontAlgn="b"/>
                      <a:r>
                        <a:rPr lang="en-CA" sz="1100" b="1" u="none" strike="noStrike">
                          <a:effectLst/>
                        </a:rPr>
                        <a:t>           35.7x </a:t>
                      </a:r>
                      <a:endParaRPr lang="en-CA" sz="1100" b="1"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162090211"/>
                  </a:ext>
                </a:extLst>
              </a:tr>
              <a:tr h="290807">
                <a:tc>
                  <a:txBody>
                    <a:bodyPr/>
                    <a:lstStyle/>
                    <a:p>
                      <a:pPr algn="l" fontAlgn="b"/>
                      <a:r>
                        <a:rPr lang="en-CA" sz="1100" u="none" strike="noStrike">
                          <a:effectLst/>
                        </a:rPr>
                        <a:t>Median</a:t>
                      </a:r>
                      <a:endParaRPr lang="en-CA" sz="1100" b="1" i="1" u="none" strike="noStrike">
                        <a:solidFill>
                          <a:srgbClr val="FFFFFF"/>
                        </a:solidFill>
                        <a:effectLst/>
                        <a:latin typeface="Arial" panose="020B0604020202020204" pitchFamily="34" charset="0"/>
                      </a:endParaRPr>
                    </a:p>
                  </a:txBody>
                  <a:tcPr marL="6350" marR="6350" marT="6350" marB="0" anchor="ctr">
                    <a:solidFill>
                      <a:srgbClr val="FBF7ED"/>
                    </a:solidFill>
                  </a:tcPr>
                </a:tc>
                <a:tc>
                  <a:txBody>
                    <a:bodyPr/>
                    <a:lstStyle/>
                    <a:p>
                      <a:pPr algn="l" fontAlgn="b"/>
                      <a:endParaRPr lang="en-CA" sz="1100" b="1" i="1" u="none" strike="noStrike">
                        <a:solidFill>
                          <a:srgbClr val="000000"/>
                        </a:solidFill>
                        <a:effectLst/>
                        <a:latin typeface="Arial" panose="020B0604020202020204" pitchFamily="34" charset="0"/>
                      </a:endParaRPr>
                    </a:p>
                  </a:txBody>
                  <a:tcPr marL="6350" marR="6350" marT="6350" marB="0" anchor="ctr">
                    <a:solidFill>
                      <a:srgbClr val="FBF7ED"/>
                    </a:solidFill>
                  </a:tcPr>
                </a:tc>
                <a:tc>
                  <a:txBody>
                    <a:bodyPr/>
                    <a:lstStyle/>
                    <a:p>
                      <a:pPr algn="l" fontAlgn="b"/>
                      <a:endParaRPr lang="en-CA" sz="1100" b="1" i="1" u="none" strike="noStrike">
                        <a:solidFill>
                          <a:srgbClr val="000000"/>
                        </a:solidFill>
                        <a:effectLst/>
                        <a:latin typeface="Arial" panose="020B0604020202020204" pitchFamily="34" charset="0"/>
                      </a:endParaRPr>
                    </a:p>
                  </a:txBody>
                  <a:tcPr marL="6350" marR="6350" marT="6350" marB="0" anchor="ctr">
                    <a:solidFill>
                      <a:srgbClr val="FBF7ED"/>
                    </a:solidFill>
                  </a:tcPr>
                </a:tc>
                <a:tc>
                  <a:txBody>
                    <a:bodyPr/>
                    <a:lstStyle/>
                    <a:p>
                      <a:pPr algn="l" fontAlgn="b"/>
                      <a:endParaRPr lang="en-CA" sz="1100" b="1" i="1" u="none" strike="noStrike">
                        <a:solidFill>
                          <a:srgbClr val="000000"/>
                        </a:solidFill>
                        <a:effectLst/>
                        <a:latin typeface="Arial" panose="020B0604020202020204" pitchFamily="34" charset="0"/>
                      </a:endParaRPr>
                    </a:p>
                  </a:txBody>
                  <a:tcPr marL="6350" marR="6350" marT="6350" marB="0" anchor="ctr">
                    <a:solidFill>
                      <a:srgbClr val="FBF7ED"/>
                    </a:solidFill>
                  </a:tcPr>
                </a:tc>
                <a:tc>
                  <a:txBody>
                    <a:bodyPr/>
                    <a:lstStyle/>
                    <a:p>
                      <a:pPr algn="ctr" fontAlgn="b"/>
                      <a:r>
                        <a:rPr lang="en-CA" sz="1100" b="1" u="none" strike="noStrike">
                          <a:effectLst/>
                        </a:rPr>
                        <a:t>        2.8x </a:t>
                      </a:r>
                      <a:endParaRPr lang="en-CA" sz="1100" b="1" i="1" u="none" strike="noStrike">
                        <a:solidFill>
                          <a:srgbClr val="000000"/>
                        </a:solidFill>
                        <a:effectLst/>
                        <a:latin typeface="Arial" panose="020B0604020202020204" pitchFamily="34" charset="0"/>
                      </a:endParaRPr>
                    </a:p>
                  </a:txBody>
                  <a:tcPr marL="6350" marR="6350" marT="6350" marB="0" anchor="ctr">
                    <a:solidFill>
                      <a:srgbClr val="FBF7ED"/>
                    </a:solidFill>
                  </a:tcPr>
                </a:tc>
                <a:tc>
                  <a:txBody>
                    <a:bodyPr/>
                    <a:lstStyle/>
                    <a:p>
                      <a:pPr algn="ctr" fontAlgn="b"/>
                      <a:r>
                        <a:rPr lang="en-CA" sz="1100" b="1" u="none" strike="noStrike">
                          <a:effectLst/>
                        </a:rPr>
                        <a:t>           16.1x </a:t>
                      </a:r>
                      <a:endParaRPr lang="en-CA" sz="1100" b="1" i="1" u="none" strike="noStrike">
                        <a:solidFill>
                          <a:srgbClr val="000000"/>
                        </a:solidFill>
                        <a:effectLst/>
                        <a:latin typeface="Arial" panose="020B0604020202020204" pitchFamily="34" charset="0"/>
                      </a:endParaRPr>
                    </a:p>
                  </a:txBody>
                  <a:tcPr marL="6350" marR="6350" marT="6350" marB="0" anchor="ctr">
                    <a:solidFill>
                      <a:srgbClr val="FBF7ED"/>
                    </a:solidFill>
                  </a:tcPr>
                </a:tc>
                <a:extLst>
                  <a:ext uri="{0D108BD9-81ED-4DB2-BD59-A6C34878D82A}">
                    <a16:rowId xmlns:a16="http://schemas.microsoft.com/office/drawing/2014/main" val="3631330866"/>
                  </a:ext>
                </a:extLst>
              </a:tr>
              <a:tr h="290807">
                <a:tc>
                  <a:txBody>
                    <a:bodyPr/>
                    <a:lstStyle/>
                    <a:p>
                      <a:pPr algn="l" fontAlgn="b"/>
                      <a:r>
                        <a:rPr lang="en-CA" sz="1100" u="none" strike="noStrike">
                          <a:effectLst/>
                        </a:rPr>
                        <a:t>Min</a:t>
                      </a:r>
                      <a:endParaRPr lang="en-CA" sz="1100" b="1" i="0" u="none" strike="noStrike">
                        <a:solidFill>
                          <a:srgbClr val="FFFFFF"/>
                        </a:solidFill>
                        <a:effectLst/>
                        <a:latin typeface="Arial" panose="020B0604020202020204" pitchFamily="34" charset="0"/>
                      </a:endParaRPr>
                    </a:p>
                  </a:txBody>
                  <a:tcPr marL="6350" marR="6350" marT="6350" marB="0" anchor="ctr"/>
                </a:tc>
                <a:tc>
                  <a:txBody>
                    <a:bodyPr/>
                    <a:lstStyle/>
                    <a:p>
                      <a:pPr algn="l" fontAlgn="b"/>
                      <a:endParaRPr lang="en-CA" sz="1100" b="0" i="0" u="none" strike="noStrike">
                        <a:solidFill>
                          <a:srgbClr val="000000"/>
                        </a:solidFill>
                        <a:effectLst/>
                        <a:latin typeface="Arial" panose="020B0604020202020204" pitchFamily="34" charset="0"/>
                      </a:endParaRPr>
                    </a:p>
                  </a:txBody>
                  <a:tcPr marL="6350" marR="6350" marT="6350" marB="0" anchor="ctr"/>
                </a:tc>
                <a:tc>
                  <a:txBody>
                    <a:bodyPr/>
                    <a:lstStyle/>
                    <a:p>
                      <a:pPr algn="l" fontAlgn="b"/>
                      <a:endParaRPr lang="en-CA" sz="1100" b="0" i="0" u="none" strike="noStrike">
                        <a:solidFill>
                          <a:srgbClr val="000000"/>
                        </a:solidFill>
                        <a:effectLst/>
                        <a:latin typeface="Arial" panose="020B0604020202020204" pitchFamily="34" charset="0"/>
                      </a:endParaRPr>
                    </a:p>
                  </a:txBody>
                  <a:tcPr marL="6350" marR="6350" marT="6350" marB="0" anchor="ctr"/>
                </a:tc>
                <a:tc>
                  <a:txBody>
                    <a:bodyPr/>
                    <a:lstStyle/>
                    <a:p>
                      <a:pPr algn="l" fontAlgn="b"/>
                      <a:endParaRPr lang="en-CA" sz="11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b"/>
                      <a:r>
                        <a:rPr lang="en-CA" sz="1100" b="1" u="none" strike="noStrike">
                          <a:effectLst/>
                        </a:rPr>
                        <a:t>         1.7x </a:t>
                      </a:r>
                      <a:endParaRPr lang="en-CA" sz="1100" b="1" i="0" u="none" strike="noStrike">
                        <a:solidFill>
                          <a:srgbClr val="000000"/>
                        </a:solidFill>
                        <a:effectLst/>
                        <a:latin typeface="Arial" panose="020B0604020202020204" pitchFamily="34" charset="0"/>
                      </a:endParaRPr>
                    </a:p>
                  </a:txBody>
                  <a:tcPr marL="6350" marR="6350" marT="6350" marB="0" anchor="ctr"/>
                </a:tc>
                <a:tc>
                  <a:txBody>
                    <a:bodyPr/>
                    <a:lstStyle/>
                    <a:p>
                      <a:pPr algn="ctr" fontAlgn="b"/>
                      <a:r>
                        <a:rPr lang="en-CA" sz="1100" b="1" u="none" strike="noStrike">
                          <a:effectLst/>
                        </a:rPr>
                        <a:t>            9.9x </a:t>
                      </a:r>
                      <a:endParaRPr lang="en-CA" sz="1100" b="1"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206665492"/>
                  </a:ext>
                </a:extLst>
              </a:tr>
              <a:tr h="290807">
                <a:tc>
                  <a:txBody>
                    <a:bodyPr/>
                    <a:lstStyle/>
                    <a:p>
                      <a:pPr algn="l" fontAlgn="b"/>
                      <a:r>
                        <a:rPr lang="en-CA" sz="1100" u="none" strike="noStrike">
                          <a:effectLst/>
                        </a:rPr>
                        <a:t>Average</a:t>
                      </a:r>
                      <a:endParaRPr lang="en-CA" sz="1100" b="1" i="0" u="none" strike="noStrike">
                        <a:solidFill>
                          <a:srgbClr val="FFFFFF"/>
                        </a:solidFill>
                        <a:effectLst/>
                        <a:latin typeface="Arial" panose="020B0604020202020204" pitchFamily="34" charset="0"/>
                      </a:endParaRPr>
                    </a:p>
                  </a:txBody>
                  <a:tcPr marL="6350" marR="6350" marT="6350" marB="0" anchor="ctr"/>
                </a:tc>
                <a:tc>
                  <a:txBody>
                    <a:bodyPr/>
                    <a:lstStyle/>
                    <a:p>
                      <a:pPr algn="l" fontAlgn="b"/>
                      <a:endParaRPr lang="en-CA" sz="1100" b="0" i="0" u="none" strike="noStrike">
                        <a:solidFill>
                          <a:srgbClr val="000000"/>
                        </a:solidFill>
                        <a:effectLst/>
                        <a:latin typeface="Arial" panose="020B0604020202020204" pitchFamily="34" charset="0"/>
                      </a:endParaRPr>
                    </a:p>
                  </a:txBody>
                  <a:tcPr marL="6350" marR="6350" marT="6350" marB="0" anchor="ctr"/>
                </a:tc>
                <a:tc>
                  <a:txBody>
                    <a:bodyPr/>
                    <a:lstStyle/>
                    <a:p>
                      <a:pPr algn="l" fontAlgn="b"/>
                      <a:endParaRPr lang="en-CA" sz="1100" b="0" i="0" u="none" strike="noStrike">
                        <a:solidFill>
                          <a:srgbClr val="000000"/>
                        </a:solidFill>
                        <a:effectLst/>
                        <a:latin typeface="Arial" panose="020B0604020202020204" pitchFamily="34" charset="0"/>
                      </a:endParaRPr>
                    </a:p>
                  </a:txBody>
                  <a:tcPr marL="6350" marR="6350" marT="6350" marB="0" anchor="ctr"/>
                </a:tc>
                <a:tc>
                  <a:txBody>
                    <a:bodyPr/>
                    <a:lstStyle/>
                    <a:p>
                      <a:pPr algn="l" fontAlgn="b"/>
                      <a:endParaRPr lang="en-CA" sz="11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b"/>
                      <a:r>
                        <a:rPr lang="en-CA" sz="1100" b="1" u="none" strike="noStrike">
                          <a:effectLst/>
                        </a:rPr>
                        <a:t>         2.6x </a:t>
                      </a:r>
                      <a:endParaRPr lang="en-CA" sz="1100" b="1" i="0" u="none" strike="noStrike">
                        <a:solidFill>
                          <a:srgbClr val="000000"/>
                        </a:solidFill>
                        <a:effectLst/>
                        <a:latin typeface="Arial" panose="020B0604020202020204" pitchFamily="34" charset="0"/>
                      </a:endParaRPr>
                    </a:p>
                  </a:txBody>
                  <a:tcPr marL="6350" marR="6350" marT="6350" marB="0" anchor="ctr"/>
                </a:tc>
                <a:tc>
                  <a:txBody>
                    <a:bodyPr/>
                    <a:lstStyle/>
                    <a:p>
                      <a:pPr algn="ctr" fontAlgn="b"/>
                      <a:r>
                        <a:rPr lang="en-CA" sz="1100" b="1" u="none" strike="noStrike">
                          <a:effectLst/>
                        </a:rPr>
                        <a:t>           19.9x </a:t>
                      </a:r>
                      <a:endParaRPr lang="en-CA" sz="1100" b="1"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937225845"/>
                  </a:ext>
                </a:extLst>
              </a:tr>
            </a:tbl>
          </a:graphicData>
        </a:graphic>
      </p:graphicFrame>
    </p:spTree>
    <p:extLst>
      <p:ext uri="{BB962C8B-B14F-4D97-AF65-F5344CB8AC3E}">
        <p14:creationId xmlns:p14="http://schemas.microsoft.com/office/powerpoint/2010/main" val="308984379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65A8AD8-E45C-9190-53D5-EA5DAC798B0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AD99236-F704-82C0-5798-94F14D4625CD}"/>
              </a:ext>
            </a:extLst>
          </p:cNvPr>
          <p:cNvSpPr>
            <a:spLocks noGrp="1"/>
          </p:cNvSpPr>
          <p:nvPr>
            <p:ph type="body" sz="quarter" idx="21"/>
          </p:nvPr>
        </p:nvSpPr>
        <p:spPr>
          <a:xfrm>
            <a:off x="250825" y="628078"/>
            <a:ext cx="8642350" cy="242282"/>
          </a:xfrm>
        </p:spPr>
        <p:txBody>
          <a:bodyPr>
            <a:noAutofit/>
          </a:bodyPr>
          <a:lstStyle/>
          <a:p>
            <a:r>
              <a:rPr lang="en-CA"/>
              <a:t>Important Precedent Transactions Ratios</a:t>
            </a:r>
          </a:p>
        </p:txBody>
      </p:sp>
      <p:sp>
        <p:nvSpPr>
          <p:cNvPr id="4" name="Title 3">
            <a:extLst>
              <a:ext uri="{FF2B5EF4-FFF2-40B4-BE49-F238E27FC236}">
                <a16:creationId xmlns:a16="http://schemas.microsoft.com/office/drawing/2014/main" id="{BECF364C-603E-BA3E-D452-9836DE8D69F9}"/>
              </a:ext>
            </a:extLst>
          </p:cNvPr>
          <p:cNvSpPr>
            <a:spLocks noGrp="1"/>
          </p:cNvSpPr>
          <p:nvPr>
            <p:ph type="title"/>
          </p:nvPr>
        </p:nvSpPr>
        <p:spPr/>
        <p:txBody>
          <a:bodyPr/>
          <a:lstStyle/>
          <a:p>
            <a:r>
              <a:rPr lang="en-CA"/>
              <a:t>Precedent Transactions</a:t>
            </a:r>
          </a:p>
        </p:txBody>
      </p:sp>
      <p:sp>
        <p:nvSpPr>
          <p:cNvPr id="5" name="Text Placeholder 4">
            <a:extLst>
              <a:ext uri="{FF2B5EF4-FFF2-40B4-BE49-F238E27FC236}">
                <a16:creationId xmlns:a16="http://schemas.microsoft.com/office/drawing/2014/main" id="{975DC9BB-41C9-5CAF-0399-922BCFA63AA4}"/>
              </a:ext>
            </a:extLst>
          </p:cNvPr>
          <p:cNvSpPr>
            <a:spLocks noGrp="1"/>
          </p:cNvSpPr>
          <p:nvPr>
            <p:ph type="body" sz="quarter" idx="13"/>
          </p:nvPr>
        </p:nvSpPr>
        <p:spPr/>
        <p:txBody>
          <a:bodyPr/>
          <a:lstStyle/>
          <a:p>
            <a:r>
              <a:rPr lang="en-CA"/>
              <a:t>Source(s): Pitchbook, Capital IQ</a:t>
            </a:r>
          </a:p>
          <a:p>
            <a:endParaRPr lang="en-CA"/>
          </a:p>
        </p:txBody>
      </p:sp>
      <p:sp>
        <p:nvSpPr>
          <p:cNvPr id="91" name="TextBox 90">
            <a:extLst>
              <a:ext uri="{FF2B5EF4-FFF2-40B4-BE49-F238E27FC236}">
                <a16:creationId xmlns:a16="http://schemas.microsoft.com/office/drawing/2014/main" id="{4458A4B2-E013-FF3C-2D75-8B13F3F6D899}"/>
              </a:ext>
            </a:extLst>
          </p:cNvPr>
          <p:cNvSpPr txBox="1"/>
          <p:nvPr/>
        </p:nvSpPr>
        <p:spPr>
          <a:xfrm>
            <a:off x="1087240" y="5697199"/>
            <a:ext cx="6969519" cy="461665"/>
          </a:xfrm>
          <a:prstGeom prst="rect">
            <a:avLst/>
          </a:prstGeom>
          <a:noFill/>
          <a:ln>
            <a:solidFill>
              <a:srgbClr val="FF0000"/>
            </a:solidFill>
            <a:prstDash val="lgDash"/>
          </a:ln>
        </p:spPr>
        <p:txBody>
          <a:bodyPr wrap="square" rtlCol="0">
            <a:spAutoFit/>
          </a:bodyPr>
          <a:lstStyle/>
          <a:p>
            <a:pPr algn="ctr"/>
            <a:r>
              <a:rPr lang="en-US" sz="1200" b="1">
                <a:solidFill>
                  <a:schemeClr val="accent2"/>
                </a:solidFill>
                <a:latin typeface="+mj-lt"/>
              </a:rPr>
              <a:t>We prioritized EV/Revenue over EV/EBITDA to better capture enterprise value due to </a:t>
            </a:r>
            <a:r>
              <a:rPr lang="en-US" sz="1200" b="1" err="1">
                <a:solidFill>
                  <a:schemeClr val="accent2"/>
                </a:solidFill>
                <a:latin typeface="+mj-lt"/>
              </a:rPr>
              <a:t>AppLovin</a:t>
            </a:r>
            <a:r>
              <a:rPr lang="en-US" sz="1200" b="1">
                <a:solidFill>
                  <a:schemeClr val="accent2"/>
                </a:solidFill>
                <a:latin typeface="+mj-lt"/>
              </a:rPr>
              <a:t> being an earlier stage company and more consistent Revenue</a:t>
            </a:r>
            <a:endParaRPr lang="en-CA" sz="1200" b="1">
              <a:solidFill>
                <a:schemeClr val="accent2"/>
              </a:solidFill>
              <a:latin typeface="+mj-lt"/>
            </a:endParaRPr>
          </a:p>
        </p:txBody>
      </p:sp>
      <p:sp>
        <p:nvSpPr>
          <p:cNvPr id="3" name="TextBox 2">
            <a:extLst>
              <a:ext uri="{FF2B5EF4-FFF2-40B4-BE49-F238E27FC236}">
                <a16:creationId xmlns:a16="http://schemas.microsoft.com/office/drawing/2014/main" id="{96B7761B-8C4C-007B-6B1C-E2BC558412C4}"/>
              </a:ext>
            </a:extLst>
          </p:cNvPr>
          <p:cNvSpPr txBox="1"/>
          <p:nvPr/>
        </p:nvSpPr>
        <p:spPr>
          <a:xfrm>
            <a:off x="1962193" y="2781250"/>
            <a:ext cx="1415772" cy="369332"/>
          </a:xfrm>
          <a:prstGeom prst="rect">
            <a:avLst/>
          </a:prstGeom>
          <a:noFill/>
        </p:spPr>
        <p:txBody>
          <a:bodyPr wrap="none" rtlCol="0">
            <a:spAutoFit/>
          </a:bodyPr>
          <a:lstStyle/>
          <a:p>
            <a:pPr algn="ctr"/>
            <a:r>
              <a:rPr lang="en-CA" b="1">
                <a:solidFill>
                  <a:schemeClr val="tx2"/>
                </a:solidFill>
              </a:rPr>
              <a:t>EV/EBITDA</a:t>
            </a:r>
          </a:p>
        </p:txBody>
      </p:sp>
      <p:sp>
        <p:nvSpPr>
          <p:cNvPr id="6" name="TextBox 5">
            <a:extLst>
              <a:ext uri="{FF2B5EF4-FFF2-40B4-BE49-F238E27FC236}">
                <a16:creationId xmlns:a16="http://schemas.microsoft.com/office/drawing/2014/main" id="{6B5072D0-C39A-29E5-7B0A-65EB99FD1C6F}"/>
              </a:ext>
            </a:extLst>
          </p:cNvPr>
          <p:cNvSpPr txBox="1"/>
          <p:nvPr/>
        </p:nvSpPr>
        <p:spPr>
          <a:xfrm>
            <a:off x="5822939" y="2787336"/>
            <a:ext cx="1518364" cy="369332"/>
          </a:xfrm>
          <a:prstGeom prst="rect">
            <a:avLst/>
          </a:prstGeom>
          <a:noFill/>
        </p:spPr>
        <p:txBody>
          <a:bodyPr wrap="none" rtlCol="0">
            <a:spAutoFit/>
          </a:bodyPr>
          <a:lstStyle/>
          <a:p>
            <a:pPr algn="ctr"/>
            <a:r>
              <a:rPr lang="en-CA" b="1">
                <a:solidFill>
                  <a:schemeClr val="tx2"/>
                </a:solidFill>
              </a:rPr>
              <a:t>EV/Revenue</a:t>
            </a:r>
          </a:p>
        </p:txBody>
      </p:sp>
      <p:cxnSp>
        <p:nvCxnSpPr>
          <p:cNvPr id="9" name="Straight Connector 8">
            <a:extLst>
              <a:ext uri="{FF2B5EF4-FFF2-40B4-BE49-F238E27FC236}">
                <a16:creationId xmlns:a16="http://schemas.microsoft.com/office/drawing/2014/main" id="{F47502BF-57AC-9558-2547-1345C57994E2}"/>
              </a:ext>
            </a:extLst>
          </p:cNvPr>
          <p:cNvCxnSpPr>
            <a:cxnSpLocks/>
          </p:cNvCxnSpPr>
          <p:nvPr/>
        </p:nvCxnSpPr>
        <p:spPr>
          <a:xfrm>
            <a:off x="1676304" y="3143077"/>
            <a:ext cx="1987550" cy="0"/>
          </a:xfrm>
          <a:prstGeom prst="line">
            <a:avLst/>
          </a:prstGeom>
          <a:ln cmpd="sng"/>
        </p:spPr>
        <p:style>
          <a:lnRef idx="3">
            <a:schemeClr val="accent2"/>
          </a:lnRef>
          <a:fillRef idx="0">
            <a:schemeClr val="accent2"/>
          </a:fillRef>
          <a:effectRef idx="2">
            <a:schemeClr val="accent2"/>
          </a:effectRef>
          <a:fontRef idx="minor">
            <a:schemeClr val="tx1"/>
          </a:fontRef>
        </p:style>
      </p:cxnSp>
      <p:cxnSp>
        <p:nvCxnSpPr>
          <p:cNvPr id="10" name="Straight Connector 9">
            <a:extLst>
              <a:ext uri="{FF2B5EF4-FFF2-40B4-BE49-F238E27FC236}">
                <a16:creationId xmlns:a16="http://schemas.microsoft.com/office/drawing/2014/main" id="{7C80E626-DE5D-E1CC-6A05-A1F59D3FF07C}"/>
              </a:ext>
            </a:extLst>
          </p:cNvPr>
          <p:cNvCxnSpPr>
            <a:cxnSpLocks/>
          </p:cNvCxnSpPr>
          <p:nvPr/>
        </p:nvCxnSpPr>
        <p:spPr>
          <a:xfrm>
            <a:off x="5588346" y="3143077"/>
            <a:ext cx="1987550" cy="0"/>
          </a:xfrm>
          <a:prstGeom prst="line">
            <a:avLst/>
          </a:prstGeom>
        </p:spPr>
        <p:style>
          <a:lnRef idx="3">
            <a:schemeClr val="accent2"/>
          </a:lnRef>
          <a:fillRef idx="0">
            <a:schemeClr val="accent2"/>
          </a:fillRef>
          <a:effectRef idx="2">
            <a:schemeClr val="accent2"/>
          </a:effectRef>
          <a:fontRef idx="minor">
            <a:schemeClr val="tx1"/>
          </a:fontRef>
        </p:style>
      </p:cxnSp>
      <p:sp>
        <p:nvSpPr>
          <p:cNvPr id="14" name="TextBox 13">
            <a:extLst>
              <a:ext uri="{FF2B5EF4-FFF2-40B4-BE49-F238E27FC236}">
                <a16:creationId xmlns:a16="http://schemas.microsoft.com/office/drawing/2014/main" id="{113A16DF-FE64-E3DE-8A7A-0B7AF6750235}"/>
              </a:ext>
            </a:extLst>
          </p:cNvPr>
          <p:cNvSpPr txBox="1"/>
          <p:nvPr/>
        </p:nvSpPr>
        <p:spPr>
          <a:xfrm>
            <a:off x="2071573" y="3212953"/>
            <a:ext cx="1208985" cy="584775"/>
          </a:xfrm>
          <a:prstGeom prst="rect">
            <a:avLst/>
          </a:prstGeom>
          <a:noFill/>
        </p:spPr>
        <p:txBody>
          <a:bodyPr wrap="none" rtlCol="0">
            <a:spAutoFit/>
          </a:bodyPr>
          <a:lstStyle/>
          <a:p>
            <a:r>
              <a:rPr lang="en-CA" sz="3200" b="1">
                <a:solidFill>
                  <a:srgbClr val="008864"/>
                </a:solidFill>
              </a:rPr>
              <a:t>16.1x</a:t>
            </a:r>
          </a:p>
        </p:txBody>
      </p:sp>
      <p:sp>
        <p:nvSpPr>
          <p:cNvPr id="17" name="TextBox 16">
            <a:extLst>
              <a:ext uri="{FF2B5EF4-FFF2-40B4-BE49-F238E27FC236}">
                <a16:creationId xmlns:a16="http://schemas.microsoft.com/office/drawing/2014/main" id="{713135DF-0511-AC4B-125C-3D396C2512CE}"/>
              </a:ext>
            </a:extLst>
          </p:cNvPr>
          <p:cNvSpPr txBox="1"/>
          <p:nvPr/>
        </p:nvSpPr>
        <p:spPr>
          <a:xfrm>
            <a:off x="6172128" y="3208311"/>
            <a:ext cx="981359" cy="584775"/>
          </a:xfrm>
          <a:prstGeom prst="rect">
            <a:avLst/>
          </a:prstGeom>
          <a:noFill/>
        </p:spPr>
        <p:txBody>
          <a:bodyPr wrap="none" rtlCol="0">
            <a:spAutoFit/>
          </a:bodyPr>
          <a:lstStyle/>
          <a:p>
            <a:r>
              <a:rPr lang="en-CA" sz="3200" b="1">
                <a:solidFill>
                  <a:srgbClr val="008864"/>
                </a:solidFill>
              </a:rPr>
              <a:t>2.8x</a:t>
            </a:r>
          </a:p>
        </p:txBody>
      </p:sp>
      <p:sp>
        <p:nvSpPr>
          <p:cNvPr id="18" name="TextBox 17">
            <a:extLst>
              <a:ext uri="{FF2B5EF4-FFF2-40B4-BE49-F238E27FC236}">
                <a16:creationId xmlns:a16="http://schemas.microsoft.com/office/drawing/2014/main" id="{AF97B864-4180-98ED-498A-66FB2912D6D9}"/>
              </a:ext>
            </a:extLst>
          </p:cNvPr>
          <p:cNvSpPr txBox="1"/>
          <p:nvPr/>
        </p:nvSpPr>
        <p:spPr>
          <a:xfrm>
            <a:off x="1750459" y="3807484"/>
            <a:ext cx="1851212" cy="307777"/>
          </a:xfrm>
          <a:prstGeom prst="rect">
            <a:avLst/>
          </a:prstGeom>
          <a:noFill/>
        </p:spPr>
        <p:txBody>
          <a:bodyPr wrap="none" rtlCol="0">
            <a:spAutoFit/>
          </a:bodyPr>
          <a:lstStyle/>
          <a:p>
            <a:r>
              <a:rPr lang="en-CA" sz="1400" i="1">
                <a:solidFill>
                  <a:schemeClr val="tx2"/>
                </a:solidFill>
              </a:rPr>
              <a:t>(30% Weight In PTA)</a:t>
            </a:r>
          </a:p>
        </p:txBody>
      </p:sp>
      <p:sp>
        <p:nvSpPr>
          <p:cNvPr id="20" name="TextBox 19">
            <a:extLst>
              <a:ext uri="{FF2B5EF4-FFF2-40B4-BE49-F238E27FC236}">
                <a16:creationId xmlns:a16="http://schemas.microsoft.com/office/drawing/2014/main" id="{FD7DD08E-0EBB-2BBF-3576-6AD7CB87E369}"/>
              </a:ext>
            </a:extLst>
          </p:cNvPr>
          <p:cNvSpPr txBox="1"/>
          <p:nvPr/>
        </p:nvSpPr>
        <p:spPr>
          <a:xfrm>
            <a:off x="5737201" y="3807485"/>
            <a:ext cx="1851212" cy="307777"/>
          </a:xfrm>
          <a:prstGeom prst="rect">
            <a:avLst/>
          </a:prstGeom>
          <a:noFill/>
        </p:spPr>
        <p:txBody>
          <a:bodyPr wrap="none" rtlCol="0">
            <a:spAutoFit/>
          </a:bodyPr>
          <a:lstStyle/>
          <a:p>
            <a:r>
              <a:rPr lang="en-CA" sz="1400" i="1">
                <a:solidFill>
                  <a:schemeClr val="tx2"/>
                </a:solidFill>
              </a:rPr>
              <a:t>(70% Weight In PTA)</a:t>
            </a:r>
          </a:p>
        </p:txBody>
      </p:sp>
    </p:spTree>
    <p:extLst>
      <p:ext uri="{BB962C8B-B14F-4D97-AF65-F5344CB8AC3E}">
        <p14:creationId xmlns:p14="http://schemas.microsoft.com/office/powerpoint/2010/main" val="422367765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AECB0ED-0449-D0C1-2855-02381305F803}"/>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11EF9617-19EE-89BD-8A50-D5EA7FDFB4A2}"/>
              </a:ext>
            </a:extLst>
          </p:cNvPr>
          <p:cNvSpPr/>
          <p:nvPr/>
        </p:nvSpPr>
        <p:spPr>
          <a:xfrm>
            <a:off x="7076055" y="1580814"/>
            <a:ext cx="1822852" cy="3510035"/>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 name="Text Placeholder 1">
            <a:extLst>
              <a:ext uri="{FF2B5EF4-FFF2-40B4-BE49-F238E27FC236}">
                <a16:creationId xmlns:a16="http://schemas.microsoft.com/office/drawing/2014/main" id="{F7921A95-D524-3558-CFFA-FBCE3E8C1C88}"/>
              </a:ext>
            </a:extLst>
          </p:cNvPr>
          <p:cNvSpPr>
            <a:spLocks noGrp="1"/>
          </p:cNvSpPr>
          <p:nvPr>
            <p:ph type="body" sz="quarter" idx="21"/>
          </p:nvPr>
        </p:nvSpPr>
        <p:spPr>
          <a:xfrm>
            <a:off x="250825" y="628078"/>
            <a:ext cx="8642350" cy="242282"/>
          </a:xfrm>
        </p:spPr>
        <p:txBody>
          <a:bodyPr>
            <a:noAutofit/>
          </a:bodyPr>
          <a:lstStyle/>
          <a:p>
            <a:r>
              <a:rPr lang="en-CA"/>
              <a:t>Summary: Precedent Transactions And Final Enterprise Value From PTA </a:t>
            </a:r>
          </a:p>
        </p:txBody>
      </p:sp>
      <p:sp>
        <p:nvSpPr>
          <p:cNvPr id="4" name="Title 3">
            <a:extLst>
              <a:ext uri="{FF2B5EF4-FFF2-40B4-BE49-F238E27FC236}">
                <a16:creationId xmlns:a16="http://schemas.microsoft.com/office/drawing/2014/main" id="{267B137E-3079-E595-A9EF-83D85A6F5C9B}"/>
              </a:ext>
            </a:extLst>
          </p:cNvPr>
          <p:cNvSpPr>
            <a:spLocks noGrp="1"/>
          </p:cNvSpPr>
          <p:nvPr>
            <p:ph type="title"/>
          </p:nvPr>
        </p:nvSpPr>
        <p:spPr/>
        <p:txBody>
          <a:bodyPr/>
          <a:lstStyle/>
          <a:p>
            <a:r>
              <a:rPr lang="en-CA"/>
              <a:t>Precedent Transactions</a:t>
            </a:r>
          </a:p>
        </p:txBody>
      </p:sp>
      <p:sp>
        <p:nvSpPr>
          <p:cNvPr id="5" name="Text Placeholder 4">
            <a:extLst>
              <a:ext uri="{FF2B5EF4-FFF2-40B4-BE49-F238E27FC236}">
                <a16:creationId xmlns:a16="http://schemas.microsoft.com/office/drawing/2014/main" id="{34A175E6-390D-0B13-9EAA-C9CB16E0EE3F}"/>
              </a:ext>
            </a:extLst>
          </p:cNvPr>
          <p:cNvSpPr>
            <a:spLocks noGrp="1"/>
          </p:cNvSpPr>
          <p:nvPr>
            <p:ph type="body" sz="quarter" idx="13"/>
          </p:nvPr>
        </p:nvSpPr>
        <p:spPr/>
        <p:txBody>
          <a:bodyPr/>
          <a:lstStyle/>
          <a:p>
            <a:r>
              <a:rPr lang="en-CA"/>
              <a:t>Source(s): Pitchbook, Capital IQ</a:t>
            </a:r>
          </a:p>
          <a:p>
            <a:endParaRPr lang="en-CA"/>
          </a:p>
        </p:txBody>
      </p:sp>
      <p:sp>
        <p:nvSpPr>
          <p:cNvPr id="91" name="TextBox 90">
            <a:extLst>
              <a:ext uri="{FF2B5EF4-FFF2-40B4-BE49-F238E27FC236}">
                <a16:creationId xmlns:a16="http://schemas.microsoft.com/office/drawing/2014/main" id="{BD0A095F-6F35-F238-7F54-31625E60B9A1}"/>
              </a:ext>
            </a:extLst>
          </p:cNvPr>
          <p:cNvSpPr txBox="1"/>
          <p:nvPr/>
        </p:nvSpPr>
        <p:spPr>
          <a:xfrm>
            <a:off x="1087240" y="5663601"/>
            <a:ext cx="6969519" cy="523220"/>
          </a:xfrm>
          <a:prstGeom prst="rect">
            <a:avLst/>
          </a:prstGeom>
          <a:noFill/>
          <a:ln>
            <a:solidFill>
              <a:srgbClr val="FF0000"/>
            </a:solidFill>
            <a:prstDash val="lgDash"/>
          </a:ln>
        </p:spPr>
        <p:txBody>
          <a:bodyPr wrap="square" rtlCol="0">
            <a:spAutoFit/>
          </a:bodyPr>
          <a:lstStyle/>
          <a:p>
            <a:pPr algn="ctr"/>
            <a:r>
              <a:rPr lang="en-CA" sz="1400" b="1">
                <a:solidFill>
                  <a:schemeClr val="tx2"/>
                </a:solidFill>
              </a:rPr>
              <a:t>Total Implied Enterprise Value: </a:t>
            </a:r>
            <a:r>
              <a:rPr lang="en-CA" sz="1400" b="1">
                <a:solidFill>
                  <a:srgbClr val="008864"/>
                </a:solidFill>
              </a:rPr>
              <a:t>$20,460.41 M</a:t>
            </a:r>
          </a:p>
          <a:p>
            <a:pPr algn="ctr"/>
            <a:r>
              <a:rPr lang="en-CA" sz="1400" b="1">
                <a:solidFill>
                  <a:srgbClr val="008864"/>
                </a:solidFill>
              </a:rPr>
              <a:t>(Suggesting a downside of 80.93%, ~ $51.94 Implied Share Price)</a:t>
            </a:r>
          </a:p>
        </p:txBody>
      </p:sp>
      <p:graphicFrame>
        <p:nvGraphicFramePr>
          <p:cNvPr id="7" name="Chart 6">
            <a:extLst>
              <a:ext uri="{FF2B5EF4-FFF2-40B4-BE49-F238E27FC236}">
                <a16:creationId xmlns:a16="http://schemas.microsoft.com/office/drawing/2014/main" id="{2587AABF-A915-3B46-F4F9-12D01863F7C9}"/>
              </a:ext>
            </a:extLst>
          </p:cNvPr>
          <p:cNvGraphicFramePr>
            <a:graphicFrameLocks/>
          </p:cNvGraphicFramePr>
          <p:nvPr>
            <p:extLst>
              <p:ext uri="{D42A27DB-BD31-4B8C-83A1-F6EECF244321}">
                <p14:modId xmlns:p14="http://schemas.microsoft.com/office/powerpoint/2010/main" val="2686516904"/>
              </p:ext>
            </p:extLst>
          </p:nvPr>
        </p:nvGraphicFramePr>
        <p:xfrm>
          <a:off x="180829" y="2177984"/>
          <a:ext cx="3300954" cy="2715807"/>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8D627DC0-7D0D-6BE5-E8B9-B06F879CA10E}"/>
              </a:ext>
            </a:extLst>
          </p:cNvPr>
          <p:cNvSpPr txBox="1"/>
          <p:nvPr/>
        </p:nvSpPr>
        <p:spPr>
          <a:xfrm>
            <a:off x="3252393" y="3243501"/>
            <a:ext cx="458780" cy="584775"/>
          </a:xfrm>
          <a:prstGeom prst="rect">
            <a:avLst/>
          </a:prstGeom>
          <a:noFill/>
        </p:spPr>
        <p:txBody>
          <a:bodyPr wrap="none" rtlCol="0">
            <a:spAutoFit/>
          </a:bodyPr>
          <a:lstStyle/>
          <a:p>
            <a:r>
              <a:rPr lang="en-CA" sz="3200" b="1">
                <a:solidFill>
                  <a:srgbClr val="008864"/>
                </a:solidFill>
              </a:rPr>
              <a:t>X</a:t>
            </a:r>
          </a:p>
        </p:txBody>
      </p:sp>
      <p:graphicFrame>
        <p:nvGraphicFramePr>
          <p:cNvPr id="13" name="Chart 12">
            <a:extLst>
              <a:ext uri="{FF2B5EF4-FFF2-40B4-BE49-F238E27FC236}">
                <a16:creationId xmlns:a16="http://schemas.microsoft.com/office/drawing/2014/main" id="{FD331037-0CA5-4BC5-77D9-F7D86B7E2F11}"/>
              </a:ext>
            </a:extLst>
          </p:cNvPr>
          <p:cNvGraphicFramePr/>
          <p:nvPr>
            <p:extLst>
              <p:ext uri="{D42A27DB-BD31-4B8C-83A1-F6EECF244321}">
                <p14:modId xmlns:p14="http://schemas.microsoft.com/office/powerpoint/2010/main" val="895709949"/>
              </p:ext>
            </p:extLst>
          </p:nvPr>
        </p:nvGraphicFramePr>
        <p:xfrm>
          <a:off x="3481783" y="2193183"/>
          <a:ext cx="3268986" cy="2715807"/>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a:extLst>
              <a:ext uri="{FF2B5EF4-FFF2-40B4-BE49-F238E27FC236}">
                <a16:creationId xmlns:a16="http://schemas.microsoft.com/office/drawing/2014/main" id="{DE4EBD26-88C6-EB65-D6DA-E28DBE36E00B}"/>
              </a:ext>
            </a:extLst>
          </p:cNvPr>
          <p:cNvSpPr txBox="1"/>
          <p:nvPr/>
        </p:nvSpPr>
        <p:spPr>
          <a:xfrm>
            <a:off x="7075200" y="3335831"/>
            <a:ext cx="1824687" cy="400110"/>
          </a:xfrm>
          <a:prstGeom prst="rect">
            <a:avLst/>
          </a:prstGeom>
          <a:noFill/>
        </p:spPr>
        <p:txBody>
          <a:bodyPr wrap="square" lIns="91440" tIns="45720" rIns="91440" bIns="45720" rtlCol="0" anchor="t">
            <a:spAutoFit/>
          </a:bodyPr>
          <a:lstStyle/>
          <a:p>
            <a:r>
              <a:rPr lang="en-CA" sz="2000" b="1" i="0" u="none" strike="noStrike">
                <a:solidFill>
                  <a:srgbClr val="008864"/>
                </a:solidFill>
                <a:effectLst/>
                <a:latin typeface="Arial"/>
                <a:cs typeface="Arial"/>
              </a:rPr>
              <a:t> $</a:t>
            </a:r>
            <a:r>
              <a:rPr lang="en-CA" sz="2000" b="1">
                <a:solidFill>
                  <a:srgbClr val="008864"/>
                </a:solidFill>
                <a:latin typeface="Arial"/>
                <a:cs typeface="Arial"/>
              </a:rPr>
              <a:t> 20,460.41M</a:t>
            </a:r>
            <a:r>
              <a:rPr lang="en-CA" sz="2000" b="1" i="0" u="none" strike="noStrike">
                <a:solidFill>
                  <a:srgbClr val="008864"/>
                </a:solidFill>
                <a:effectLst/>
                <a:latin typeface="Arial"/>
                <a:cs typeface="Arial"/>
              </a:rPr>
              <a:t> </a:t>
            </a:r>
            <a:endParaRPr lang="en-CA" sz="2000" b="1">
              <a:solidFill>
                <a:srgbClr val="008864"/>
              </a:solidFill>
              <a:latin typeface="Arial"/>
              <a:cs typeface="Arial"/>
            </a:endParaRPr>
          </a:p>
        </p:txBody>
      </p:sp>
      <p:sp>
        <p:nvSpPr>
          <p:cNvPr id="23" name="Isosceles Triangle 10">
            <a:extLst>
              <a:ext uri="{FF2B5EF4-FFF2-40B4-BE49-F238E27FC236}">
                <a16:creationId xmlns:a16="http://schemas.microsoft.com/office/drawing/2014/main" id="{581C1AE2-AD86-1A9F-C4F5-0F19AEF7503A}"/>
              </a:ext>
            </a:extLst>
          </p:cNvPr>
          <p:cNvSpPr/>
          <p:nvPr/>
        </p:nvSpPr>
        <p:spPr>
          <a:xfrm rot="5400000">
            <a:off x="6386738" y="3368833"/>
            <a:ext cx="548229" cy="334107"/>
          </a:xfrm>
          <a:prstGeom prst="triangle">
            <a:avLst>
              <a:gd name="adj" fmla="val 49392"/>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TextBox 23">
            <a:extLst>
              <a:ext uri="{FF2B5EF4-FFF2-40B4-BE49-F238E27FC236}">
                <a16:creationId xmlns:a16="http://schemas.microsoft.com/office/drawing/2014/main" id="{574A6B23-2250-37CB-FB53-55882D89A536}"/>
              </a:ext>
            </a:extLst>
          </p:cNvPr>
          <p:cNvSpPr txBox="1"/>
          <p:nvPr/>
        </p:nvSpPr>
        <p:spPr>
          <a:xfrm>
            <a:off x="754145" y="1687598"/>
            <a:ext cx="1961947" cy="415498"/>
          </a:xfrm>
          <a:prstGeom prst="rect">
            <a:avLst/>
          </a:prstGeom>
          <a:noFill/>
        </p:spPr>
        <p:txBody>
          <a:bodyPr wrap="none" rtlCol="0">
            <a:spAutoFit/>
          </a:bodyPr>
          <a:lstStyle/>
          <a:p>
            <a:pPr algn="ctr"/>
            <a:r>
              <a:rPr lang="en-CA" sz="1200" b="1">
                <a:solidFill>
                  <a:schemeClr val="tx2"/>
                </a:solidFill>
              </a:rPr>
              <a:t>Precedent Transactions </a:t>
            </a:r>
          </a:p>
          <a:p>
            <a:pPr algn="ctr"/>
            <a:r>
              <a:rPr lang="en-CA" sz="900" b="1" i="1">
                <a:solidFill>
                  <a:schemeClr val="tx2"/>
                </a:solidFill>
              </a:rPr>
              <a:t>(Target Prices)</a:t>
            </a:r>
          </a:p>
        </p:txBody>
      </p:sp>
      <p:sp>
        <p:nvSpPr>
          <p:cNvPr id="25" name="TextBox 24">
            <a:extLst>
              <a:ext uri="{FF2B5EF4-FFF2-40B4-BE49-F238E27FC236}">
                <a16:creationId xmlns:a16="http://schemas.microsoft.com/office/drawing/2014/main" id="{A02CA7DE-1086-566B-7E65-104D9D1C67D3}"/>
              </a:ext>
            </a:extLst>
          </p:cNvPr>
          <p:cNvSpPr txBox="1"/>
          <p:nvPr/>
        </p:nvSpPr>
        <p:spPr>
          <a:xfrm>
            <a:off x="3836919" y="1687746"/>
            <a:ext cx="2558713" cy="415498"/>
          </a:xfrm>
          <a:prstGeom prst="rect">
            <a:avLst/>
          </a:prstGeom>
          <a:noFill/>
        </p:spPr>
        <p:txBody>
          <a:bodyPr wrap="none" rtlCol="0">
            <a:spAutoFit/>
          </a:bodyPr>
          <a:lstStyle/>
          <a:p>
            <a:pPr algn="ctr"/>
            <a:r>
              <a:rPr lang="en-CA" sz="1200" b="1">
                <a:solidFill>
                  <a:schemeClr val="tx2"/>
                </a:solidFill>
              </a:rPr>
              <a:t>Precedent Transactions Weights</a:t>
            </a:r>
          </a:p>
          <a:p>
            <a:pPr algn="ctr"/>
            <a:r>
              <a:rPr lang="en-CA" sz="900" b="1" i="1">
                <a:solidFill>
                  <a:schemeClr val="tx2"/>
                </a:solidFill>
              </a:rPr>
              <a:t>(As a Percentage)</a:t>
            </a:r>
          </a:p>
        </p:txBody>
      </p:sp>
      <p:sp>
        <p:nvSpPr>
          <p:cNvPr id="26" name="TextBox 25">
            <a:extLst>
              <a:ext uri="{FF2B5EF4-FFF2-40B4-BE49-F238E27FC236}">
                <a16:creationId xmlns:a16="http://schemas.microsoft.com/office/drawing/2014/main" id="{004BB359-B5E2-75E2-3241-BE15053902FE}"/>
              </a:ext>
            </a:extLst>
          </p:cNvPr>
          <p:cNvSpPr txBox="1"/>
          <p:nvPr/>
        </p:nvSpPr>
        <p:spPr>
          <a:xfrm>
            <a:off x="7084542" y="1687291"/>
            <a:ext cx="1824237" cy="600164"/>
          </a:xfrm>
          <a:prstGeom prst="rect">
            <a:avLst/>
          </a:prstGeom>
          <a:noFill/>
        </p:spPr>
        <p:txBody>
          <a:bodyPr wrap="square" rtlCol="0">
            <a:spAutoFit/>
          </a:bodyPr>
          <a:lstStyle/>
          <a:p>
            <a:pPr algn="ctr"/>
            <a:r>
              <a:rPr lang="en-CA" sz="1200" b="1">
                <a:solidFill>
                  <a:schemeClr val="tx2"/>
                </a:solidFill>
              </a:rPr>
              <a:t>Precedent Transactions </a:t>
            </a:r>
          </a:p>
          <a:p>
            <a:pPr algn="ctr"/>
            <a:r>
              <a:rPr lang="en-CA" sz="900" b="1" i="1">
                <a:solidFill>
                  <a:schemeClr val="tx2"/>
                </a:solidFill>
              </a:rPr>
              <a:t>(Final Consolidated EV)</a:t>
            </a:r>
          </a:p>
        </p:txBody>
      </p:sp>
    </p:spTree>
    <p:extLst>
      <p:ext uri="{BB962C8B-B14F-4D97-AF65-F5344CB8AC3E}">
        <p14:creationId xmlns:p14="http://schemas.microsoft.com/office/powerpoint/2010/main" val="22318011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01CC332E-6A23-402B-3FDF-B5E049F7B477}"/>
              </a:ext>
            </a:extLst>
          </p:cNvPr>
          <p:cNvSpPr/>
          <p:nvPr/>
        </p:nvSpPr>
        <p:spPr>
          <a:xfrm>
            <a:off x="0" y="4359173"/>
            <a:ext cx="9144000" cy="1550519"/>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8" name="Rectangle 27">
            <a:extLst>
              <a:ext uri="{FF2B5EF4-FFF2-40B4-BE49-F238E27FC236}">
                <a16:creationId xmlns:a16="http://schemas.microsoft.com/office/drawing/2014/main" id="{1D4CABE4-BB92-5060-5E3A-62BE879DB4C6}"/>
              </a:ext>
            </a:extLst>
          </p:cNvPr>
          <p:cNvSpPr/>
          <p:nvPr/>
        </p:nvSpPr>
        <p:spPr>
          <a:xfrm>
            <a:off x="0" y="2700706"/>
            <a:ext cx="9144000" cy="1550519"/>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7" name="Rectangle 26">
            <a:extLst>
              <a:ext uri="{FF2B5EF4-FFF2-40B4-BE49-F238E27FC236}">
                <a16:creationId xmlns:a16="http://schemas.microsoft.com/office/drawing/2014/main" id="{6D514475-9EED-6D07-F4BF-9BEFD182B83C}"/>
              </a:ext>
            </a:extLst>
          </p:cNvPr>
          <p:cNvSpPr/>
          <p:nvPr/>
        </p:nvSpPr>
        <p:spPr>
          <a:xfrm>
            <a:off x="0" y="1067644"/>
            <a:ext cx="9144000" cy="1550519"/>
          </a:xfrm>
          <a:prstGeom prst="rect">
            <a:avLst/>
          </a:prstGeom>
          <a:solidFill>
            <a:srgbClr val="FBF7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 name="Text Placeholder 1">
            <a:extLst>
              <a:ext uri="{FF2B5EF4-FFF2-40B4-BE49-F238E27FC236}">
                <a16:creationId xmlns:a16="http://schemas.microsoft.com/office/drawing/2014/main" id="{F1BFEAB8-2BA7-551C-D37A-2BBC822209EE}"/>
              </a:ext>
            </a:extLst>
          </p:cNvPr>
          <p:cNvSpPr>
            <a:spLocks noGrp="1"/>
          </p:cNvSpPr>
          <p:nvPr>
            <p:ph type="body" sz="quarter" idx="21"/>
          </p:nvPr>
        </p:nvSpPr>
        <p:spPr/>
        <p:txBody>
          <a:bodyPr/>
          <a:lstStyle/>
          <a:p>
            <a:r>
              <a:rPr lang="en-CA"/>
              <a:t>TFS Investment Group - TMTH Team</a:t>
            </a:r>
          </a:p>
        </p:txBody>
      </p:sp>
      <p:sp>
        <p:nvSpPr>
          <p:cNvPr id="4" name="Title 3">
            <a:extLst>
              <a:ext uri="{FF2B5EF4-FFF2-40B4-BE49-F238E27FC236}">
                <a16:creationId xmlns:a16="http://schemas.microsoft.com/office/drawing/2014/main" id="{98EAA6AC-B5F2-1FBB-8DAF-D3ACECD9C358}"/>
              </a:ext>
            </a:extLst>
          </p:cNvPr>
          <p:cNvSpPr>
            <a:spLocks noGrp="1"/>
          </p:cNvSpPr>
          <p:nvPr>
            <p:ph type="title"/>
          </p:nvPr>
        </p:nvSpPr>
        <p:spPr/>
        <p:txBody>
          <a:bodyPr/>
          <a:lstStyle/>
          <a:p>
            <a:r>
              <a:rPr lang="en-CA"/>
              <a:t>Contributors</a:t>
            </a:r>
          </a:p>
        </p:txBody>
      </p:sp>
      <p:sp>
        <p:nvSpPr>
          <p:cNvPr id="9" name="Rectangle 8">
            <a:extLst>
              <a:ext uri="{FF2B5EF4-FFF2-40B4-BE49-F238E27FC236}">
                <a16:creationId xmlns:a16="http://schemas.microsoft.com/office/drawing/2014/main" id="{90F2BFD6-1654-07B9-771F-B08688B3F1BD}"/>
              </a:ext>
            </a:extLst>
          </p:cNvPr>
          <p:cNvSpPr/>
          <p:nvPr/>
        </p:nvSpPr>
        <p:spPr>
          <a:xfrm>
            <a:off x="138594" y="2325936"/>
            <a:ext cx="1696241" cy="203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900" b="1">
                <a:solidFill>
                  <a:schemeClr val="tx2"/>
                </a:solidFill>
              </a:rPr>
              <a:t>Christian Gillam </a:t>
            </a:r>
          </a:p>
          <a:p>
            <a:pPr algn="ctr"/>
            <a:r>
              <a:rPr lang="en-CA" sz="900">
                <a:solidFill>
                  <a:schemeClr val="tx2"/>
                </a:solidFill>
              </a:rPr>
              <a:t>TMTH Junior Analyst</a:t>
            </a:r>
          </a:p>
        </p:txBody>
      </p:sp>
      <p:sp>
        <p:nvSpPr>
          <p:cNvPr id="10" name="Rectangle 9">
            <a:extLst>
              <a:ext uri="{FF2B5EF4-FFF2-40B4-BE49-F238E27FC236}">
                <a16:creationId xmlns:a16="http://schemas.microsoft.com/office/drawing/2014/main" id="{5890DF59-CA32-25C9-6EAA-54E45D76C496}"/>
              </a:ext>
            </a:extLst>
          </p:cNvPr>
          <p:cNvSpPr/>
          <p:nvPr/>
        </p:nvSpPr>
        <p:spPr>
          <a:xfrm>
            <a:off x="1972106" y="1151450"/>
            <a:ext cx="3216136" cy="2018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a:t>Experience</a:t>
            </a:r>
          </a:p>
        </p:txBody>
      </p:sp>
      <p:sp>
        <p:nvSpPr>
          <p:cNvPr id="11" name="Rectangle 10">
            <a:extLst>
              <a:ext uri="{FF2B5EF4-FFF2-40B4-BE49-F238E27FC236}">
                <a16:creationId xmlns:a16="http://schemas.microsoft.com/office/drawing/2014/main" id="{2E1DA717-81E7-C0A3-E391-5BC3BB30C45C}"/>
              </a:ext>
            </a:extLst>
          </p:cNvPr>
          <p:cNvSpPr/>
          <p:nvPr/>
        </p:nvSpPr>
        <p:spPr>
          <a:xfrm>
            <a:off x="5481934" y="1150148"/>
            <a:ext cx="3216136" cy="2018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a:t>Achievements</a:t>
            </a:r>
          </a:p>
        </p:txBody>
      </p:sp>
      <p:sp>
        <p:nvSpPr>
          <p:cNvPr id="12" name="Rectangle 11">
            <a:extLst>
              <a:ext uri="{FF2B5EF4-FFF2-40B4-BE49-F238E27FC236}">
                <a16:creationId xmlns:a16="http://schemas.microsoft.com/office/drawing/2014/main" id="{9FAC53CC-D6F9-EA6D-0207-3C970DC6DB35}"/>
              </a:ext>
            </a:extLst>
          </p:cNvPr>
          <p:cNvSpPr/>
          <p:nvPr/>
        </p:nvSpPr>
        <p:spPr>
          <a:xfrm>
            <a:off x="1972106" y="1414458"/>
            <a:ext cx="3216136"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46" indent="-171446">
              <a:buClr>
                <a:schemeClr val="accent1"/>
              </a:buClr>
              <a:buFont typeface="Wingdings" pitchFamily="2" charset="2"/>
              <a:buChar char="§"/>
            </a:pPr>
            <a:r>
              <a:rPr lang="en-CA" sz="900" b="1">
                <a:solidFill>
                  <a:schemeClr val="tx1"/>
                </a:solidFill>
              </a:rPr>
              <a:t>University of Ottawa</a:t>
            </a:r>
            <a:r>
              <a:rPr lang="en-CA" sz="900">
                <a:solidFill>
                  <a:schemeClr val="tx1"/>
                </a:solidFill>
              </a:rPr>
              <a:t>: Undergrad | Finance 2027</a:t>
            </a:r>
            <a:endParaRPr lang="en-CA" sz="900" b="1">
              <a:solidFill>
                <a:schemeClr val="tx1"/>
              </a:solidFill>
            </a:endParaRPr>
          </a:p>
          <a:p>
            <a:pPr marL="170815" indent="-170815">
              <a:buClr>
                <a:schemeClr val="accent1"/>
              </a:buClr>
              <a:buFont typeface="Wingdings" pitchFamily="2" charset="2"/>
              <a:buChar char="§"/>
            </a:pPr>
            <a:r>
              <a:rPr lang="en-US" sz="900" b="1">
                <a:solidFill>
                  <a:schemeClr val="tx1"/>
                </a:solidFill>
              </a:rPr>
              <a:t>Brookfield Corp: </a:t>
            </a:r>
            <a:r>
              <a:rPr lang="en-US" sz="900">
                <a:solidFill>
                  <a:schemeClr val="tx1"/>
                </a:solidFill>
              </a:rPr>
              <a:t>Consolidations Intern</a:t>
            </a:r>
            <a:endParaRPr lang="en-US" sz="900" b="1">
              <a:solidFill>
                <a:schemeClr val="tx1"/>
              </a:solidFill>
            </a:endParaRPr>
          </a:p>
          <a:p>
            <a:pPr marL="170815" indent="-170815">
              <a:buClr>
                <a:schemeClr val="accent1"/>
              </a:buClr>
              <a:buFont typeface="Wingdings" pitchFamily="2" charset="2"/>
              <a:buChar char="§"/>
            </a:pPr>
            <a:endParaRPr lang="en-CA" sz="900">
              <a:solidFill>
                <a:schemeClr val="tx1"/>
              </a:solidFill>
              <a:cs typeface="Arial"/>
            </a:endParaRPr>
          </a:p>
        </p:txBody>
      </p:sp>
      <p:sp>
        <p:nvSpPr>
          <p:cNvPr id="13" name="Rectangle 12">
            <a:extLst>
              <a:ext uri="{FF2B5EF4-FFF2-40B4-BE49-F238E27FC236}">
                <a16:creationId xmlns:a16="http://schemas.microsoft.com/office/drawing/2014/main" id="{C88C65A6-3DA9-F78E-53E4-AC025E64DD38}"/>
              </a:ext>
            </a:extLst>
          </p:cNvPr>
          <p:cNvSpPr/>
          <p:nvPr/>
        </p:nvSpPr>
        <p:spPr>
          <a:xfrm>
            <a:off x="5481934" y="1416368"/>
            <a:ext cx="3150734"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0815" indent="-170815">
              <a:buClr>
                <a:schemeClr val="accent1"/>
              </a:buClr>
              <a:buFont typeface="Wingdings" pitchFamily="2" charset="2"/>
              <a:buChar char="§"/>
            </a:pPr>
            <a:r>
              <a:rPr lang="en-US" sz="900">
                <a:solidFill>
                  <a:schemeClr val="tx1"/>
                </a:solidFill>
              </a:rPr>
              <a:t>TFSIG TMTH Junior Analyst</a:t>
            </a:r>
          </a:p>
          <a:p>
            <a:pPr marL="170815" indent="-170815">
              <a:buClr>
                <a:schemeClr val="accent1"/>
              </a:buClr>
              <a:buFont typeface="Wingdings" pitchFamily="2" charset="2"/>
              <a:buChar char="§"/>
            </a:pPr>
            <a:r>
              <a:rPr lang="en-US" sz="900">
                <a:solidFill>
                  <a:schemeClr val="tx1"/>
                </a:solidFill>
              </a:rPr>
              <a:t>Chief Analyst, Telfer Asset Management League</a:t>
            </a:r>
          </a:p>
          <a:p>
            <a:pPr marL="170815" indent="-170815">
              <a:buClr>
                <a:schemeClr val="accent1"/>
              </a:buClr>
              <a:buFont typeface="Wingdings" pitchFamily="2" charset="2"/>
              <a:buChar char="§"/>
            </a:pPr>
            <a:r>
              <a:rPr lang="en-US" sz="900">
                <a:solidFill>
                  <a:schemeClr val="tx1"/>
                </a:solidFill>
              </a:rPr>
              <a:t>VP Finance, Telfer Business Journal</a:t>
            </a:r>
          </a:p>
        </p:txBody>
      </p:sp>
      <p:sp>
        <p:nvSpPr>
          <p:cNvPr id="14" name="Rectangle 13">
            <a:extLst>
              <a:ext uri="{FF2B5EF4-FFF2-40B4-BE49-F238E27FC236}">
                <a16:creationId xmlns:a16="http://schemas.microsoft.com/office/drawing/2014/main" id="{036F7A20-8953-4844-1F89-F3B18ABC9674}"/>
              </a:ext>
            </a:extLst>
          </p:cNvPr>
          <p:cNvSpPr/>
          <p:nvPr/>
        </p:nvSpPr>
        <p:spPr>
          <a:xfrm>
            <a:off x="138594" y="3933123"/>
            <a:ext cx="1696241" cy="203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900" b="1">
                <a:solidFill>
                  <a:schemeClr val="tx2"/>
                </a:solidFill>
              </a:rPr>
              <a:t>Michael Penney </a:t>
            </a:r>
          </a:p>
          <a:p>
            <a:pPr algn="ctr"/>
            <a:r>
              <a:rPr lang="en-CA" sz="900">
                <a:solidFill>
                  <a:schemeClr val="tx2"/>
                </a:solidFill>
              </a:rPr>
              <a:t>TMTH Junior Analyst</a:t>
            </a:r>
          </a:p>
        </p:txBody>
      </p:sp>
      <p:sp>
        <p:nvSpPr>
          <p:cNvPr id="15" name="Rectangle 14">
            <a:extLst>
              <a:ext uri="{FF2B5EF4-FFF2-40B4-BE49-F238E27FC236}">
                <a16:creationId xmlns:a16="http://schemas.microsoft.com/office/drawing/2014/main" id="{67E45848-15C9-9274-D5B8-C2AD2BC7A6F8}"/>
              </a:ext>
            </a:extLst>
          </p:cNvPr>
          <p:cNvSpPr/>
          <p:nvPr/>
        </p:nvSpPr>
        <p:spPr>
          <a:xfrm>
            <a:off x="1972106" y="2758637"/>
            <a:ext cx="3216136" cy="2018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a:t>Experience</a:t>
            </a:r>
          </a:p>
        </p:txBody>
      </p:sp>
      <p:sp>
        <p:nvSpPr>
          <p:cNvPr id="16" name="Rectangle 15">
            <a:extLst>
              <a:ext uri="{FF2B5EF4-FFF2-40B4-BE49-F238E27FC236}">
                <a16:creationId xmlns:a16="http://schemas.microsoft.com/office/drawing/2014/main" id="{A03531E4-05A9-581C-628A-BEB29D2B49BC}"/>
              </a:ext>
            </a:extLst>
          </p:cNvPr>
          <p:cNvSpPr/>
          <p:nvPr/>
        </p:nvSpPr>
        <p:spPr>
          <a:xfrm>
            <a:off x="5481934" y="2757335"/>
            <a:ext cx="3216136" cy="2018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a:t>Achievements</a:t>
            </a:r>
          </a:p>
        </p:txBody>
      </p:sp>
      <p:sp>
        <p:nvSpPr>
          <p:cNvPr id="17" name="Rectangle 16">
            <a:extLst>
              <a:ext uri="{FF2B5EF4-FFF2-40B4-BE49-F238E27FC236}">
                <a16:creationId xmlns:a16="http://schemas.microsoft.com/office/drawing/2014/main" id="{FAA12DDD-6273-3CD9-98DB-78F9950DE3D6}"/>
              </a:ext>
            </a:extLst>
          </p:cNvPr>
          <p:cNvSpPr/>
          <p:nvPr/>
        </p:nvSpPr>
        <p:spPr>
          <a:xfrm>
            <a:off x="1972106" y="3021645"/>
            <a:ext cx="3216136"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46" indent="-171446">
              <a:buClr>
                <a:schemeClr val="accent1"/>
              </a:buClr>
              <a:buFont typeface="Wingdings" pitchFamily="2" charset="2"/>
              <a:buChar char="§"/>
            </a:pPr>
            <a:r>
              <a:rPr lang="en-CA" sz="900" b="1">
                <a:solidFill>
                  <a:schemeClr val="tx1"/>
                </a:solidFill>
              </a:rPr>
              <a:t>University of Ottawa </a:t>
            </a:r>
            <a:r>
              <a:rPr lang="en-CA" sz="900">
                <a:solidFill>
                  <a:schemeClr val="tx1"/>
                </a:solidFill>
              </a:rPr>
              <a:t>: Undergrad | Finance 2026</a:t>
            </a:r>
          </a:p>
          <a:p>
            <a:pPr marL="171446" indent="-171446">
              <a:buClr>
                <a:schemeClr val="accent1"/>
              </a:buClr>
              <a:buFont typeface="Wingdings" pitchFamily="2" charset="2"/>
              <a:buChar char="§"/>
            </a:pPr>
            <a:r>
              <a:rPr lang="en-CA" sz="900" b="1">
                <a:solidFill>
                  <a:schemeClr val="tx1"/>
                </a:solidFill>
              </a:rPr>
              <a:t>Martinrea International Inc.: </a:t>
            </a:r>
            <a:r>
              <a:rPr lang="en-CA" sz="900">
                <a:solidFill>
                  <a:schemeClr val="tx1"/>
                </a:solidFill>
              </a:rPr>
              <a:t>Financial Analyst Intern</a:t>
            </a:r>
            <a:endParaRPr lang="en-CA" sz="900" b="1">
              <a:solidFill>
                <a:schemeClr val="tx1"/>
              </a:solidFill>
            </a:endParaRPr>
          </a:p>
          <a:p>
            <a:pPr marL="171446" indent="-171446">
              <a:buClr>
                <a:schemeClr val="accent1"/>
              </a:buClr>
              <a:buFont typeface="Wingdings" pitchFamily="2" charset="2"/>
              <a:buChar char="§"/>
            </a:pPr>
            <a:endParaRPr lang="en-CA" sz="900" b="1">
              <a:solidFill>
                <a:schemeClr val="tx1"/>
              </a:solidFill>
            </a:endParaRPr>
          </a:p>
        </p:txBody>
      </p:sp>
      <p:sp>
        <p:nvSpPr>
          <p:cNvPr id="18" name="Rectangle 17">
            <a:extLst>
              <a:ext uri="{FF2B5EF4-FFF2-40B4-BE49-F238E27FC236}">
                <a16:creationId xmlns:a16="http://schemas.microsoft.com/office/drawing/2014/main" id="{86B52D74-DCB0-0526-9EF3-D0D02854370D}"/>
              </a:ext>
            </a:extLst>
          </p:cNvPr>
          <p:cNvSpPr/>
          <p:nvPr/>
        </p:nvSpPr>
        <p:spPr>
          <a:xfrm>
            <a:off x="5481934" y="3023555"/>
            <a:ext cx="3150734"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46" indent="-171446">
              <a:buClr>
                <a:schemeClr val="accent1"/>
              </a:buClr>
              <a:buFont typeface="Wingdings" pitchFamily="2" charset="2"/>
              <a:buChar char="§"/>
            </a:pPr>
            <a:r>
              <a:rPr lang="en-CA" sz="900">
                <a:solidFill>
                  <a:schemeClr val="tx1"/>
                </a:solidFill>
              </a:rPr>
              <a:t>TFSIG </a:t>
            </a:r>
            <a:r>
              <a:rPr lang="en-US" sz="900">
                <a:solidFill>
                  <a:schemeClr val="tx1"/>
                </a:solidFill>
              </a:rPr>
              <a:t>TMTH Junior Analyst</a:t>
            </a:r>
            <a:endParaRPr lang="en-CA" sz="900">
              <a:solidFill>
                <a:schemeClr val="tx1"/>
              </a:solidFill>
            </a:endParaRPr>
          </a:p>
          <a:p>
            <a:pPr marL="170815" indent="-170815">
              <a:buClr>
                <a:schemeClr val="accent1"/>
              </a:buClr>
              <a:buFont typeface="Wingdings" pitchFamily="2" charset="2"/>
              <a:buChar char="§"/>
            </a:pPr>
            <a:r>
              <a:rPr lang="en-CA" sz="900">
                <a:solidFill>
                  <a:schemeClr val="tx1"/>
                </a:solidFill>
                <a:cs typeface="Arial" panose="020B0604020202020204"/>
              </a:rPr>
              <a:t>VP Club Development, Telfer Finance Society</a:t>
            </a:r>
          </a:p>
        </p:txBody>
      </p:sp>
      <p:sp>
        <p:nvSpPr>
          <p:cNvPr id="19" name="Rectangle 18">
            <a:extLst>
              <a:ext uri="{FF2B5EF4-FFF2-40B4-BE49-F238E27FC236}">
                <a16:creationId xmlns:a16="http://schemas.microsoft.com/office/drawing/2014/main" id="{6A786C0F-6476-0537-946F-B79874A079FB}"/>
              </a:ext>
            </a:extLst>
          </p:cNvPr>
          <p:cNvSpPr/>
          <p:nvPr/>
        </p:nvSpPr>
        <p:spPr>
          <a:xfrm>
            <a:off x="138594" y="5613119"/>
            <a:ext cx="1696241" cy="203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900" b="1">
                <a:solidFill>
                  <a:schemeClr val="tx2"/>
                </a:solidFill>
              </a:rPr>
              <a:t>Armaan Kumar</a:t>
            </a:r>
          </a:p>
          <a:p>
            <a:pPr algn="ctr"/>
            <a:r>
              <a:rPr lang="en-CA" sz="900">
                <a:solidFill>
                  <a:schemeClr val="tx2"/>
                </a:solidFill>
              </a:rPr>
              <a:t>TMTH First Year Analyst</a:t>
            </a:r>
          </a:p>
        </p:txBody>
      </p:sp>
      <p:sp>
        <p:nvSpPr>
          <p:cNvPr id="20" name="Rectangle 19">
            <a:extLst>
              <a:ext uri="{FF2B5EF4-FFF2-40B4-BE49-F238E27FC236}">
                <a16:creationId xmlns:a16="http://schemas.microsoft.com/office/drawing/2014/main" id="{E599FE9E-F08E-0AEF-5D17-CF8ED4B3D110}"/>
              </a:ext>
            </a:extLst>
          </p:cNvPr>
          <p:cNvSpPr/>
          <p:nvPr/>
        </p:nvSpPr>
        <p:spPr>
          <a:xfrm>
            <a:off x="1972106" y="4438633"/>
            <a:ext cx="3216136" cy="2018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a:t>Experience</a:t>
            </a:r>
          </a:p>
        </p:txBody>
      </p:sp>
      <p:sp>
        <p:nvSpPr>
          <p:cNvPr id="21" name="Rectangle 20">
            <a:extLst>
              <a:ext uri="{FF2B5EF4-FFF2-40B4-BE49-F238E27FC236}">
                <a16:creationId xmlns:a16="http://schemas.microsoft.com/office/drawing/2014/main" id="{FBB1FF5F-EBBE-27D1-8321-D66C1B28D771}"/>
              </a:ext>
            </a:extLst>
          </p:cNvPr>
          <p:cNvSpPr/>
          <p:nvPr/>
        </p:nvSpPr>
        <p:spPr>
          <a:xfrm>
            <a:off x="5481934" y="4437331"/>
            <a:ext cx="3216136" cy="2018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a:t>Achievements</a:t>
            </a:r>
          </a:p>
        </p:txBody>
      </p:sp>
      <p:sp>
        <p:nvSpPr>
          <p:cNvPr id="22" name="Rectangle 21">
            <a:extLst>
              <a:ext uri="{FF2B5EF4-FFF2-40B4-BE49-F238E27FC236}">
                <a16:creationId xmlns:a16="http://schemas.microsoft.com/office/drawing/2014/main" id="{13B3C554-537E-F10A-947F-2655A709E413}"/>
              </a:ext>
            </a:extLst>
          </p:cNvPr>
          <p:cNvSpPr/>
          <p:nvPr/>
        </p:nvSpPr>
        <p:spPr>
          <a:xfrm>
            <a:off x="1972106" y="4701641"/>
            <a:ext cx="3216136"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46" indent="-171446">
              <a:buClr>
                <a:schemeClr val="accent1"/>
              </a:buClr>
              <a:buFont typeface="Wingdings" pitchFamily="2" charset="2"/>
              <a:buChar char="§"/>
            </a:pPr>
            <a:r>
              <a:rPr lang="en-CA" sz="900" b="1">
                <a:solidFill>
                  <a:schemeClr val="tx1"/>
                </a:solidFill>
              </a:rPr>
              <a:t>University of Ottawa </a:t>
            </a:r>
            <a:r>
              <a:rPr lang="en-CA" sz="900">
                <a:solidFill>
                  <a:schemeClr val="tx1"/>
                </a:solidFill>
              </a:rPr>
              <a:t>: Undergrad | Finance 2028</a:t>
            </a:r>
            <a:r>
              <a:rPr lang="en-CA" sz="900">
                <a:cs typeface="Arial"/>
              </a:rPr>
              <a:t>tt</a:t>
            </a:r>
          </a:p>
          <a:p>
            <a:pPr marL="171446" indent="-171446">
              <a:buClr>
                <a:schemeClr val="accent1"/>
              </a:buClr>
              <a:buFont typeface="Wingdings" pitchFamily="2" charset="2"/>
              <a:buChar char="§"/>
            </a:pPr>
            <a:r>
              <a:rPr lang="en-CA" sz="900" b="1">
                <a:solidFill>
                  <a:schemeClr val="tx1"/>
                </a:solidFill>
              </a:rPr>
              <a:t>Sycamore Canyon Capital</a:t>
            </a:r>
            <a:r>
              <a:rPr lang="en-CA" sz="900">
                <a:solidFill>
                  <a:schemeClr val="tx1"/>
                </a:solidFill>
              </a:rPr>
              <a:t>:</a:t>
            </a:r>
            <a:r>
              <a:rPr lang="en-CA" sz="900" b="1">
                <a:solidFill>
                  <a:schemeClr val="tx1"/>
                </a:solidFill>
              </a:rPr>
              <a:t> </a:t>
            </a:r>
            <a:r>
              <a:rPr lang="en-CA" sz="900">
                <a:solidFill>
                  <a:schemeClr val="tx1"/>
                </a:solidFill>
              </a:rPr>
              <a:t>Private Equity Analyst Intern</a:t>
            </a:r>
          </a:p>
          <a:p>
            <a:pPr marL="171446" indent="-171446">
              <a:buClr>
                <a:schemeClr val="accent1"/>
              </a:buClr>
              <a:buFont typeface="Wingdings" pitchFamily="2" charset="2"/>
              <a:buChar char="§"/>
            </a:pPr>
            <a:endParaRPr lang="en-CA" sz="900">
              <a:solidFill>
                <a:schemeClr val="tx1"/>
              </a:solidFill>
            </a:endParaRPr>
          </a:p>
        </p:txBody>
      </p:sp>
      <p:sp>
        <p:nvSpPr>
          <p:cNvPr id="23" name="Rectangle 22">
            <a:extLst>
              <a:ext uri="{FF2B5EF4-FFF2-40B4-BE49-F238E27FC236}">
                <a16:creationId xmlns:a16="http://schemas.microsoft.com/office/drawing/2014/main" id="{6034E5E6-9F8B-EE36-ED76-A1ED4A533498}"/>
              </a:ext>
            </a:extLst>
          </p:cNvPr>
          <p:cNvSpPr/>
          <p:nvPr/>
        </p:nvSpPr>
        <p:spPr>
          <a:xfrm>
            <a:off x="5481934" y="4703551"/>
            <a:ext cx="3150734" cy="70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46" indent="-171446">
              <a:buClr>
                <a:schemeClr val="accent1"/>
              </a:buClr>
              <a:buFont typeface="Wingdings" pitchFamily="2" charset="2"/>
              <a:buChar char="§"/>
            </a:pPr>
            <a:r>
              <a:rPr lang="en-CA" sz="900">
                <a:solidFill>
                  <a:schemeClr val="tx1"/>
                </a:solidFill>
              </a:rPr>
              <a:t>TFSIG First Year Analyst </a:t>
            </a:r>
          </a:p>
          <a:p>
            <a:pPr marL="171446" indent="-171446">
              <a:buClr>
                <a:schemeClr val="accent1"/>
              </a:buClr>
              <a:buFont typeface="Wingdings" pitchFamily="2" charset="2"/>
              <a:buChar char="§"/>
            </a:pPr>
            <a:r>
              <a:rPr lang="en-CA" sz="900">
                <a:solidFill>
                  <a:schemeClr val="tx1"/>
                </a:solidFill>
              </a:rPr>
              <a:t>Director Of Equity Funds, AETSA</a:t>
            </a:r>
          </a:p>
          <a:p>
            <a:pPr marL="171446" indent="-171446">
              <a:buClr>
                <a:schemeClr val="accent1"/>
              </a:buClr>
              <a:buFont typeface="Wingdings" pitchFamily="2" charset="2"/>
              <a:buChar char="§"/>
            </a:pPr>
            <a:endParaRPr lang="en-CA" sz="900">
              <a:solidFill>
                <a:schemeClr val="tx1"/>
              </a:solidFill>
            </a:endParaRPr>
          </a:p>
        </p:txBody>
      </p:sp>
      <p:pic>
        <p:nvPicPr>
          <p:cNvPr id="24" name="Picture 23" descr="A person in a suit and tie&#10;&#10;Description automatically generated">
            <a:extLst>
              <a:ext uri="{FF2B5EF4-FFF2-40B4-BE49-F238E27FC236}">
                <a16:creationId xmlns:a16="http://schemas.microsoft.com/office/drawing/2014/main" id="{E0858504-1378-F1A7-27DB-AC227F7F66F9}"/>
              </a:ext>
            </a:extLst>
          </p:cNvPr>
          <p:cNvPicPr>
            <a:picLocks noChangeAspect="1"/>
          </p:cNvPicPr>
          <p:nvPr/>
        </p:nvPicPr>
        <p:blipFill>
          <a:blip r:embed="rId2">
            <a:extLst>
              <a:ext uri="{28A0092B-C50C-407E-A947-70E740481C1C}">
                <a14:useLocalDpi xmlns:a14="http://schemas.microsoft.com/office/drawing/2010/main" val="0"/>
              </a:ext>
            </a:extLst>
          </a:blip>
          <a:srcRect l="3087" t="14676" r="3712" b="27441"/>
          <a:stretch/>
        </p:blipFill>
        <p:spPr>
          <a:xfrm>
            <a:off x="474452" y="1249287"/>
            <a:ext cx="1024524" cy="1002297"/>
          </a:xfrm>
          <a:prstGeom prst="flowChartConnector">
            <a:avLst/>
          </a:prstGeom>
        </p:spPr>
      </p:pic>
      <p:pic>
        <p:nvPicPr>
          <p:cNvPr id="25" name="Picture 24" descr="A person in a suit and tie&#10;&#10;Description automatically generated">
            <a:extLst>
              <a:ext uri="{FF2B5EF4-FFF2-40B4-BE49-F238E27FC236}">
                <a16:creationId xmlns:a16="http://schemas.microsoft.com/office/drawing/2014/main" id="{6AC9C92B-2201-B23F-4F79-1EF708DDB0BC}"/>
              </a:ext>
            </a:extLst>
          </p:cNvPr>
          <p:cNvPicPr>
            <a:picLocks noChangeAspect="1"/>
          </p:cNvPicPr>
          <p:nvPr/>
        </p:nvPicPr>
        <p:blipFill rotWithShape="1">
          <a:blip r:embed="rId3">
            <a:extLst>
              <a:ext uri="{28A0092B-C50C-407E-A947-70E740481C1C}">
                <a14:useLocalDpi xmlns:a14="http://schemas.microsoft.com/office/drawing/2010/main" val="0"/>
              </a:ext>
            </a:extLst>
          </a:blip>
          <a:srcRect l="2148" t="13575" r="3401" b="28684"/>
          <a:stretch/>
        </p:blipFill>
        <p:spPr>
          <a:xfrm>
            <a:off x="460191" y="2807507"/>
            <a:ext cx="1053046" cy="1053046"/>
          </a:xfrm>
          <a:prstGeom prst="flowChartConnector">
            <a:avLst/>
          </a:prstGeom>
        </p:spPr>
      </p:pic>
      <p:pic>
        <p:nvPicPr>
          <p:cNvPr id="26" name="Picture 25" descr="A person in a suit and tie&#10;&#10;Description automatically generated">
            <a:extLst>
              <a:ext uri="{FF2B5EF4-FFF2-40B4-BE49-F238E27FC236}">
                <a16:creationId xmlns:a16="http://schemas.microsoft.com/office/drawing/2014/main" id="{E30AEBAE-DD88-3746-7191-F14C3E64B6E6}"/>
              </a:ext>
            </a:extLst>
          </p:cNvPr>
          <p:cNvPicPr>
            <a:picLocks noChangeAspect="1"/>
          </p:cNvPicPr>
          <p:nvPr/>
        </p:nvPicPr>
        <p:blipFill rotWithShape="1">
          <a:blip r:embed="rId4">
            <a:extLst>
              <a:ext uri="{28A0092B-C50C-407E-A947-70E740481C1C}">
                <a14:useLocalDpi xmlns:a14="http://schemas.microsoft.com/office/drawing/2010/main" val="0"/>
              </a:ext>
            </a:extLst>
          </a:blip>
          <a:srcRect t="13642" r="2461" b="30403"/>
          <a:stretch/>
        </p:blipFill>
        <p:spPr>
          <a:xfrm>
            <a:off x="460191" y="4415871"/>
            <a:ext cx="1053046" cy="1053046"/>
          </a:xfrm>
          <a:prstGeom prst="flowChartConnector">
            <a:avLst/>
          </a:prstGeom>
        </p:spPr>
      </p:pic>
    </p:spTree>
    <p:extLst>
      <p:ext uri="{BB962C8B-B14F-4D97-AF65-F5344CB8AC3E}">
        <p14:creationId xmlns:p14="http://schemas.microsoft.com/office/powerpoint/2010/main" val="28038496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2D6CE62-FD32-CEE1-D137-FF8103C9A9FB}"/>
              </a:ext>
            </a:extLst>
          </p:cNvPr>
          <p:cNvSpPr>
            <a:spLocks noGrp="1"/>
          </p:cNvSpPr>
          <p:nvPr>
            <p:ph type="body" sz="quarter" idx="21"/>
          </p:nvPr>
        </p:nvSpPr>
        <p:spPr/>
        <p:txBody>
          <a:bodyPr vert="horz" lIns="91440" tIns="45720" rIns="91440" bIns="45720" rtlCol="0" anchor="t">
            <a:normAutofit/>
          </a:bodyPr>
          <a:lstStyle/>
          <a:p>
            <a:r>
              <a:rPr lang="en-US"/>
              <a:t>Who are the Leaders of This Company</a:t>
            </a:r>
          </a:p>
        </p:txBody>
      </p:sp>
      <p:sp>
        <p:nvSpPr>
          <p:cNvPr id="4" name="Title 3">
            <a:extLst>
              <a:ext uri="{FF2B5EF4-FFF2-40B4-BE49-F238E27FC236}">
                <a16:creationId xmlns:a16="http://schemas.microsoft.com/office/drawing/2014/main" id="{8C92E8F0-91DA-8FE0-5643-59BD200D0284}"/>
              </a:ext>
            </a:extLst>
          </p:cNvPr>
          <p:cNvSpPr>
            <a:spLocks noGrp="1"/>
          </p:cNvSpPr>
          <p:nvPr>
            <p:ph type="title"/>
          </p:nvPr>
        </p:nvSpPr>
        <p:spPr/>
        <p:txBody>
          <a:bodyPr/>
          <a:lstStyle/>
          <a:p>
            <a:r>
              <a:rPr lang="en-US"/>
              <a:t>Management Overview</a:t>
            </a:r>
          </a:p>
        </p:txBody>
      </p:sp>
      <p:pic>
        <p:nvPicPr>
          <p:cNvPr id="12" name="Content Placeholder 11" descr="Matt Stumpf | AppLovin">
            <a:extLst>
              <a:ext uri="{FF2B5EF4-FFF2-40B4-BE49-F238E27FC236}">
                <a16:creationId xmlns:a16="http://schemas.microsoft.com/office/drawing/2014/main" id="{DF9C1980-1951-09FF-BC06-CDB1E91DAC0D}"/>
              </a:ext>
            </a:extLst>
          </p:cNvPr>
          <p:cNvPicPr>
            <a:picLocks noGrp="1" noChangeAspect="1"/>
          </p:cNvPicPr>
          <p:nvPr>
            <p:ph sz="quarter" idx="28"/>
          </p:nvPr>
        </p:nvPicPr>
        <p:blipFill>
          <a:blip r:embed="rId3"/>
          <a:stretch>
            <a:fillRect/>
          </a:stretch>
        </p:blipFill>
        <p:spPr>
          <a:xfrm>
            <a:off x="3678360" y="1377495"/>
            <a:ext cx="1498130" cy="2176119"/>
          </a:xfrm>
        </p:spPr>
      </p:pic>
      <p:pic>
        <p:nvPicPr>
          <p:cNvPr id="16" name="Content Placeholder 15" descr="Victoria Valenzuela Net Worth, Biography, and Insider Trading">
            <a:extLst>
              <a:ext uri="{FF2B5EF4-FFF2-40B4-BE49-F238E27FC236}">
                <a16:creationId xmlns:a16="http://schemas.microsoft.com/office/drawing/2014/main" id="{54F6AC19-A3DF-482A-D7B4-AB48B3A2F5B1}"/>
              </a:ext>
            </a:extLst>
          </p:cNvPr>
          <p:cNvPicPr>
            <a:picLocks noGrp="1" noChangeAspect="1"/>
          </p:cNvPicPr>
          <p:nvPr>
            <p:ph sz="quarter" idx="29"/>
          </p:nvPr>
        </p:nvPicPr>
        <p:blipFill>
          <a:blip r:embed="rId4"/>
          <a:stretch>
            <a:fillRect/>
          </a:stretch>
        </p:blipFill>
        <p:spPr>
          <a:xfrm>
            <a:off x="5420615" y="1382472"/>
            <a:ext cx="1496472" cy="2176991"/>
          </a:xfrm>
        </p:spPr>
      </p:pic>
      <p:pic>
        <p:nvPicPr>
          <p:cNvPr id="15" name="Content Placeholder 14" descr="Arash Foroughi Net Worth, Biography, and Insider Trading">
            <a:extLst>
              <a:ext uri="{FF2B5EF4-FFF2-40B4-BE49-F238E27FC236}">
                <a16:creationId xmlns:a16="http://schemas.microsoft.com/office/drawing/2014/main" id="{34DB8AE4-AE38-0C1A-595A-1C17CD9A73F0}"/>
              </a:ext>
            </a:extLst>
          </p:cNvPr>
          <p:cNvPicPr>
            <a:picLocks noGrp="1" noChangeAspect="1"/>
          </p:cNvPicPr>
          <p:nvPr>
            <p:ph sz="quarter" idx="23"/>
          </p:nvPr>
        </p:nvPicPr>
        <p:blipFill>
          <a:blip r:embed="rId5"/>
          <a:stretch>
            <a:fillRect/>
          </a:stretch>
        </p:blipFill>
        <p:spPr>
          <a:xfrm>
            <a:off x="278107" y="1377496"/>
            <a:ext cx="1510078" cy="2176117"/>
          </a:xfrm>
        </p:spPr>
      </p:pic>
      <p:pic>
        <p:nvPicPr>
          <p:cNvPr id="17" name="Picture 16" descr="Basil Shikin | AppLovin">
            <a:extLst>
              <a:ext uri="{FF2B5EF4-FFF2-40B4-BE49-F238E27FC236}">
                <a16:creationId xmlns:a16="http://schemas.microsoft.com/office/drawing/2014/main" id="{B2C2B2D5-8821-CFB6-17E7-FFAB37056DCD}"/>
              </a:ext>
            </a:extLst>
          </p:cNvPr>
          <p:cNvPicPr>
            <a:picLocks noChangeAspect="1"/>
          </p:cNvPicPr>
          <p:nvPr/>
        </p:nvPicPr>
        <p:blipFill>
          <a:blip r:embed="rId6"/>
          <a:stretch>
            <a:fillRect/>
          </a:stretch>
        </p:blipFill>
        <p:spPr>
          <a:xfrm>
            <a:off x="7130142" y="1385205"/>
            <a:ext cx="1476376" cy="2168980"/>
          </a:xfrm>
          <a:prstGeom prst="rect">
            <a:avLst/>
          </a:prstGeom>
        </p:spPr>
      </p:pic>
      <p:pic>
        <p:nvPicPr>
          <p:cNvPr id="18" name="Picture 17" descr="Meet AppLovin's leaders | AppLovin">
            <a:extLst>
              <a:ext uri="{FF2B5EF4-FFF2-40B4-BE49-F238E27FC236}">
                <a16:creationId xmlns:a16="http://schemas.microsoft.com/office/drawing/2014/main" id="{988E179A-7392-1ACC-63D9-7868CD9D15CC}"/>
              </a:ext>
            </a:extLst>
          </p:cNvPr>
          <p:cNvPicPr>
            <a:picLocks noChangeAspect="1"/>
          </p:cNvPicPr>
          <p:nvPr/>
        </p:nvPicPr>
        <p:blipFill>
          <a:blip r:embed="rId7"/>
          <a:stretch>
            <a:fillRect/>
          </a:stretch>
        </p:blipFill>
        <p:spPr>
          <a:xfrm>
            <a:off x="1979482" y="1378403"/>
            <a:ext cx="1496787" cy="2182587"/>
          </a:xfrm>
          <a:prstGeom prst="rect">
            <a:avLst/>
          </a:prstGeom>
        </p:spPr>
      </p:pic>
      <p:sp>
        <p:nvSpPr>
          <p:cNvPr id="21" name="TextBox 20">
            <a:extLst>
              <a:ext uri="{FF2B5EF4-FFF2-40B4-BE49-F238E27FC236}">
                <a16:creationId xmlns:a16="http://schemas.microsoft.com/office/drawing/2014/main" id="{7B58AB7F-6CB3-2EB4-4DC5-F0F345933B57}"/>
              </a:ext>
            </a:extLst>
          </p:cNvPr>
          <p:cNvSpPr txBox="1"/>
          <p:nvPr/>
        </p:nvSpPr>
        <p:spPr>
          <a:xfrm>
            <a:off x="7133495" y="3428073"/>
            <a:ext cx="1464129" cy="461665"/>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1200">
              <a:cs typeface="Arial"/>
            </a:endParaRPr>
          </a:p>
          <a:p>
            <a:pPr algn="ctr"/>
            <a:r>
              <a:rPr lang="en-US" sz="1200">
                <a:cs typeface="Arial"/>
              </a:rPr>
              <a:t>Basil </a:t>
            </a:r>
            <a:r>
              <a:rPr lang="en-US" sz="1200" err="1">
                <a:cs typeface="Arial"/>
              </a:rPr>
              <a:t>Shiken</a:t>
            </a:r>
            <a:endParaRPr lang="en-US" sz="1200">
              <a:cs typeface="Arial"/>
            </a:endParaRPr>
          </a:p>
        </p:txBody>
      </p:sp>
      <p:sp>
        <p:nvSpPr>
          <p:cNvPr id="22" name="TextBox 21">
            <a:extLst>
              <a:ext uri="{FF2B5EF4-FFF2-40B4-BE49-F238E27FC236}">
                <a16:creationId xmlns:a16="http://schemas.microsoft.com/office/drawing/2014/main" id="{AC1BF5C1-716A-D2FA-810C-4B765C3C47BC}"/>
              </a:ext>
            </a:extLst>
          </p:cNvPr>
          <p:cNvSpPr txBox="1"/>
          <p:nvPr/>
        </p:nvSpPr>
        <p:spPr>
          <a:xfrm>
            <a:off x="3677280" y="3428073"/>
            <a:ext cx="1464129" cy="461665"/>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1200">
              <a:cs typeface="Arial"/>
            </a:endParaRPr>
          </a:p>
          <a:p>
            <a:pPr algn="ctr"/>
            <a:r>
              <a:rPr lang="en-US" sz="1200">
                <a:cs typeface="Arial"/>
              </a:rPr>
              <a:t>Matt Stumpf</a:t>
            </a:r>
          </a:p>
        </p:txBody>
      </p:sp>
      <p:sp>
        <p:nvSpPr>
          <p:cNvPr id="23" name="TextBox 22">
            <a:extLst>
              <a:ext uri="{FF2B5EF4-FFF2-40B4-BE49-F238E27FC236}">
                <a16:creationId xmlns:a16="http://schemas.microsoft.com/office/drawing/2014/main" id="{F8F8C40A-FBF7-4384-0817-9187964039F0}"/>
              </a:ext>
            </a:extLst>
          </p:cNvPr>
          <p:cNvSpPr txBox="1"/>
          <p:nvPr/>
        </p:nvSpPr>
        <p:spPr>
          <a:xfrm>
            <a:off x="5418994" y="3428073"/>
            <a:ext cx="1477736" cy="461665"/>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1200">
              <a:cs typeface="Arial"/>
            </a:endParaRPr>
          </a:p>
          <a:p>
            <a:pPr algn="ctr"/>
            <a:r>
              <a:rPr lang="en-US" sz="1200">
                <a:cs typeface="Arial"/>
              </a:rPr>
              <a:t>Victoria Valenzuela</a:t>
            </a:r>
          </a:p>
        </p:txBody>
      </p:sp>
      <p:sp>
        <p:nvSpPr>
          <p:cNvPr id="24" name="TextBox 23">
            <a:extLst>
              <a:ext uri="{FF2B5EF4-FFF2-40B4-BE49-F238E27FC236}">
                <a16:creationId xmlns:a16="http://schemas.microsoft.com/office/drawing/2014/main" id="{0384C0E6-A330-415E-EF8B-7E29561B6268}"/>
              </a:ext>
            </a:extLst>
          </p:cNvPr>
          <p:cNvSpPr txBox="1"/>
          <p:nvPr/>
        </p:nvSpPr>
        <p:spPr>
          <a:xfrm>
            <a:off x="268690" y="3428073"/>
            <a:ext cx="1464129" cy="461665"/>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1200">
              <a:cs typeface="Arial"/>
            </a:endParaRPr>
          </a:p>
          <a:p>
            <a:pPr algn="ctr"/>
            <a:r>
              <a:rPr lang="en-US" sz="1200">
                <a:cs typeface="Arial"/>
              </a:rPr>
              <a:t>Adam Foroughi</a:t>
            </a:r>
          </a:p>
        </p:txBody>
      </p:sp>
      <p:sp>
        <p:nvSpPr>
          <p:cNvPr id="25" name="TextBox 24">
            <a:extLst>
              <a:ext uri="{FF2B5EF4-FFF2-40B4-BE49-F238E27FC236}">
                <a16:creationId xmlns:a16="http://schemas.microsoft.com/office/drawing/2014/main" id="{F74AB14C-5D64-1B77-5C0A-3D10BD0B8554}"/>
              </a:ext>
            </a:extLst>
          </p:cNvPr>
          <p:cNvSpPr txBox="1"/>
          <p:nvPr/>
        </p:nvSpPr>
        <p:spPr>
          <a:xfrm>
            <a:off x="1969583" y="3428073"/>
            <a:ext cx="1464129" cy="461665"/>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1200">
              <a:cs typeface="Arial"/>
            </a:endParaRPr>
          </a:p>
          <a:p>
            <a:pPr algn="ctr"/>
            <a:r>
              <a:rPr lang="en-US" sz="1200">
                <a:cs typeface="Arial"/>
              </a:rPr>
              <a:t>Giovanni Ge</a:t>
            </a:r>
          </a:p>
        </p:txBody>
      </p:sp>
      <p:sp>
        <p:nvSpPr>
          <p:cNvPr id="27" name="TextBox 26">
            <a:extLst>
              <a:ext uri="{FF2B5EF4-FFF2-40B4-BE49-F238E27FC236}">
                <a16:creationId xmlns:a16="http://schemas.microsoft.com/office/drawing/2014/main" id="{1E159925-0D20-908A-AD2E-341FA6BA7091}"/>
              </a:ext>
            </a:extLst>
          </p:cNvPr>
          <p:cNvSpPr txBox="1"/>
          <p:nvPr/>
        </p:nvSpPr>
        <p:spPr>
          <a:xfrm>
            <a:off x="270762" y="1082557"/>
            <a:ext cx="151175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000">
                <a:solidFill>
                  <a:srgbClr val="102C23"/>
                </a:solidFill>
                <a:cs typeface="Arial"/>
              </a:rPr>
              <a:t>CEO and Co-Founder</a:t>
            </a:r>
            <a:endParaRPr lang="en-US">
              <a:solidFill>
                <a:srgbClr val="102C23"/>
              </a:solidFill>
            </a:endParaRPr>
          </a:p>
          <a:p>
            <a:endParaRPr lang="en-US" sz="1000">
              <a:solidFill>
                <a:srgbClr val="102C23"/>
              </a:solidFill>
              <a:cs typeface="Arial"/>
            </a:endParaRPr>
          </a:p>
        </p:txBody>
      </p:sp>
      <p:sp>
        <p:nvSpPr>
          <p:cNvPr id="28" name="TextBox 27">
            <a:extLst>
              <a:ext uri="{FF2B5EF4-FFF2-40B4-BE49-F238E27FC236}">
                <a16:creationId xmlns:a16="http://schemas.microsoft.com/office/drawing/2014/main" id="{6EDD8041-B0C3-0508-6490-9399EBE1D56E}"/>
              </a:ext>
            </a:extLst>
          </p:cNvPr>
          <p:cNvSpPr txBox="1"/>
          <p:nvPr/>
        </p:nvSpPr>
        <p:spPr>
          <a:xfrm>
            <a:off x="1971655" y="926075"/>
            <a:ext cx="1511755"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000">
                <a:solidFill>
                  <a:srgbClr val="102C23"/>
                </a:solidFill>
                <a:cs typeface="Arial"/>
              </a:rPr>
              <a:t>Vice-President of Engineering</a:t>
            </a:r>
          </a:p>
          <a:p>
            <a:endParaRPr lang="en-US" sz="1000">
              <a:solidFill>
                <a:srgbClr val="102C23"/>
              </a:solidFill>
              <a:cs typeface="Arial"/>
            </a:endParaRPr>
          </a:p>
        </p:txBody>
      </p:sp>
      <p:sp>
        <p:nvSpPr>
          <p:cNvPr id="29" name="TextBox 28">
            <a:extLst>
              <a:ext uri="{FF2B5EF4-FFF2-40B4-BE49-F238E27FC236}">
                <a16:creationId xmlns:a16="http://schemas.microsoft.com/office/drawing/2014/main" id="{2C2246DD-1BAC-7F14-65A4-A36A1AF2E38C}"/>
              </a:ext>
            </a:extLst>
          </p:cNvPr>
          <p:cNvSpPr txBox="1"/>
          <p:nvPr/>
        </p:nvSpPr>
        <p:spPr>
          <a:xfrm>
            <a:off x="3785987" y="1074136"/>
            <a:ext cx="151175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000">
                <a:solidFill>
                  <a:srgbClr val="102C23"/>
                </a:solidFill>
                <a:cs typeface="Arial"/>
              </a:rPr>
              <a:t>Chief Financial Officer</a:t>
            </a:r>
            <a:endParaRPr lang="en-US">
              <a:solidFill>
                <a:srgbClr val="102C23"/>
              </a:solidFill>
            </a:endParaRPr>
          </a:p>
          <a:p>
            <a:endParaRPr lang="en-US" sz="1000">
              <a:solidFill>
                <a:srgbClr val="102C23"/>
              </a:solidFill>
              <a:cs typeface="Arial"/>
            </a:endParaRPr>
          </a:p>
        </p:txBody>
      </p:sp>
      <p:sp>
        <p:nvSpPr>
          <p:cNvPr id="30" name="TextBox 29">
            <a:extLst>
              <a:ext uri="{FF2B5EF4-FFF2-40B4-BE49-F238E27FC236}">
                <a16:creationId xmlns:a16="http://schemas.microsoft.com/office/drawing/2014/main" id="{703E5582-A971-1FBA-4D29-484737216CB7}"/>
              </a:ext>
            </a:extLst>
          </p:cNvPr>
          <p:cNvSpPr txBox="1"/>
          <p:nvPr/>
        </p:nvSpPr>
        <p:spPr>
          <a:xfrm>
            <a:off x="5421066" y="926075"/>
            <a:ext cx="1511755"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000">
                <a:solidFill>
                  <a:srgbClr val="102C23"/>
                </a:solidFill>
                <a:cs typeface="Arial"/>
              </a:rPr>
              <a:t>Chief Legal Officer and Corporate Secretary</a:t>
            </a:r>
            <a:endParaRPr lang="en-US">
              <a:solidFill>
                <a:srgbClr val="102C23"/>
              </a:solidFill>
            </a:endParaRPr>
          </a:p>
          <a:p>
            <a:endParaRPr lang="en-US" sz="1000">
              <a:solidFill>
                <a:srgbClr val="102C23"/>
              </a:solidFill>
              <a:cs typeface="Arial"/>
            </a:endParaRPr>
          </a:p>
        </p:txBody>
      </p:sp>
      <p:sp>
        <p:nvSpPr>
          <p:cNvPr id="31" name="TextBox 30">
            <a:extLst>
              <a:ext uri="{FF2B5EF4-FFF2-40B4-BE49-F238E27FC236}">
                <a16:creationId xmlns:a16="http://schemas.microsoft.com/office/drawing/2014/main" id="{7AEBB98F-2C9F-1992-399F-AE8E48B15B9F}"/>
              </a:ext>
            </a:extLst>
          </p:cNvPr>
          <p:cNvSpPr txBox="1"/>
          <p:nvPr/>
        </p:nvSpPr>
        <p:spPr>
          <a:xfrm>
            <a:off x="7067529" y="1082557"/>
            <a:ext cx="160700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000">
                <a:solidFill>
                  <a:srgbClr val="102C23"/>
                </a:solidFill>
                <a:cs typeface="Arial"/>
              </a:rPr>
              <a:t>Chief Technology Officer</a:t>
            </a:r>
            <a:endParaRPr lang="en-US">
              <a:solidFill>
                <a:srgbClr val="102C23"/>
              </a:solidFill>
            </a:endParaRPr>
          </a:p>
          <a:p>
            <a:endParaRPr lang="en-US" sz="1000">
              <a:solidFill>
                <a:srgbClr val="102C23"/>
              </a:solidFill>
              <a:cs typeface="Arial"/>
            </a:endParaRPr>
          </a:p>
        </p:txBody>
      </p:sp>
      <p:sp>
        <p:nvSpPr>
          <p:cNvPr id="32" name="TextBox 31">
            <a:extLst>
              <a:ext uri="{FF2B5EF4-FFF2-40B4-BE49-F238E27FC236}">
                <a16:creationId xmlns:a16="http://schemas.microsoft.com/office/drawing/2014/main" id="{7CC530D1-430F-B6E2-3E78-19E9A17311A2}"/>
              </a:ext>
            </a:extLst>
          </p:cNvPr>
          <p:cNvSpPr txBox="1"/>
          <p:nvPr/>
        </p:nvSpPr>
        <p:spPr>
          <a:xfrm>
            <a:off x="259225" y="3976049"/>
            <a:ext cx="1477737"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900">
                <a:ea typeface="+mn-lt"/>
                <a:cs typeface="+mn-lt"/>
              </a:rPr>
              <a:t>He began his career as a derivatives trader. Adam founded two companies: </a:t>
            </a:r>
            <a:r>
              <a:rPr lang="en-US" sz="900" err="1">
                <a:ea typeface="+mn-lt"/>
                <a:cs typeface="+mn-lt"/>
              </a:rPr>
              <a:t>Lifestreet</a:t>
            </a:r>
            <a:r>
              <a:rPr lang="en-US" sz="900">
                <a:ea typeface="+mn-lt"/>
                <a:cs typeface="+mn-lt"/>
              </a:rPr>
              <a:t> Media and Social Hour; where he applied and expanded his knowledge of mobile technology. In 2018, Adam received the Ernst &amp; Young Entrepreneur of the Year Award</a:t>
            </a:r>
            <a:endParaRPr lang="en-US" sz="900">
              <a:cs typeface="Arial"/>
            </a:endParaRPr>
          </a:p>
        </p:txBody>
      </p:sp>
      <p:sp>
        <p:nvSpPr>
          <p:cNvPr id="33" name="TextBox 32">
            <a:extLst>
              <a:ext uri="{FF2B5EF4-FFF2-40B4-BE49-F238E27FC236}">
                <a16:creationId xmlns:a16="http://schemas.microsoft.com/office/drawing/2014/main" id="{EAC0BCD2-19A0-B5A1-DF06-3CBFE615C32F}"/>
              </a:ext>
            </a:extLst>
          </p:cNvPr>
          <p:cNvSpPr txBox="1"/>
          <p:nvPr/>
        </p:nvSpPr>
        <p:spPr>
          <a:xfrm>
            <a:off x="1968954" y="3976007"/>
            <a:ext cx="1504950"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900">
                <a:latin typeface="Arial"/>
                <a:cs typeface="Arial"/>
              </a:rPr>
              <a:t>Giovanni led research in machine learning at Meta, BlackRock and Uber. He has a PhD, Condensed Matter and Materials Physics from the </a:t>
            </a:r>
            <a:r>
              <a:rPr lang="en-US" sz="900" err="1">
                <a:latin typeface="Arial"/>
                <a:cs typeface="Arial"/>
              </a:rPr>
              <a:t>Scuola</a:t>
            </a:r>
            <a:r>
              <a:rPr lang="en-US" sz="900">
                <a:latin typeface="Arial"/>
                <a:cs typeface="Arial"/>
              </a:rPr>
              <a:t> </a:t>
            </a:r>
            <a:r>
              <a:rPr lang="en-US" sz="900" err="1">
                <a:latin typeface="Arial"/>
                <a:cs typeface="Arial"/>
              </a:rPr>
              <a:t>Internazionale</a:t>
            </a:r>
            <a:r>
              <a:rPr lang="en-US" sz="900">
                <a:latin typeface="Arial"/>
                <a:cs typeface="Arial"/>
              </a:rPr>
              <a:t> Superiore di Studi </a:t>
            </a:r>
            <a:r>
              <a:rPr lang="en-US" sz="900" err="1">
                <a:latin typeface="Arial"/>
                <a:cs typeface="Arial"/>
              </a:rPr>
              <a:t>Avanzati</a:t>
            </a:r>
            <a:r>
              <a:rPr lang="en-US" sz="900">
                <a:latin typeface="Arial"/>
                <a:cs typeface="Arial"/>
              </a:rPr>
              <a:t> and completed his undergraduate at the University of Science and Technology of China</a:t>
            </a:r>
            <a:endParaRPr lang="en-US" sz="900">
              <a:latin typeface="Arial"/>
              <a:ea typeface="Calibri"/>
              <a:cs typeface="Arial"/>
            </a:endParaRPr>
          </a:p>
        </p:txBody>
      </p:sp>
      <p:sp>
        <p:nvSpPr>
          <p:cNvPr id="34" name="TextBox 33">
            <a:extLst>
              <a:ext uri="{FF2B5EF4-FFF2-40B4-BE49-F238E27FC236}">
                <a16:creationId xmlns:a16="http://schemas.microsoft.com/office/drawing/2014/main" id="{60EFC85E-6413-9627-EF1F-62A8FA653522}"/>
              </a:ext>
            </a:extLst>
          </p:cNvPr>
          <p:cNvSpPr txBox="1"/>
          <p:nvPr/>
        </p:nvSpPr>
        <p:spPr>
          <a:xfrm>
            <a:off x="3676650" y="3976007"/>
            <a:ext cx="1511754"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900">
                <a:latin typeface="Arial"/>
                <a:cs typeface="Arial"/>
              </a:rPr>
              <a:t>Matt worked at PWC providing financial consulting on M&amp;A transactions in the tech industry. He began his career in financial audit at PWC and is a Certified Public Accountant. He holds a B.A. in Business Management Economics from the University of California, Santa Cruz</a:t>
            </a:r>
          </a:p>
        </p:txBody>
      </p:sp>
      <p:sp>
        <p:nvSpPr>
          <p:cNvPr id="35" name="TextBox 34">
            <a:extLst>
              <a:ext uri="{FF2B5EF4-FFF2-40B4-BE49-F238E27FC236}">
                <a16:creationId xmlns:a16="http://schemas.microsoft.com/office/drawing/2014/main" id="{B05BA212-B4B9-EBE8-9E7F-3DC673E6561C}"/>
              </a:ext>
            </a:extLst>
          </p:cNvPr>
          <p:cNvSpPr txBox="1"/>
          <p:nvPr/>
        </p:nvSpPr>
        <p:spPr>
          <a:xfrm>
            <a:off x="5418364" y="3976007"/>
            <a:ext cx="1477736" cy="18928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900">
                <a:latin typeface="Arial"/>
                <a:cs typeface="Arial"/>
              </a:rPr>
              <a:t>Victoria was General Counsel and Vice President, Legal Affairs, and Corporate Secretary at Cypress Semiconductor, as well as an M&amp;A and Securities Attorney with Clifford Chance US and Brobeck, </a:t>
            </a:r>
            <a:r>
              <a:rPr lang="en-US" sz="900" err="1">
                <a:latin typeface="Arial"/>
                <a:cs typeface="Arial"/>
              </a:rPr>
              <a:t>Phleger</a:t>
            </a:r>
            <a:r>
              <a:rPr lang="en-US" sz="900">
                <a:latin typeface="Arial"/>
                <a:cs typeface="Arial"/>
              </a:rPr>
              <a:t> &amp; Harrison LLP. Tory holds a law degree from Stanford University</a:t>
            </a:r>
          </a:p>
        </p:txBody>
      </p:sp>
      <p:sp>
        <p:nvSpPr>
          <p:cNvPr id="5" name="TextBox 4">
            <a:extLst>
              <a:ext uri="{FF2B5EF4-FFF2-40B4-BE49-F238E27FC236}">
                <a16:creationId xmlns:a16="http://schemas.microsoft.com/office/drawing/2014/main" id="{B63024AE-0E0D-0C5A-2C5A-C58B025D832C}"/>
              </a:ext>
            </a:extLst>
          </p:cNvPr>
          <p:cNvSpPr txBox="1"/>
          <p:nvPr/>
        </p:nvSpPr>
        <p:spPr>
          <a:xfrm>
            <a:off x="7132864" y="3976007"/>
            <a:ext cx="1498147" cy="13388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900">
                <a:latin typeface="Arial"/>
                <a:cs typeface="Arial"/>
              </a:rPr>
              <a:t>Basil was one of </a:t>
            </a:r>
            <a:r>
              <a:rPr lang="en-US" sz="900" err="1">
                <a:latin typeface="Arial"/>
                <a:cs typeface="Arial"/>
              </a:rPr>
              <a:t>AppLovin’s</a:t>
            </a:r>
            <a:r>
              <a:rPr lang="en-US" sz="900">
                <a:latin typeface="Arial"/>
                <a:cs typeface="Arial"/>
              </a:rPr>
              <a:t> early hires and previously served as Vice President of Engineering.</a:t>
            </a:r>
            <a:r>
              <a:rPr lang="en-US" sz="900">
                <a:ea typeface="+mn-lt"/>
                <a:cs typeface="+mn-lt"/>
              </a:rPr>
              <a:t> Before joining </a:t>
            </a:r>
            <a:r>
              <a:rPr lang="en-US" sz="900" err="1">
                <a:ea typeface="+mn-lt"/>
                <a:cs typeface="+mn-lt"/>
              </a:rPr>
              <a:t>AppLovin</a:t>
            </a:r>
            <a:r>
              <a:rPr lang="en-US" sz="900">
                <a:ea typeface="+mn-lt"/>
                <a:cs typeface="+mn-lt"/>
              </a:rPr>
              <a:t>, Basil was a Senior Software Engineer at </a:t>
            </a:r>
            <a:r>
              <a:rPr lang="en-US" sz="900" err="1">
                <a:ea typeface="+mn-lt"/>
                <a:cs typeface="+mn-lt"/>
              </a:rPr>
              <a:t>DeviceAnywhere</a:t>
            </a:r>
            <a:endParaRPr lang="en-US" sz="900">
              <a:cs typeface="Arial"/>
            </a:endParaRPr>
          </a:p>
        </p:txBody>
      </p:sp>
      <p:cxnSp>
        <p:nvCxnSpPr>
          <p:cNvPr id="14" name="Straight Connector 13">
            <a:extLst>
              <a:ext uri="{FF2B5EF4-FFF2-40B4-BE49-F238E27FC236}">
                <a16:creationId xmlns:a16="http://schemas.microsoft.com/office/drawing/2014/main" id="{3F4F234A-87AD-FD08-80BC-C1DED91BED5F}"/>
              </a:ext>
            </a:extLst>
          </p:cNvPr>
          <p:cNvCxnSpPr>
            <a:cxnSpLocks/>
          </p:cNvCxnSpPr>
          <p:nvPr/>
        </p:nvCxnSpPr>
        <p:spPr>
          <a:xfrm>
            <a:off x="250825" y="1304135"/>
            <a:ext cx="8642350" cy="0"/>
          </a:xfrm>
          <a:prstGeom prst="line">
            <a:avLst/>
          </a:prstGeom>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46561980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E18DD2-4716-DE65-B123-B5FA11B89F84}"/>
              </a:ext>
            </a:extLst>
          </p:cNvPr>
          <p:cNvSpPr>
            <a:spLocks noGrp="1"/>
          </p:cNvSpPr>
          <p:nvPr>
            <p:ph type="body" sz="quarter" idx="21"/>
          </p:nvPr>
        </p:nvSpPr>
        <p:spPr/>
        <p:txBody>
          <a:bodyPr/>
          <a:lstStyle/>
          <a:p>
            <a:endParaRPr lang="en-US"/>
          </a:p>
        </p:txBody>
      </p:sp>
      <p:sp>
        <p:nvSpPr>
          <p:cNvPr id="3" name="Text Placeholder 2">
            <a:extLst>
              <a:ext uri="{FF2B5EF4-FFF2-40B4-BE49-F238E27FC236}">
                <a16:creationId xmlns:a16="http://schemas.microsoft.com/office/drawing/2014/main" id="{33FAFE2E-5362-128D-5E73-3AE95A8B534B}"/>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9376612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74127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0FF4F23-A019-76A9-347D-6DBCD9C28272}"/>
              </a:ext>
            </a:extLst>
          </p:cNvPr>
          <p:cNvSpPr>
            <a:spLocks noGrp="1"/>
          </p:cNvSpPr>
          <p:nvPr>
            <p:ph type="body" sz="quarter" idx="19"/>
          </p:nvPr>
        </p:nvSpPr>
        <p:spPr/>
        <p:txBody>
          <a:bodyPr/>
          <a:lstStyle/>
          <a:p>
            <a:endParaRPr lang="en-CA"/>
          </a:p>
        </p:txBody>
      </p:sp>
      <p:pic>
        <p:nvPicPr>
          <p:cNvPr id="5" name="Picture Placeholder 7" descr="A reception desk in a building&#10;&#10;AI-generated content may be incorrect.">
            <a:extLst>
              <a:ext uri="{FF2B5EF4-FFF2-40B4-BE49-F238E27FC236}">
                <a16:creationId xmlns:a16="http://schemas.microsoft.com/office/drawing/2014/main" id="{40734A3A-741C-9824-14E6-D24FD1D7643F}"/>
              </a:ext>
            </a:extLst>
          </p:cNvPr>
          <p:cNvPicPr>
            <a:picLocks noChangeAspect="1"/>
          </p:cNvPicPr>
          <p:nvPr/>
        </p:nvPicPr>
        <p:blipFill>
          <a:blip r:embed="rId3">
            <a:extLst>
              <a:ext uri="{28A0092B-C50C-407E-A947-70E740481C1C}">
                <a14:useLocalDpi xmlns:a14="http://schemas.microsoft.com/office/drawing/2010/main" val="0"/>
              </a:ext>
            </a:extLst>
          </a:blip>
          <a:srcRect l="5556" r="5556"/>
          <a:stretch>
            <a:fillRect/>
          </a:stretch>
        </p:blipFill>
        <p:spPr>
          <a:xfrm>
            <a:off x="-11343" y="0"/>
            <a:ext cx="9151562" cy="6894094"/>
          </a:xfrm>
          <a:prstGeom prst="rect">
            <a:avLst/>
          </a:prstGeom>
        </p:spPr>
      </p:pic>
      <p:sp>
        <p:nvSpPr>
          <p:cNvPr id="7" name="TextBox 6">
            <a:extLst>
              <a:ext uri="{FF2B5EF4-FFF2-40B4-BE49-F238E27FC236}">
                <a16:creationId xmlns:a16="http://schemas.microsoft.com/office/drawing/2014/main" id="{D45A3164-1980-7DBE-12FE-8B8F063F825B}"/>
              </a:ext>
            </a:extLst>
          </p:cNvPr>
          <p:cNvSpPr txBox="1"/>
          <p:nvPr/>
        </p:nvSpPr>
        <p:spPr>
          <a:xfrm>
            <a:off x="-1960551" y="957377"/>
            <a:ext cx="452340" cy="230832"/>
          </a:xfrm>
          <a:prstGeom prst="rect">
            <a:avLst/>
          </a:prstGeom>
          <a:noFill/>
        </p:spPr>
        <p:txBody>
          <a:bodyPr wrap="square" rtlCol="0">
            <a:spAutoFit/>
          </a:bodyPr>
          <a:lstStyle/>
          <a:p>
            <a:pPr algn="ctr"/>
            <a:r>
              <a:rPr lang="en-CA" sz="900" b="1"/>
              <a:t>x</a:t>
            </a:r>
          </a:p>
        </p:txBody>
      </p:sp>
      <p:pic>
        <p:nvPicPr>
          <p:cNvPr id="11" name="Picture 2" descr="AppLovin (APP): Company Profile, Stock Price, News, Rankings | Fortune">
            <a:extLst>
              <a:ext uri="{FF2B5EF4-FFF2-40B4-BE49-F238E27FC236}">
                <a16:creationId xmlns:a16="http://schemas.microsoft.com/office/drawing/2014/main" id="{768B367D-2832-D285-D63F-09A2994BAE3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7793" r="12761"/>
          <a:stretch/>
        </p:blipFill>
        <p:spPr bwMode="auto">
          <a:xfrm>
            <a:off x="0" y="0"/>
            <a:ext cx="9144000" cy="6894094"/>
          </a:xfrm>
          <a:prstGeom prst="rtTriangle">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57402441-9D66-44EE-B0BA-5C5443931E46}"/>
              </a:ext>
            </a:extLst>
          </p:cNvPr>
          <p:cNvSpPr/>
          <p:nvPr/>
        </p:nvSpPr>
        <p:spPr>
          <a:xfrm rot="2220000">
            <a:off x="-1347049" y="3502350"/>
            <a:ext cx="12219133" cy="126160"/>
          </a:xfrm>
          <a:prstGeom prst="rect">
            <a:avLst/>
          </a:prstGeom>
          <a:solidFill>
            <a:srgbClr val="D8FA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6" name="Group 5">
            <a:extLst>
              <a:ext uri="{FF2B5EF4-FFF2-40B4-BE49-F238E27FC236}">
                <a16:creationId xmlns:a16="http://schemas.microsoft.com/office/drawing/2014/main" id="{B86CB86B-A2A2-E129-D45C-BC79A605FE32}"/>
              </a:ext>
            </a:extLst>
          </p:cNvPr>
          <p:cNvGrpSpPr/>
          <p:nvPr/>
        </p:nvGrpSpPr>
        <p:grpSpPr>
          <a:xfrm>
            <a:off x="563635" y="3298525"/>
            <a:ext cx="3225791" cy="1023457"/>
            <a:chOff x="411235" y="3727150"/>
            <a:chExt cx="3225791" cy="1023457"/>
          </a:xfrm>
        </p:grpSpPr>
        <p:grpSp>
          <p:nvGrpSpPr>
            <p:cNvPr id="2" name="Group 1">
              <a:extLst>
                <a:ext uri="{FF2B5EF4-FFF2-40B4-BE49-F238E27FC236}">
                  <a16:creationId xmlns:a16="http://schemas.microsoft.com/office/drawing/2014/main" id="{6D7E9966-274F-69E7-780C-A84D79BF24AD}"/>
                </a:ext>
              </a:extLst>
            </p:cNvPr>
            <p:cNvGrpSpPr/>
            <p:nvPr/>
          </p:nvGrpSpPr>
          <p:grpSpPr>
            <a:xfrm>
              <a:off x="411235" y="3727150"/>
              <a:ext cx="3225791" cy="1023457"/>
              <a:chOff x="411235" y="3727150"/>
              <a:chExt cx="3225791" cy="1023457"/>
            </a:xfrm>
          </p:grpSpPr>
          <p:sp>
            <p:nvSpPr>
              <p:cNvPr id="12" name="Rectangle 11">
                <a:extLst>
                  <a:ext uri="{FF2B5EF4-FFF2-40B4-BE49-F238E27FC236}">
                    <a16:creationId xmlns:a16="http://schemas.microsoft.com/office/drawing/2014/main" id="{3C58E064-3E33-6A8E-BAFF-2400D3B7A35B}"/>
                  </a:ext>
                </a:extLst>
              </p:cNvPr>
              <p:cNvSpPr/>
              <p:nvPr/>
            </p:nvSpPr>
            <p:spPr>
              <a:xfrm>
                <a:off x="411235" y="3727150"/>
                <a:ext cx="3225791" cy="1023457"/>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a:p>
                <a:pPr algn="ctr"/>
                <a:r>
                  <a:rPr lang="en-US">
                    <a:solidFill>
                      <a:schemeClr val="accent1"/>
                    </a:solidFill>
                  </a:rPr>
                  <a:t>Merger Analysis</a:t>
                </a:r>
              </a:p>
            </p:txBody>
          </p:sp>
          <p:pic>
            <p:nvPicPr>
              <p:cNvPr id="13" name="Picture 4">
                <a:extLst>
                  <a:ext uri="{FF2B5EF4-FFF2-40B4-BE49-F238E27FC236}">
                    <a16:creationId xmlns:a16="http://schemas.microsoft.com/office/drawing/2014/main" id="{5137E24B-FE5B-AFE5-0BEA-D6D25ED31C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4045" y="3935871"/>
                <a:ext cx="918973" cy="28893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2" descr="AppLovin logo in transparent PNG and vectorized SVG formats">
                <a:extLst>
                  <a:ext uri="{FF2B5EF4-FFF2-40B4-BE49-F238E27FC236}">
                    <a16:creationId xmlns:a16="http://schemas.microsoft.com/office/drawing/2014/main" id="{6E343014-C0C7-5F2E-3DF2-8012BC55436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24130" y="3946231"/>
                <a:ext cx="1484060" cy="268213"/>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TextBox 2">
              <a:extLst>
                <a:ext uri="{FF2B5EF4-FFF2-40B4-BE49-F238E27FC236}">
                  <a16:creationId xmlns:a16="http://schemas.microsoft.com/office/drawing/2014/main" id="{51FBA8F1-4436-4987-C1CA-1642B4A1E5E7}"/>
                </a:ext>
              </a:extLst>
            </p:cNvPr>
            <p:cNvSpPr txBox="1"/>
            <p:nvPr/>
          </p:nvSpPr>
          <p:spPr>
            <a:xfrm>
              <a:off x="1639974" y="3895672"/>
              <a:ext cx="36516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cs typeface="Arial"/>
                </a:rPr>
                <a:t>x</a:t>
              </a:r>
              <a:endParaRPr lang="en-US"/>
            </a:p>
          </p:txBody>
        </p:sp>
      </p:grpSp>
    </p:spTree>
    <p:extLst>
      <p:ext uri="{BB962C8B-B14F-4D97-AF65-F5344CB8AC3E}">
        <p14:creationId xmlns:p14="http://schemas.microsoft.com/office/powerpoint/2010/main" val="41863881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2E2219-F28F-202B-20A3-A85C07A4F106}"/>
            </a:ext>
          </a:extLst>
        </p:cNvPr>
        <p:cNvGrpSpPr/>
        <p:nvPr/>
      </p:nvGrpSpPr>
      <p:grpSpPr>
        <a:xfrm>
          <a:off x="0" y="0"/>
          <a:ext cx="0" cy="0"/>
          <a:chOff x="0" y="0"/>
          <a:chExt cx="0" cy="0"/>
        </a:xfrm>
      </p:grpSpPr>
      <p:sp>
        <p:nvSpPr>
          <p:cNvPr id="12" name="Text Placeholder 11">
            <a:extLst>
              <a:ext uri="{FF2B5EF4-FFF2-40B4-BE49-F238E27FC236}">
                <a16:creationId xmlns:a16="http://schemas.microsoft.com/office/drawing/2014/main" id="{184A3643-61F9-72BF-D3CD-2ACCD5061AC1}"/>
              </a:ext>
            </a:extLst>
          </p:cNvPr>
          <p:cNvSpPr>
            <a:spLocks noGrp="1"/>
          </p:cNvSpPr>
          <p:nvPr>
            <p:ph type="body" sz="quarter" idx="13"/>
          </p:nvPr>
        </p:nvSpPr>
        <p:spPr/>
        <p:txBody>
          <a:bodyPr/>
          <a:lstStyle/>
          <a:p>
            <a:r>
              <a:rPr lang="en-US"/>
              <a:t>Vertical Integration</a:t>
            </a:r>
          </a:p>
        </p:txBody>
      </p:sp>
      <p:sp>
        <p:nvSpPr>
          <p:cNvPr id="3" name="Text Placeholder 2">
            <a:extLst>
              <a:ext uri="{FF2B5EF4-FFF2-40B4-BE49-F238E27FC236}">
                <a16:creationId xmlns:a16="http://schemas.microsoft.com/office/drawing/2014/main" id="{EBA9D7EC-0FB8-857D-58ED-2BD2F9956BE7}"/>
              </a:ext>
            </a:extLst>
          </p:cNvPr>
          <p:cNvSpPr>
            <a:spLocks noGrp="1"/>
          </p:cNvSpPr>
          <p:nvPr>
            <p:ph type="body" sz="quarter" idx="21"/>
          </p:nvPr>
        </p:nvSpPr>
        <p:spPr/>
        <p:txBody>
          <a:bodyPr/>
          <a:lstStyle/>
          <a:p>
            <a:r>
              <a:rPr lang="en-US"/>
              <a:t>Empowering Developers, Monetizing Success</a:t>
            </a:r>
          </a:p>
        </p:txBody>
      </p:sp>
      <p:sp>
        <p:nvSpPr>
          <p:cNvPr id="4" name="Title 3">
            <a:extLst>
              <a:ext uri="{FF2B5EF4-FFF2-40B4-BE49-F238E27FC236}">
                <a16:creationId xmlns:a16="http://schemas.microsoft.com/office/drawing/2014/main" id="{01B9DB9E-6730-C2F3-B240-6229F0751888}"/>
              </a:ext>
            </a:extLst>
          </p:cNvPr>
          <p:cNvSpPr>
            <a:spLocks noGrp="1"/>
          </p:cNvSpPr>
          <p:nvPr>
            <p:ph type="title"/>
          </p:nvPr>
        </p:nvSpPr>
        <p:spPr/>
        <p:txBody>
          <a:bodyPr/>
          <a:lstStyle/>
          <a:p>
            <a:r>
              <a:rPr lang="en-US" err="1"/>
              <a:t>AppLovin</a:t>
            </a:r>
            <a:r>
              <a:rPr lang="en-US"/>
              <a:t> Overview</a:t>
            </a:r>
          </a:p>
        </p:txBody>
      </p:sp>
      <p:sp>
        <p:nvSpPr>
          <p:cNvPr id="5" name="Text Placeholder 4">
            <a:extLst>
              <a:ext uri="{FF2B5EF4-FFF2-40B4-BE49-F238E27FC236}">
                <a16:creationId xmlns:a16="http://schemas.microsoft.com/office/drawing/2014/main" id="{959E957F-46D0-CC34-3668-8E74A1E42334}"/>
              </a:ext>
            </a:extLst>
          </p:cNvPr>
          <p:cNvSpPr>
            <a:spLocks noGrp="1"/>
          </p:cNvSpPr>
          <p:nvPr>
            <p:ph type="body" idx="22"/>
          </p:nvPr>
        </p:nvSpPr>
        <p:spPr/>
        <p:txBody>
          <a:bodyPr/>
          <a:lstStyle/>
          <a:p>
            <a:r>
              <a:rPr lang="en-US"/>
              <a:t>Vertical Integration</a:t>
            </a:r>
            <a:endParaRPr lang="en-US" b="0"/>
          </a:p>
        </p:txBody>
      </p:sp>
      <p:sp>
        <p:nvSpPr>
          <p:cNvPr id="7" name="Text Placeholder 6">
            <a:extLst>
              <a:ext uri="{FF2B5EF4-FFF2-40B4-BE49-F238E27FC236}">
                <a16:creationId xmlns:a16="http://schemas.microsoft.com/office/drawing/2014/main" id="{13A57781-CA0B-4D6D-6A28-CA0EC5D232CD}"/>
              </a:ext>
            </a:extLst>
          </p:cNvPr>
          <p:cNvSpPr>
            <a:spLocks noGrp="1"/>
          </p:cNvSpPr>
          <p:nvPr>
            <p:ph type="body" idx="26"/>
          </p:nvPr>
        </p:nvSpPr>
        <p:spPr/>
        <p:txBody>
          <a:bodyPr/>
          <a:lstStyle/>
          <a:p>
            <a:r>
              <a:rPr lang="en-US"/>
              <a:t>Business Model</a:t>
            </a:r>
          </a:p>
        </p:txBody>
      </p:sp>
      <p:sp>
        <p:nvSpPr>
          <p:cNvPr id="8" name="Text Placeholder 7">
            <a:extLst>
              <a:ext uri="{FF2B5EF4-FFF2-40B4-BE49-F238E27FC236}">
                <a16:creationId xmlns:a16="http://schemas.microsoft.com/office/drawing/2014/main" id="{D952C4CD-0FE8-389E-526B-39B95F2CC3F0}"/>
              </a:ext>
            </a:extLst>
          </p:cNvPr>
          <p:cNvSpPr>
            <a:spLocks noGrp="1"/>
          </p:cNvSpPr>
          <p:nvPr>
            <p:ph type="body" idx="27"/>
          </p:nvPr>
        </p:nvSpPr>
        <p:spPr/>
        <p:txBody>
          <a:bodyPr/>
          <a:lstStyle/>
          <a:p>
            <a:r>
              <a:rPr lang="en-US"/>
              <a:t>Revenue - Geographic Segments </a:t>
            </a:r>
            <a:r>
              <a:rPr lang="en-US" b="0"/>
              <a:t>(</a:t>
            </a:r>
            <a:r>
              <a:rPr lang="en-US" b="0" i="1"/>
              <a:t>in USD mm</a:t>
            </a:r>
            <a:r>
              <a:rPr lang="en-US" b="0"/>
              <a:t>)</a:t>
            </a:r>
          </a:p>
        </p:txBody>
      </p:sp>
      <p:graphicFrame>
        <p:nvGraphicFramePr>
          <p:cNvPr id="10" name="Content Placeholder 17">
            <a:extLst>
              <a:ext uri="{FF2B5EF4-FFF2-40B4-BE49-F238E27FC236}">
                <a16:creationId xmlns:a16="http://schemas.microsoft.com/office/drawing/2014/main" id="{4F8F5F70-3DDD-E5ED-4B19-F14105F969AE}"/>
              </a:ext>
            </a:extLst>
          </p:cNvPr>
          <p:cNvGraphicFramePr>
            <a:graphicFrameLocks noGrp="1"/>
          </p:cNvGraphicFramePr>
          <p:nvPr>
            <p:ph sz="quarter" idx="28"/>
            <p:extLst>
              <p:ext uri="{D42A27DB-BD31-4B8C-83A1-F6EECF244321}">
                <p14:modId xmlns:p14="http://schemas.microsoft.com/office/powerpoint/2010/main" val="2813029918"/>
              </p:ext>
            </p:extLst>
          </p:nvPr>
        </p:nvGraphicFramePr>
        <p:xfrm>
          <a:off x="4751388" y="1384300"/>
          <a:ext cx="4141787" cy="21780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Content Placeholder 5">
            <a:extLst>
              <a:ext uri="{FF2B5EF4-FFF2-40B4-BE49-F238E27FC236}">
                <a16:creationId xmlns:a16="http://schemas.microsoft.com/office/drawing/2014/main" id="{2C5C6127-445F-4826-AA63-F9D14E1B8808}"/>
              </a:ext>
            </a:extLst>
          </p:cNvPr>
          <p:cNvSpPr>
            <a:spLocks noGrp="1"/>
          </p:cNvSpPr>
          <p:nvPr>
            <p:ph sz="quarter" idx="23"/>
          </p:nvPr>
        </p:nvSpPr>
        <p:spPr>
          <a:solidFill>
            <a:schemeClr val="bg1"/>
          </a:solidFill>
        </p:spPr>
        <p:txBody>
          <a:bodyPr>
            <a:normAutofit/>
          </a:bodyPr>
          <a:lstStyle/>
          <a:p>
            <a:r>
              <a:rPr lang="en-US" sz="1000" b="1">
                <a:solidFill>
                  <a:schemeClr val="tx2"/>
                </a:solidFill>
              </a:rPr>
              <a:t>Leading growth platform </a:t>
            </a:r>
            <a:r>
              <a:rPr lang="en-US" sz="1000">
                <a:solidFill>
                  <a:schemeClr val="tx2"/>
                </a:solidFill>
              </a:rPr>
              <a:t>helping developers acquire users, monetize apps, and optimize marketing</a:t>
            </a:r>
          </a:p>
          <a:p>
            <a:r>
              <a:rPr lang="en-US" sz="1000" b="1">
                <a:solidFill>
                  <a:schemeClr val="tx2"/>
                </a:solidFill>
              </a:rPr>
              <a:t>Software Platform </a:t>
            </a:r>
            <a:r>
              <a:rPr lang="en-US" sz="1000">
                <a:solidFill>
                  <a:schemeClr val="tx2"/>
                </a:solidFill>
              </a:rPr>
              <a:t>–</a:t>
            </a:r>
            <a:r>
              <a:rPr lang="en-US" sz="1000" b="1">
                <a:solidFill>
                  <a:schemeClr val="tx2"/>
                </a:solidFill>
              </a:rPr>
              <a:t> </a:t>
            </a:r>
            <a:r>
              <a:rPr lang="en-US" sz="1000">
                <a:solidFill>
                  <a:schemeClr val="tx2"/>
                </a:solidFill>
              </a:rPr>
              <a:t>Three core solutions:</a:t>
            </a:r>
          </a:p>
          <a:p>
            <a:pPr lvl="1"/>
            <a:r>
              <a:rPr lang="en-US" sz="1000" b="1" err="1">
                <a:solidFill>
                  <a:schemeClr val="tx2"/>
                </a:solidFill>
              </a:rPr>
              <a:t>AppDiscovery</a:t>
            </a:r>
            <a:r>
              <a:rPr lang="en-US" sz="1000">
                <a:solidFill>
                  <a:schemeClr val="tx2"/>
                </a:solidFill>
              </a:rPr>
              <a:t> – User acquisition</a:t>
            </a:r>
          </a:p>
          <a:p>
            <a:pPr lvl="1"/>
            <a:r>
              <a:rPr lang="en-US" sz="1000" b="1">
                <a:solidFill>
                  <a:schemeClr val="tx2"/>
                </a:solidFill>
              </a:rPr>
              <a:t>Adjust</a:t>
            </a:r>
            <a:r>
              <a:rPr lang="en-US" sz="1000">
                <a:solidFill>
                  <a:schemeClr val="tx2"/>
                </a:solidFill>
              </a:rPr>
              <a:t> – Analytics &amp; attribution</a:t>
            </a:r>
          </a:p>
          <a:p>
            <a:pPr lvl="1"/>
            <a:r>
              <a:rPr lang="en-US" sz="1000" b="1">
                <a:solidFill>
                  <a:schemeClr val="tx2"/>
                </a:solidFill>
              </a:rPr>
              <a:t>MAX</a:t>
            </a:r>
            <a:r>
              <a:rPr lang="en-US" sz="1000">
                <a:solidFill>
                  <a:schemeClr val="tx2"/>
                </a:solidFill>
              </a:rPr>
              <a:t> – Ad mediation</a:t>
            </a:r>
          </a:p>
          <a:p>
            <a:r>
              <a:rPr lang="en-US" sz="1000" b="1">
                <a:solidFill>
                  <a:schemeClr val="tx2"/>
                </a:solidFill>
              </a:rPr>
              <a:t>AI &amp; Cloud Tech</a:t>
            </a:r>
            <a:r>
              <a:rPr lang="en-US" sz="1000">
                <a:solidFill>
                  <a:schemeClr val="tx2"/>
                </a:solidFill>
              </a:rPr>
              <a:t>:</a:t>
            </a:r>
          </a:p>
          <a:p>
            <a:pPr lvl="1"/>
            <a:r>
              <a:rPr lang="en-US" sz="1000" b="1">
                <a:solidFill>
                  <a:schemeClr val="tx2"/>
                </a:solidFill>
              </a:rPr>
              <a:t>AXON</a:t>
            </a:r>
            <a:r>
              <a:rPr lang="en-US" sz="1000">
                <a:solidFill>
                  <a:schemeClr val="tx2"/>
                </a:solidFill>
              </a:rPr>
              <a:t> (AI-driven recommendations)</a:t>
            </a:r>
          </a:p>
          <a:p>
            <a:pPr lvl="1"/>
            <a:r>
              <a:rPr lang="en-US" sz="1000" b="1">
                <a:solidFill>
                  <a:schemeClr val="tx2"/>
                </a:solidFill>
              </a:rPr>
              <a:t>App Graph </a:t>
            </a:r>
            <a:r>
              <a:rPr lang="en-US" sz="1000">
                <a:solidFill>
                  <a:schemeClr val="tx2"/>
                </a:solidFill>
              </a:rPr>
              <a:t>(data insights)</a:t>
            </a:r>
          </a:p>
          <a:p>
            <a:pPr lvl="1"/>
            <a:r>
              <a:rPr lang="en-US" sz="1000" b="1">
                <a:solidFill>
                  <a:schemeClr val="tx2"/>
                </a:solidFill>
              </a:rPr>
              <a:t>Elastic Cloud </a:t>
            </a:r>
            <a:r>
              <a:rPr lang="en-US" sz="1000">
                <a:solidFill>
                  <a:schemeClr val="tx2"/>
                </a:solidFill>
              </a:rPr>
              <a:t>(scalability)</a:t>
            </a:r>
          </a:p>
        </p:txBody>
      </p:sp>
      <p:graphicFrame>
        <p:nvGraphicFramePr>
          <p:cNvPr id="16" name="Content Placeholder 16">
            <a:extLst>
              <a:ext uri="{FF2B5EF4-FFF2-40B4-BE49-F238E27FC236}">
                <a16:creationId xmlns:a16="http://schemas.microsoft.com/office/drawing/2014/main" id="{7C7B3363-E606-0D05-31EE-86CD3D3283C3}"/>
              </a:ext>
            </a:extLst>
          </p:cNvPr>
          <p:cNvGraphicFramePr>
            <a:graphicFrameLocks noGrp="1"/>
          </p:cNvGraphicFramePr>
          <p:nvPr>
            <p:ph sz="quarter" idx="29"/>
            <p:extLst>
              <p:ext uri="{D42A27DB-BD31-4B8C-83A1-F6EECF244321}">
                <p14:modId xmlns:p14="http://schemas.microsoft.com/office/powerpoint/2010/main" val="4170281834"/>
              </p:ext>
            </p:extLst>
          </p:nvPr>
        </p:nvGraphicFramePr>
        <p:xfrm>
          <a:off x="250825" y="4014788"/>
          <a:ext cx="8642350" cy="217805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2307948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E7644E2E-00FE-42B4-3682-0266A15365AA}"/>
              </a:ext>
            </a:extLst>
          </p:cNvPr>
          <p:cNvSpPr>
            <a:spLocks noGrp="1"/>
          </p:cNvSpPr>
          <p:nvPr>
            <p:ph type="body" sz="quarter" idx="21"/>
          </p:nvPr>
        </p:nvSpPr>
        <p:spPr/>
        <p:txBody>
          <a:bodyPr/>
          <a:lstStyle/>
          <a:p>
            <a:r>
              <a:rPr lang="en-US"/>
              <a:t>Key Price Movements and Trends</a:t>
            </a:r>
          </a:p>
        </p:txBody>
      </p:sp>
      <p:sp>
        <p:nvSpPr>
          <p:cNvPr id="11" name="Title 10">
            <a:extLst>
              <a:ext uri="{FF2B5EF4-FFF2-40B4-BE49-F238E27FC236}">
                <a16:creationId xmlns:a16="http://schemas.microsoft.com/office/drawing/2014/main" id="{53F7BD03-C234-38BA-781D-392503763F6B}"/>
              </a:ext>
            </a:extLst>
          </p:cNvPr>
          <p:cNvSpPr>
            <a:spLocks noGrp="1"/>
          </p:cNvSpPr>
          <p:nvPr>
            <p:ph type="title"/>
          </p:nvPr>
        </p:nvSpPr>
        <p:spPr/>
        <p:txBody>
          <a:bodyPr/>
          <a:lstStyle/>
          <a:p>
            <a:r>
              <a:rPr lang="en-US" err="1"/>
              <a:t>AppLovin</a:t>
            </a:r>
            <a:r>
              <a:rPr lang="en-US"/>
              <a:t> Annotated Stock Chart</a:t>
            </a:r>
          </a:p>
        </p:txBody>
      </p:sp>
      <p:sp>
        <p:nvSpPr>
          <p:cNvPr id="12" name="Text Placeholder 11">
            <a:extLst>
              <a:ext uri="{FF2B5EF4-FFF2-40B4-BE49-F238E27FC236}">
                <a16:creationId xmlns:a16="http://schemas.microsoft.com/office/drawing/2014/main" id="{3AA1AFDC-635D-BAFC-D10C-B8FE36F20961}"/>
              </a:ext>
            </a:extLst>
          </p:cNvPr>
          <p:cNvSpPr>
            <a:spLocks noGrp="1"/>
          </p:cNvSpPr>
          <p:nvPr>
            <p:ph type="body" sz="quarter" idx="13"/>
          </p:nvPr>
        </p:nvSpPr>
        <p:spPr/>
        <p:txBody>
          <a:bodyPr/>
          <a:lstStyle/>
          <a:p>
            <a:r>
              <a:rPr lang="en-US"/>
              <a:t>Source(s): Capital IQ, AppLovin</a:t>
            </a:r>
          </a:p>
        </p:txBody>
      </p:sp>
      <p:graphicFrame>
        <p:nvGraphicFramePr>
          <p:cNvPr id="15" name="Table Placeholder 14">
            <a:extLst>
              <a:ext uri="{FF2B5EF4-FFF2-40B4-BE49-F238E27FC236}">
                <a16:creationId xmlns:a16="http://schemas.microsoft.com/office/drawing/2014/main" id="{20A5A5EF-6F45-48B3-1A7F-1D750C2A8141}"/>
              </a:ext>
            </a:extLst>
          </p:cNvPr>
          <p:cNvGraphicFramePr>
            <a:graphicFrameLocks noGrp="1"/>
          </p:cNvGraphicFramePr>
          <p:nvPr>
            <p:ph type="tbl" sz="quarter" idx="4294967295"/>
            <p:extLst>
              <p:ext uri="{D42A27DB-BD31-4B8C-83A1-F6EECF244321}">
                <p14:modId xmlns:p14="http://schemas.microsoft.com/office/powerpoint/2010/main" val="516238158"/>
              </p:ext>
            </p:extLst>
          </p:nvPr>
        </p:nvGraphicFramePr>
        <p:xfrm>
          <a:off x="250825" y="1006475"/>
          <a:ext cx="8642349" cy="5194300"/>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Connector 5">
            <a:extLst>
              <a:ext uri="{FF2B5EF4-FFF2-40B4-BE49-F238E27FC236}">
                <a16:creationId xmlns:a16="http://schemas.microsoft.com/office/drawing/2014/main" id="{15242277-E1BF-BECC-8431-C7C2C7A0E990}"/>
              </a:ext>
            </a:extLst>
          </p:cNvPr>
          <p:cNvCxnSpPr>
            <a:cxnSpLocks/>
          </p:cNvCxnSpPr>
          <p:nvPr/>
        </p:nvCxnSpPr>
        <p:spPr>
          <a:xfrm flipV="1">
            <a:off x="5546688" y="2760310"/>
            <a:ext cx="0" cy="912376"/>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2D08B5C-956C-E965-62ED-6381387F5B18}"/>
              </a:ext>
            </a:extLst>
          </p:cNvPr>
          <p:cNvCxnSpPr>
            <a:cxnSpLocks/>
          </p:cNvCxnSpPr>
          <p:nvPr/>
        </p:nvCxnSpPr>
        <p:spPr>
          <a:xfrm flipV="1">
            <a:off x="7525829" y="1150012"/>
            <a:ext cx="0" cy="739868"/>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154E42B-78ED-CAD1-2445-89F1440ED44D}"/>
              </a:ext>
            </a:extLst>
          </p:cNvPr>
          <p:cNvCxnSpPr>
            <a:cxnSpLocks/>
          </p:cNvCxnSpPr>
          <p:nvPr/>
        </p:nvCxnSpPr>
        <p:spPr>
          <a:xfrm flipV="1">
            <a:off x="8418299" y="3837114"/>
            <a:ext cx="0" cy="779119"/>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6755C15-3FD6-CE2B-AB82-7B9CEC0B94B1}"/>
              </a:ext>
            </a:extLst>
          </p:cNvPr>
          <p:cNvCxnSpPr>
            <a:cxnSpLocks/>
          </p:cNvCxnSpPr>
          <p:nvPr/>
        </p:nvCxnSpPr>
        <p:spPr>
          <a:xfrm flipV="1">
            <a:off x="6033683" y="1828800"/>
            <a:ext cx="0" cy="93151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8709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a2b292bd-f88b-41dd-a361-e58abce3f06d"/>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Calibri&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quot; customLayoutIndex=&quot;3&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hideSeparatingSlides=&quot;0&quot; createSections=&quot;0&quot; singleSlideId=&quot;1cd913cb-a2a2-467d-a71b-aab388b5dc87&quot; backupSlideId=&quot;8ff4a81a-da3e-4578-9bb3-4e01671b9953&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1.8497&quot; /&gt;&lt;column field=&quot;responsible&quot; label=&quot;Responsible&quot; visible=&quot;1&quot; checked=&quot;1&quot; leftSpacing=&quot;10&quot; rightDistribute=&quot;1&quot; dock=&quot;1&quot; rightSpacing=&quot;51.8497&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fa06727-855d-449b-81e9-fed7d030b982&quot; parentId=&quot;&quot; level=&quot;1&quot; generateAgendaSlide=&quot;1&quot; showAgendaItem=&quot;1&quot; isBreak=&quot;0&quot; topic=&quot;Executive Summary&quot; agendaSlideId=&quot;072b1f53-2534-4d49-96f8-f88f1e4f41e5&quot; /&gt;&lt;item duration=&quot;30&quot; id=&quot;071f5b9c-dea0-4607-9122-84a4d86b33e4&quot; parentId=&quot;&quot; level=&quot;1&quot; generateAgendaSlide=&quot;1&quot; showAgendaItem=&quot;1&quot; isBreak=&quot;0&quot; topic=&quot;TFS Investment Group Overview&quot; agendaSlideId=&quot;bb86328d-c677-40e3-8a9d-d0deab97b825&quot; /&gt;&lt;item duration=&quot;30&quot; id=&quot;a151a993-562e-46b9-8635-eae5be0a501c&quot; parentId=&quot;&quot; level=&quot;1&quot; generateAgendaSlide=&quot;1&quot; showAgendaItem=&quot;1&quot; isBreak=&quot;0&quot; topic=&quot;Creating Recurring Revenue Streams&quot; agendaSlideId=&quot;e73efe9a-6de2-4b1a-9e73-31393ae3b283&quot; /&gt;&lt;item duration=&quot;30&quot; id=&quot;b80e7a37-faad-48f6-bd61-323fd6038f9c&quot; parentId=&quot;&quot; level=&quot;1&quot; generateAgendaSlide=&quot;1&quot; showAgendaItem=&quot;1&quot; isBreak=&quot;0&quot; topic=&quot;Promoting Career Development at Telfer&quot; agendaSlideId=&quot;2d987822-1ed9-4a95-b640-a3f0aade5265&quot; /&gt;&lt;item duration=&quot;30&quot; id=&quot;f31f5914-dc68-45c2-918a-c4207b2be562&quot; parentId=&quot;&quot; level=&quot;1&quot; generateAgendaSlide=&quot;1&quot; showAgendaItem=&quot;1&quot; isBreak=&quot;0&quot; topic=&quot;Proven Comitmment and Success&quot; agendaSlideId=&quot;69f49ccd-f9f1-4232-bb44-5f8557c0b150&quot; /&gt;&lt;item duration=&quot;30&quot; id=&quot;9a556651-20ca-4df2-9334-d99830bbebc1&quot; parentId=&quot;&quot; level=&quot;1&quot; generateAgendaSlide=&quot;1&quot; showAgendaItem=&quot;1&quot; isBreak=&quot;0&quot; topic=&quot;Conclusion&quot; agendaSlideId=&quot;8c6d1885-37e4-4e36-9908-7953be4e3fb1&quot; /&gt;&lt;/items&gt;&lt;/agenda&gt;&lt;/contents&gt;&lt;/ee4p&gt;"/>
  <p:tag name="EE4P_AGENDAWIZARD_UPDATEPAGENUMBERS" val="1"/>
  <p:tag name="DH_FLYSHEET_STYLE" val="1"/>
  <p:tag name="MM_STAMP_CONVERTED" val="True"/>
  <p:tag name="MM_SECTION_CONVERTED" val="True"/>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1_office theme">
  <a:themeElements>
    <a:clrScheme name="SHOP">
      <a:dk1>
        <a:srgbClr val="000000"/>
      </a:dk1>
      <a:lt1>
        <a:srgbClr val="FFFFFF"/>
      </a:lt1>
      <a:dk2>
        <a:srgbClr val="102C23"/>
      </a:dk2>
      <a:lt2>
        <a:srgbClr val="3F685E"/>
      </a:lt2>
      <a:accent1>
        <a:srgbClr val="102C23"/>
      </a:accent1>
      <a:accent2>
        <a:srgbClr val="008864"/>
      </a:accent2>
      <a:accent3>
        <a:srgbClr val="D8FAE5"/>
      </a:accent3>
      <a:accent4>
        <a:srgbClr val="66757A"/>
      </a:accent4>
      <a:accent5>
        <a:srgbClr val="081611"/>
      </a:accent5>
      <a:accent6>
        <a:srgbClr val="A1A6A9"/>
      </a:accent6>
      <a:hlink>
        <a:srgbClr val="2E89DA"/>
      </a:hlink>
      <a:folHlink>
        <a:srgbClr val="954EC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ACFC9ADE09C944F84622B237F87DF4A" ma:contentTypeVersion="21" ma:contentTypeDescription="Create a new document." ma:contentTypeScope="" ma:versionID="8d2670d17de97ec6d3070c0484a002e8">
  <xsd:schema xmlns:xsd="http://www.w3.org/2001/XMLSchema" xmlns:xs="http://www.w3.org/2001/XMLSchema" xmlns:p="http://schemas.microsoft.com/office/2006/metadata/properties" xmlns:ns2="c39ba54e-b9a3-472f-97db-793996792a5d" xmlns:ns3="8bf10d9e-fd70-4a8e-b55f-cacebec34d2e" targetNamespace="http://schemas.microsoft.com/office/2006/metadata/properties" ma:root="true" ma:fieldsID="f80de8a10bd4be04ed3a1f3083aa8c31" ns2:_="" ns3:_="">
    <xsd:import namespace="c39ba54e-b9a3-472f-97db-793996792a5d"/>
    <xsd:import namespace="8bf10d9e-fd70-4a8e-b55f-cacebec34d2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DateTaken" minOccurs="0"/>
                <xsd:element ref="ns3:SharedWithUsers" minOccurs="0"/>
                <xsd:element ref="ns3:SharedWithDetails" minOccurs="0"/>
                <xsd:element ref="ns2:MediaServiceAutoKeyPoints" minOccurs="0"/>
                <xsd:element ref="ns2:MediaServiceKeyPoints" minOccurs="0"/>
                <xsd:element ref="ns3:TaxCatchAll" minOccurs="0"/>
                <xsd:element ref="ns2:lcf76f155ced4ddcb4097134ff3c332f"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9ba54e-b9a3-472f-97db-793996792a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Length (seconds)" ma:internalName="MediaLengthInSeconds" ma:readOnly="true">
      <xsd:simpleType>
        <xsd:restriction base="dms:Unknow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c489762-de54-417b-aa3d-8bc484f7f144"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bf10d9e-fd70-4a8e-b55f-cacebec34d2e"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1e4305bd-66e6-421e-8214-70507df77962}" ma:internalName="TaxCatchAll" ma:showField="CatchAllData" ma:web="8bf10d9e-fd70-4a8e-b55f-cacebec34d2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39ba54e-b9a3-472f-97db-793996792a5d">
      <Terms xmlns="http://schemas.microsoft.com/office/infopath/2007/PartnerControls"/>
    </lcf76f155ced4ddcb4097134ff3c332f>
    <TaxCatchAll xmlns="8bf10d9e-fd70-4a8e-b55f-cacebec34d2e" xsi:nil="true"/>
  </documentManagement>
</p:properties>
</file>

<file path=customXml/itemProps1.xml><?xml version="1.0" encoding="utf-8"?>
<ds:datastoreItem xmlns:ds="http://schemas.openxmlformats.org/officeDocument/2006/customXml" ds:itemID="{830F41EB-6E74-4DBA-8A56-CFF2468D4539}">
  <ds:schemaRefs>
    <ds:schemaRef ds:uri="http://schemas.microsoft.com/sharepoint/v3/contenttype/forms"/>
  </ds:schemaRefs>
</ds:datastoreItem>
</file>

<file path=customXml/itemProps2.xml><?xml version="1.0" encoding="utf-8"?>
<ds:datastoreItem xmlns:ds="http://schemas.openxmlformats.org/officeDocument/2006/customXml" ds:itemID="{B5736B50-B058-4EEB-B477-3AC5AF08F1B9}">
  <ds:schemaRefs>
    <ds:schemaRef ds:uri="8bf10d9e-fd70-4a8e-b55f-cacebec34d2e"/>
    <ds:schemaRef ds:uri="c39ba54e-b9a3-472f-97db-793996792a5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7BE7B98-0BB1-4828-9DFF-944178163F34}">
  <ds:schemaRefs>
    <ds:schemaRef ds:uri="8bf10d9e-fd70-4a8e-b55f-cacebec34d2e"/>
    <ds:schemaRef ds:uri="c39ba54e-b9a3-472f-97db-793996792a5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On-screen Show (4:3)</PresentationFormat>
  <Slides>62</Slides>
  <Notes>17</Notes>
  <HiddenSlides>4</HiddenSlides>
  <ScaleCrop>false</ScaleCrop>
  <HeadingPairs>
    <vt:vector size="4" baseType="variant">
      <vt:variant>
        <vt:lpstr>Theme</vt:lpstr>
      </vt:variant>
      <vt:variant>
        <vt:i4>1</vt:i4>
      </vt:variant>
      <vt:variant>
        <vt:lpstr>Slide Titles</vt:lpstr>
      </vt:variant>
      <vt:variant>
        <vt:i4>62</vt:i4>
      </vt:variant>
    </vt:vector>
  </HeadingPairs>
  <TitlesOfParts>
    <vt:vector size="63" baseType="lpstr">
      <vt:lpstr>1_office theme</vt:lpstr>
      <vt:lpstr>TFS Investment Group</vt:lpstr>
      <vt:lpstr>TFS Investment Group Structure</vt:lpstr>
      <vt:lpstr>Select Member Placements</vt:lpstr>
      <vt:lpstr>Contributors</vt:lpstr>
      <vt:lpstr>Contributors</vt:lpstr>
      <vt:lpstr>Contributors</vt:lpstr>
      <vt:lpstr>PowerPoint Presentation</vt:lpstr>
      <vt:lpstr>AppLovin Overview</vt:lpstr>
      <vt:lpstr>AppLovin Annotated Stock Chart</vt:lpstr>
      <vt:lpstr>Muddy Waters Short Report</vt:lpstr>
      <vt:lpstr>Key Statements Analysis</vt:lpstr>
      <vt:lpstr>Projected EBITDA and EPS</vt:lpstr>
      <vt:lpstr>Projected Net Income</vt:lpstr>
      <vt:lpstr>Balance Sheet</vt:lpstr>
      <vt:lpstr>Cash Flow Statement </vt:lpstr>
      <vt:lpstr>DCF Analysis</vt:lpstr>
      <vt:lpstr>WACC Inputs </vt:lpstr>
      <vt:lpstr>DCF - Revenue Projection </vt:lpstr>
      <vt:lpstr>DCF - COGS Projections</vt:lpstr>
      <vt:lpstr>DCF FCFF Projections</vt:lpstr>
      <vt:lpstr>DCF Target Price </vt:lpstr>
      <vt:lpstr>Synergies</vt:lpstr>
      <vt:lpstr>Acquisition Rationale and Synergies</vt:lpstr>
      <vt:lpstr>Revenue Synergies</vt:lpstr>
      <vt:lpstr>Cost Synergies</vt:lpstr>
      <vt:lpstr>Synergies Snapshot</vt:lpstr>
      <vt:lpstr>Merged Income Flow (in USD mm)</vt:lpstr>
      <vt:lpstr>Value Creation Strategy</vt:lpstr>
      <vt:lpstr>SWOT Analysis Shopify</vt:lpstr>
      <vt:lpstr>SWOT Analysis APP</vt:lpstr>
      <vt:lpstr>Strategic Product Offerings</vt:lpstr>
      <vt:lpstr>Strategic Synergies Between Shopify and AppLovin</vt:lpstr>
      <vt:lpstr>Delivering Tangible Benefits to End-Users</vt:lpstr>
      <vt:lpstr>5 Year Timeline Plan</vt:lpstr>
      <vt:lpstr>Scenario Analysis</vt:lpstr>
      <vt:lpstr>Likelihood that Management Accepts an M&amp;A</vt:lpstr>
      <vt:lpstr>Ownership</vt:lpstr>
      <vt:lpstr>Shopify Ventures Portfolio</vt:lpstr>
      <vt:lpstr>M&amp;A Financing</vt:lpstr>
      <vt:lpstr>Purchasing Scenario</vt:lpstr>
      <vt:lpstr>Net Present Value of Acquisition</vt:lpstr>
      <vt:lpstr>M&amp;A Financing</vt:lpstr>
      <vt:lpstr>Deal Financing</vt:lpstr>
      <vt:lpstr>PowerPoint Presentation</vt:lpstr>
      <vt:lpstr>PowerPoint Presentation</vt:lpstr>
      <vt:lpstr>Relative Valuation</vt:lpstr>
      <vt:lpstr>Company Debt To Equity Ratio</vt:lpstr>
      <vt:lpstr>Precedent Transactions Analysis</vt:lpstr>
      <vt:lpstr>Appendix</vt:lpstr>
      <vt:lpstr>DCF - Key Assumptions </vt:lpstr>
      <vt:lpstr>WACC Calculation   </vt:lpstr>
      <vt:lpstr>WACC Calculation (for TV)  </vt:lpstr>
      <vt:lpstr>10 Year TV/EV Calculation</vt:lpstr>
      <vt:lpstr>Comparable Company Overview </vt:lpstr>
      <vt:lpstr>Comparable Company Overview </vt:lpstr>
      <vt:lpstr>Relative Valuation</vt:lpstr>
      <vt:lpstr>Precedent Transaction Analysis</vt:lpstr>
      <vt:lpstr>Precedent Transactions</vt:lpstr>
      <vt:lpstr>Precedent Transactions</vt:lpstr>
      <vt:lpstr>Management Overview</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cas Raponi</dc:creator>
  <cp:revision>1</cp:revision>
  <cp:lastPrinted>2025-03-23T17:38:25Z</cp:lastPrinted>
  <dcterms:created xsi:type="dcterms:W3CDTF">2021-06-09T21:16:59Z</dcterms:created>
  <dcterms:modified xsi:type="dcterms:W3CDTF">2025-04-02T19:1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CFC9ADE09C944F84622B237F87DF4A</vt:lpwstr>
  </property>
  <property fmtid="{D5CDD505-2E9C-101B-9397-08002B2CF9AE}" pid="3" name="MediaServiceImageTags">
    <vt:lpwstr/>
  </property>
</Properties>
</file>